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72.xml" ContentType="application/vnd.openxmlformats-officedocument.presentationml.slideLayout+xml"/>
  <Override PartName="/ppt/theme/theme10.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1.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3.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4.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5.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6.xml" ContentType="application/vnd.openxmlformats-officedocument.them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7.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8.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9.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tags/tag206.xml" ContentType="application/vnd.openxmlformats-officedocument.presentationml.tags+xml"/>
  <Override PartName="/ppt/tags/tag207.xml" ContentType="application/vnd.openxmlformats-officedocument.presentationml.tags+xml"/>
  <Override PartName="/ppt/notesSlides/notesSlide1.xml" ContentType="application/vnd.openxmlformats-officedocument.presentationml.notesSlide+xml"/>
  <Override PartName="/ppt/tags/tag208.xml" ContentType="application/vnd.openxmlformats-officedocument.presentationml.tags+xml"/>
  <Override PartName="/ppt/notesSlides/notesSlide2.xml" ContentType="application/vnd.openxmlformats-officedocument.presentationml.notesSlide+xml"/>
  <Override PartName="/ppt/tags/tag209.xml" ContentType="application/vnd.openxmlformats-officedocument.presentationml.tags+xml"/>
  <Override PartName="/ppt/notesSlides/notesSlide3.xml" ContentType="application/vnd.openxmlformats-officedocument.presentationml.notesSlide+xml"/>
  <Override PartName="/ppt/tags/tag210.xml" ContentType="application/vnd.openxmlformats-officedocument.presentationml.tags+xml"/>
  <Override PartName="/ppt/notesSlides/notesSlide4.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notesSlides/notesSlide5.xml" ContentType="application/vnd.openxmlformats-officedocument.presentationml.notesSlide+xml"/>
  <Override PartName="/ppt/tags/tag213.xml" ContentType="application/vnd.openxmlformats-officedocument.presentationml.tags+xml"/>
  <Override PartName="/ppt/notesSlides/notesSlide6.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notesSlides/notesSlide7.xml" ContentType="application/vnd.openxmlformats-officedocument.presentationml.notesSlide+xml"/>
  <Override PartName="/ppt/tags/tag216.xml" ContentType="application/vnd.openxmlformats-officedocument.presentationml.tags+xml"/>
  <Override PartName="/ppt/notesSlides/notesSlide8.xml" ContentType="application/vnd.openxmlformats-officedocument.presentationml.notesSlide+xml"/>
  <Override PartName="/ppt/tags/tag217.xml" ContentType="application/vnd.openxmlformats-officedocument.presentationml.tags+xml"/>
  <Override PartName="/ppt/notesSlides/notesSlide9.xml" ContentType="application/vnd.openxmlformats-officedocument.presentationml.notesSlide+xml"/>
  <Override PartName="/ppt/tags/tag218.xml" ContentType="application/vnd.openxmlformats-officedocument.presentationml.tags+xml"/>
  <Override PartName="/ppt/notesSlides/notesSlide10.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11.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notesSlides/notesSlide12.xml" ContentType="application/vnd.openxmlformats-officedocument.presentationml.notesSlid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13.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14.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15.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16.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17.xml" ContentType="application/vnd.openxmlformats-officedocument.presentationml.notesSlide+xml"/>
  <Override PartName="/ppt/tags/tag243.xml" ContentType="application/vnd.openxmlformats-officedocument.presentationml.tags+xml"/>
  <Override PartName="/ppt/notesSlides/notesSlide18.xml" ContentType="application/vnd.openxmlformats-officedocument.presentationml.notesSlide+xml"/>
  <Override PartName="/ppt/tags/tag244.xml" ContentType="application/vnd.openxmlformats-officedocument.presentationml.tags+xml"/>
  <Override PartName="/ppt/notesSlides/notesSlide19.xml" ContentType="application/vnd.openxmlformats-officedocument.presentationml.notesSlide+xml"/>
  <Override PartName="/ppt/tags/tag245.xml" ContentType="application/vnd.openxmlformats-officedocument.presentationml.tags+xml"/>
  <Override PartName="/ppt/notesSlides/notesSlide20.xml" ContentType="application/vnd.openxmlformats-officedocument.presentationml.notesSlide+xml"/>
  <Override PartName="/ppt/tags/tag246.xml" ContentType="application/vnd.openxmlformats-officedocument.presentationml.tags+xml"/>
  <Override PartName="/ppt/notesSlides/notesSlide21.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22.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notesSlides/notesSlide2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notesSlides/notesSlide24.xml" ContentType="application/vnd.openxmlformats-officedocument.presentationml.notesSlide+xml"/>
  <Override PartName="/ppt/tags/tag256.xml" ContentType="application/vnd.openxmlformats-officedocument.presentationml.tags+xml"/>
  <Override PartName="/ppt/notesSlides/notesSlide25.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notesSlides/notesSlide26.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notesSlides/notesSlide27.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 id="2147483748" r:id="rId14"/>
    <p:sldMasterId id="2147483756" r:id="rId15"/>
    <p:sldMasterId id="2147483765" r:id="rId16"/>
    <p:sldMasterId id="2147483774" r:id="rId17"/>
    <p:sldMasterId id="2147483783" r:id="rId18"/>
    <p:sldMasterId id="2147483792" r:id="rId19"/>
    <p:sldMasterId id="2147483801" r:id="rId20"/>
    <p:sldMasterId id="2147483810" r:id="rId21"/>
    <p:sldMasterId id="2147483819" r:id="rId22"/>
  </p:sldMasterIdLst>
  <p:notesMasterIdLst>
    <p:notesMasterId r:id="rId71"/>
  </p:notesMasterIdLst>
  <p:handoutMasterIdLst>
    <p:handoutMasterId r:id="rId72"/>
  </p:handoutMasterIdLst>
  <p:sldIdLst>
    <p:sldId id="2508" r:id="rId23"/>
    <p:sldId id="1710" r:id="rId24"/>
    <p:sldId id="2005" r:id="rId25"/>
    <p:sldId id="2161" r:id="rId26"/>
    <p:sldId id="2233" r:id="rId27"/>
    <p:sldId id="2234" r:id="rId28"/>
    <p:sldId id="2154" r:id="rId29"/>
    <p:sldId id="2241" r:id="rId30"/>
    <p:sldId id="2243" r:id="rId31"/>
    <p:sldId id="2202" r:id="rId32"/>
    <p:sldId id="2223" r:id="rId33"/>
    <p:sldId id="1666" r:id="rId34"/>
    <p:sldId id="2244" r:id="rId35"/>
    <p:sldId id="2230" r:id="rId36"/>
    <p:sldId id="1988" r:id="rId37"/>
    <p:sldId id="2245" r:id="rId38"/>
    <p:sldId id="2398" r:id="rId39"/>
    <p:sldId id="2399" r:id="rId40"/>
    <p:sldId id="2246" r:id="rId41"/>
    <p:sldId id="2397" r:id="rId42"/>
    <p:sldId id="1972" r:id="rId43"/>
    <p:sldId id="2400" r:id="rId44"/>
    <p:sldId id="2401" r:id="rId45"/>
    <p:sldId id="1825" r:id="rId46"/>
    <p:sldId id="1826" r:id="rId47"/>
    <p:sldId id="1958" r:id="rId48"/>
    <p:sldId id="1959" r:id="rId49"/>
    <p:sldId id="1960" r:id="rId50"/>
    <p:sldId id="2247" r:id="rId51"/>
    <p:sldId id="2483" r:id="rId52"/>
    <p:sldId id="2445" r:id="rId53"/>
    <p:sldId id="2248" r:id="rId54"/>
    <p:sldId id="2228" r:id="rId55"/>
    <p:sldId id="2229" r:id="rId56"/>
    <p:sldId id="2249" r:id="rId57"/>
    <p:sldId id="1946" r:id="rId58"/>
    <p:sldId id="1949" r:id="rId59"/>
    <p:sldId id="2250" r:id="rId60"/>
    <p:sldId id="2461" r:id="rId61"/>
    <p:sldId id="2502" r:id="rId62"/>
    <p:sldId id="2506" r:id="rId63"/>
    <p:sldId id="2192" r:id="rId64"/>
    <p:sldId id="2034" r:id="rId65"/>
    <p:sldId id="3282" r:id="rId66"/>
    <p:sldId id="1711" r:id="rId67"/>
    <p:sldId id="1598" r:id="rId68"/>
    <p:sldId id="2240" r:id="rId69"/>
    <p:sldId id="1600" r:id="rId70"/>
  </p:sldIdLst>
  <p:sldSz cx="12192000" cy="6858000"/>
  <p:notesSz cx="6858000" cy="9144000"/>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Megan Platt" initials=""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FF0000"/>
    <a:srgbClr val="F3D26A"/>
    <a:srgbClr val="FFEAA5"/>
    <a:srgbClr val="FFE9A0"/>
    <a:srgbClr val="D3EFCE"/>
    <a:srgbClr val="FFABAB"/>
    <a:srgbClr val="FF8B8B"/>
    <a:srgbClr val="EBF6DE"/>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D6A56D-AB0D-41B6-B017-3803A210466B}" v="550" dt="2023-05-22T03:52:23.8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39" autoAdjust="0"/>
    <p:restoredTop sz="94987" autoAdjust="0"/>
  </p:normalViewPr>
  <p:slideViewPr>
    <p:cSldViewPr snapToGrid="0">
      <p:cViewPr varScale="1">
        <p:scale>
          <a:sx n="56" d="100"/>
          <a:sy n="56" d="100"/>
        </p:scale>
        <p:origin x="1280"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924"/>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slide" Target="slides/slide44.xml"/><Relationship Id="rId74" Type="http://schemas.openxmlformats.org/officeDocument/2006/relationships/commentAuthors" Target="commentAuthors.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3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handoutMaster" Target="handoutMasters/handoutMaster1.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E6277905-FCCE-4B88-BAD6-C5854D60B696}"/>
    <pc:docChg chg="undo redo custSel addSld delSld modSld">
      <pc:chgData name="Aurelien Domont" userId="6da7715ce44349b3" providerId="LiveId" clId="{E6277905-FCCE-4B88-BAD6-C5854D60B696}" dt="2021-05-27T01:27:06.051" v="1819" actId="20577"/>
      <pc:docMkLst>
        <pc:docMk/>
      </pc:docMkLst>
      <pc:sldChg chg="addSp delSp modSp mod">
        <pc:chgData name="Aurelien Domont" userId="6da7715ce44349b3" providerId="LiveId" clId="{E6277905-FCCE-4B88-BAD6-C5854D60B696}" dt="2021-05-26T08:17:58.329" v="1789"/>
        <pc:sldMkLst>
          <pc:docMk/>
          <pc:sldMk cId="3131901387" sldId="256"/>
        </pc:sldMkLst>
        <pc:spChg chg="mod">
          <ac:chgData name="Aurelien Domont" userId="6da7715ce44349b3" providerId="LiveId" clId="{E6277905-FCCE-4B88-BAD6-C5854D60B696}" dt="2021-05-18T05:40:48.610" v="19" actId="20577"/>
          <ac:spMkLst>
            <pc:docMk/>
            <pc:sldMk cId="3131901387" sldId="256"/>
            <ac:spMk id="2" creationId="{5261080C-C60C-4746-B6B1-A9A4FFA86785}"/>
          </ac:spMkLst>
        </pc:spChg>
        <pc:spChg chg="del">
          <ac:chgData name="Aurelien Domont" userId="6da7715ce44349b3" providerId="LiveId" clId="{E6277905-FCCE-4B88-BAD6-C5854D60B696}" dt="2021-05-26T08:17:54.457" v="1785" actId="478"/>
          <ac:spMkLst>
            <pc:docMk/>
            <pc:sldMk cId="3131901387" sldId="256"/>
            <ac:spMk id="3" creationId="{D781CD62-85AB-400E-A66C-9594AAD807B4}"/>
          </ac:spMkLst>
        </pc:spChg>
        <pc:spChg chg="add del mod">
          <ac:chgData name="Aurelien Domont" userId="6da7715ce44349b3" providerId="LiveId" clId="{E6277905-FCCE-4B88-BAD6-C5854D60B696}" dt="2021-05-26T08:17:58.130" v="1788" actId="478"/>
          <ac:spMkLst>
            <pc:docMk/>
            <pc:sldMk cId="3131901387" sldId="256"/>
            <ac:spMk id="13" creationId="{E68CF082-1C0C-4C11-B13F-09DA90F94204}"/>
          </ac:spMkLst>
        </pc:spChg>
        <pc:spChg chg="add del mod">
          <ac:chgData name="Aurelien Domont" userId="6da7715ce44349b3" providerId="LiveId" clId="{E6277905-FCCE-4B88-BAD6-C5854D60B696}" dt="2021-05-26T08:17:55.811" v="1787"/>
          <ac:spMkLst>
            <pc:docMk/>
            <pc:sldMk cId="3131901387" sldId="256"/>
            <ac:spMk id="15" creationId="{DD548747-1142-4189-A48E-B3F4AF3517AD}"/>
          </ac:spMkLst>
        </pc:spChg>
        <pc:spChg chg="add mod">
          <ac:chgData name="Aurelien Domont" userId="6da7715ce44349b3" providerId="LiveId" clId="{E6277905-FCCE-4B88-BAD6-C5854D60B696}" dt="2021-05-26T08:17:58.329" v="1789"/>
          <ac:spMkLst>
            <pc:docMk/>
            <pc:sldMk cId="3131901387" sldId="256"/>
            <ac:spMk id="16" creationId="{2436D48A-FAB5-4E4C-AB97-233E7A3795E6}"/>
          </ac:spMkLst>
        </pc:spChg>
        <pc:picChg chg="add del">
          <ac:chgData name="Aurelien Domont" userId="6da7715ce44349b3" providerId="LiveId" clId="{E6277905-FCCE-4B88-BAD6-C5854D60B696}" dt="2021-05-19T07:00:28.700" v="1158" actId="478"/>
          <ac:picMkLst>
            <pc:docMk/>
            <pc:sldMk cId="3131901387" sldId="256"/>
            <ac:picMk id="13" creationId="{6E38BFE1-56A4-4E55-BEE6-88950EB7A801}"/>
          </ac:picMkLst>
        </pc:picChg>
        <pc:picChg chg="add del mod">
          <ac:chgData name="Aurelien Domont" userId="6da7715ce44349b3" providerId="LiveId" clId="{E6277905-FCCE-4B88-BAD6-C5854D60B696}" dt="2021-05-26T08:17:54.457" v="1785" actId="478"/>
          <ac:picMkLst>
            <pc:docMk/>
            <pc:sldMk cId="3131901387" sldId="256"/>
            <ac:picMk id="14" creationId="{2383877E-1EA1-4685-809A-0E7CCC5CBDD3}"/>
          </ac:picMkLst>
        </pc:picChg>
      </pc:sldChg>
      <pc:sldChg chg="addSp delSp modSp mod">
        <pc:chgData name="Aurelien Domont" userId="6da7715ce44349b3" providerId="LiveId" clId="{E6277905-FCCE-4B88-BAD6-C5854D60B696}" dt="2021-05-19T07:14:32.307" v="1757" actId="20577"/>
        <pc:sldMkLst>
          <pc:docMk/>
          <pc:sldMk cId="317099162" sldId="1749"/>
        </pc:sldMkLst>
        <pc:spChg chg="add del mod">
          <ac:chgData name="Aurelien Domont" userId="6da7715ce44349b3" providerId="LiveId" clId="{E6277905-FCCE-4B88-BAD6-C5854D60B696}" dt="2021-05-19T07:02:22.898" v="1169" actId="478"/>
          <ac:spMkLst>
            <pc:docMk/>
            <pc:sldMk cId="317099162" sldId="1749"/>
            <ac:spMk id="2" creationId="{254960E3-64BC-4278-8123-6086DEE61BF9}"/>
          </ac:spMkLst>
        </pc:spChg>
        <pc:spChg chg="mod">
          <ac:chgData name="Aurelien Domont" userId="6da7715ce44349b3" providerId="LiveId" clId="{E6277905-FCCE-4B88-BAD6-C5854D60B696}" dt="2021-05-19T07:14:32.307" v="1757" actId="20577"/>
          <ac:spMkLst>
            <pc:docMk/>
            <pc:sldMk cId="317099162" sldId="1749"/>
            <ac:spMk id="14" creationId="{58BC295C-D6CC-4682-B176-A5677EB177D0}"/>
          </ac:spMkLst>
        </pc:spChg>
        <pc:spChg chg="mod">
          <ac:chgData name="Aurelien Domont" userId="6da7715ce44349b3" providerId="LiveId" clId="{E6277905-FCCE-4B88-BAD6-C5854D60B696}" dt="2021-05-19T07:02:48.675" v="1177" actId="20577"/>
          <ac:spMkLst>
            <pc:docMk/>
            <pc:sldMk cId="317099162" sldId="1749"/>
            <ac:spMk id="16" creationId="{6C2BB713-9637-4B9B-938F-E9768876782A}"/>
          </ac:spMkLst>
        </pc:spChg>
      </pc:sldChg>
      <pc:sldChg chg="del">
        <pc:chgData name="Aurelien Domont" userId="6da7715ce44349b3" providerId="LiveId" clId="{E6277905-FCCE-4B88-BAD6-C5854D60B696}" dt="2021-05-19T07:15:14.400" v="1758" actId="47"/>
        <pc:sldMkLst>
          <pc:docMk/>
          <pc:sldMk cId="3324303879" sldId="1917"/>
        </pc:sldMkLst>
      </pc:sldChg>
      <pc:sldChg chg="del">
        <pc:chgData name="Aurelien Domont" userId="6da7715ce44349b3" providerId="LiveId" clId="{E6277905-FCCE-4B88-BAD6-C5854D60B696}" dt="2021-05-19T07:02:37.038" v="1170" actId="47"/>
        <pc:sldMkLst>
          <pc:docMk/>
          <pc:sldMk cId="3738554192" sldId="1918"/>
        </pc:sldMkLst>
      </pc:sldChg>
      <pc:sldChg chg="del">
        <pc:chgData name="Aurelien Domont" userId="6da7715ce44349b3" providerId="LiveId" clId="{E6277905-FCCE-4B88-BAD6-C5854D60B696}" dt="2021-05-19T07:02:37.038" v="1170" actId="47"/>
        <pc:sldMkLst>
          <pc:docMk/>
          <pc:sldMk cId="4287792945" sldId="1919"/>
        </pc:sldMkLst>
      </pc:sldChg>
      <pc:sldChg chg="del">
        <pc:chgData name="Aurelien Domont" userId="6da7715ce44349b3" providerId="LiveId" clId="{E6277905-FCCE-4B88-BAD6-C5854D60B696}" dt="2021-05-19T07:02:37.038" v="1170" actId="47"/>
        <pc:sldMkLst>
          <pc:docMk/>
          <pc:sldMk cId="1711813648" sldId="1920"/>
        </pc:sldMkLst>
      </pc:sldChg>
      <pc:sldChg chg="del">
        <pc:chgData name="Aurelien Domont" userId="6da7715ce44349b3" providerId="LiveId" clId="{E6277905-FCCE-4B88-BAD6-C5854D60B696}" dt="2021-05-19T07:02:37.038" v="1170" actId="47"/>
        <pc:sldMkLst>
          <pc:docMk/>
          <pc:sldMk cId="1649006803" sldId="1921"/>
        </pc:sldMkLst>
      </pc:sldChg>
      <pc:sldChg chg="del">
        <pc:chgData name="Aurelien Domont" userId="6da7715ce44349b3" providerId="LiveId" clId="{E6277905-FCCE-4B88-BAD6-C5854D60B696}" dt="2021-05-19T07:02:37.038" v="1170" actId="47"/>
        <pc:sldMkLst>
          <pc:docMk/>
          <pc:sldMk cId="3022188194" sldId="1922"/>
        </pc:sldMkLst>
      </pc:sldChg>
      <pc:sldChg chg="del">
        <pc:chgData name="Aurelien Domont" userId="6da7715ce44349b3" providerId="LiveId" clId="{E6277905-FCCE-4B88-BAD6-C5854D60B696}" dt="2021-05-19T07:02:37.038" v="1170" actId="47"/>
        <pc:sldMkLst>
          <pc:docMk/>
          <pc:sldMk cId="1872329668" sldId="1923"/>
        </pc:sldMkLst>
      </pc:sldChg>
      <pc:sldChg chg="addSp delSp modSp del mod">
        <pc:chgData name="Aurelien Domont" userId="6da7715ce44349b3" providerId="LiveId" clId="{E6277905-FCCE-4B88-BAD6-C5854D60B696}" dt="2021-05-19T07:33:11.627" v="1777" actId="47"/>
        <pc:sldMkLst>
          <pc:docMk/>
          <pc:sldMk cId="1659127470" sldId="1924"/>
        </pc:sldMkLst>
        <pc:spChg chg="add del mod">
          <ac:chgData name="Aurelien Domont" userId="6da7715ce44349b3" providerId="LiveId" clId="{E6277905-FCCE-4B88-BAD6-C5854D60B696}" dt="2021-05-19T06:39:27.924" v="1101" actId="478"/>
          <ac:spMkLst>
            <pc:docMk/>
            <pc:sldMk cId="1659127470" sldId="1924"/>
            <ac:spMk id="2" creationId="{8D91CEA2-A9A2-44FD-975C-6F4A2D59641D}"/>
          </ac:spMkLst>
        </pc:spChg>
        <pc:spChg chg="add del mod">
          <ac:chgData name="Aurelien Domont" userId="6da7715ce44349b3" providerId="LiveId" clId="{E6277905-FCCE-4B88-BAD6-C5854D60B696}" dt="2021-05-19T06:24:02.853" v="853" actId="478"/>
          <ac:spMkLst>
            <pc:docMk/>
            <pc:sldMk cId="1659127470" sldId="1924"/>
            <ac:spMk id="4" creationId="{1E764DDF-9638-4878-B977-C06C1B7046F5}"/>
          </ac:spMkLst>
        </pc:spChg>
        <pc:spChg chg="add del mod">
          <ac:chgData name="Aurelien Domont" userId="6da7715ce44349b3" providerId="LiveId" clId="{E6277905-FCCE-4B88-BAD6-C5854D60B696}" dt="2021-05-18T05:50:48.987" v="45" actId="478"/>
          <ac:spMkLst>
            <pc:docMk/>
            <pc:sldMk cId="1659127470" sldId="1924"/>
            <ac:spMk id="14" creationId="{1E88A16D-E54C-45FC-97FE-3A1C196DAF1A}"/>
          </ac:spMkLst>
        </pc:spChg>
        <pc:spChg chg="mod">
          <ac:chgData name="Aurelien Domont" userId="6da7715ce44349b3" providerId="LiveId" clId="{E6277905-FCCE-4B88-BAD6-C5854D60B696}" dt="2021-05-18T05:41:48.391" v="40" actId="20577"/>
          <ac:spMkLst>
            <pc:docMk/>
            <pc:sldMk cId="1659127470" sldId="1924"/>
            <ac:spMk id="16" creationId="{6C2BB713-9637-4B9B-938F-E9768876782A}"/>
          </ac:spMkLst>
        </pc:spChg>
        <pc:spChg chg="mod">
          <ac:chgData name="Aurelien Domont" userId="6da7715ce44349b3" providerId="LiveId" clId="{E6277905-FCCE-4B88-BAD6-C5854D60B696}" dt="2021-05-19T07:11:36.761" v="1694" actId="20577"/>
          <ac:spMkLst>
            <pc:docMk/>
            <pc:sldMk cId="1659127470" sldId="1924"/>
            <ac:spMk id="17" creationId="{469F466A-B940-41E3-B12F-110D72502BCE}"/>
          </ac:spMkLst>
        </pc:spChg>
        <pc:spChg chg="mod">
          <ac:chgData name="Aurelien Domont" userId="6da7715ce44349b3" providerId="LiveId" clId="{E6277905-FCCE-4B88-BAD6-C5854D60B696}" dt="2021-05-18T05:57:42.931" v="188" actId="20577"/>
          <ac:spMkLst>
            <pc:docMk/>
            <pc:sldMk cId="1659127470" sldId="1924"/>
            <ac:spMk id="20" creationId="{3A4E6A8C-908C-49FF-9BF8-90A9FC12224D}"/>
          </ac:spMkLst>
        </pc:spChg>
        <pc:spChg chg="mod">
          <ac:chgData name="Aurelien Domont" userId="6da7715ce44349b3" providerId="LiveId" clId="{E6277905-FCCE-4B88-BAD6-C5854D60B696}" dt="2021-05-19T07:11:44.329" v="1698" actId="20577"/>
          <ac:spMkLst>
            <pc:docMk/>
            <pc:sldMk cId="1659127470" sldId="1924"/>
            <ac:spMk id="21" creationId="{16FAC062-BB56-4A49-9044-4444E78429DF}"/>
          </ac:spMkLst>
        </pc:spChg>
        <pc:spChg chg="mod">
          <ac:chgData name="Aurelien Domont" userId="6da7715ce44349b3" providerId="LiveId" clId="{E6277905-FCCE-4B88-BAD6-C5854D60B696}" dt="2021-05-19T06:37:08.662" v="1088" actId="179"/>
          <ac:spMkLst>
            <pc:docMk/>
            <pc:sldMk cId="1659127470" sldId="1924"/>
            <ac:spMk id="24" creationId="{95714746-22CF-48C5-AD51-9D9AE6E5F2C8}"/>
          </ac:spMkLst>
        </pc:spChg>
        <pc:spChg chg="mod">
          <ac:chgData name="Aurelien Domont" userId="6da7715ce44349b3" providerId="LiveId" clId="{E6277905-FCCE-4B88-BAD6-C5854D60B696}" dt="2021-05-19T07:21:25.037" v="1775" actId="313"/>
          <ac:spMkLst>
            <pc:docMk/>
            <pc:sldMk cId="1659127470" sldId="1924"/>
            <ac:spMk id="25" creationId="{0B462317-12E0-4745-AFEC-1DF156C5EB17}"/>
          </ac:spMkLst>
        </pc:spChg>
        <pc:spChg chg="mod">
          <ac:chgData name="Aurelien Domont" userId="6da7715ce44349b3" providerId="LiveId" clId="{E6277905-FCCE-4B88-BAD6-C5854D60B696}" dt="2021-05-19T06:43:08.751" v="1120" actId="20577"/>
          <ac:spMkLst>
            <pc:docMk/>
            <pc:sldMk cId="1659127470" sldId="1924"/>
            <ac:spMk id="28" creationId="{46F541B2-19A4-48FE-BC36-F95AB3359448}"/>
          </ac:spMkLst>
        </pc:spChg>
        <pc:cxnChg chg="add del mod">
          <ac:chgData name="Aurelien Domont" userId="6da7715ce44349b3" providerId="LiveId" clId="{E6277905-FCCE-4B88-BAD6-C5854D60B696}" dt="2021-05-18T05:56:42.969" v="183" actId="478"/>
          <ac:cxnSpMkLst>
            <pc:docMk/>
            <pc:sldMk cId="1659127470" sldId="1924"/>
            <ac:cxnSpMk id="15" creationId="{2633E9D1-B28B-464D-8203-38A139B3D947}"/>
          </ac:cxnSpMkLst>
        </pc:cxnChg>
        <pc:cxnChg chg="add mod">
          <ac:chgData name="Aurelien Domont" userId="6da7715ce44349b3" providerId="LiveId" clId="{E6277905-FCCE-4B88-BAD6-C5854D60B696}" dt="2021-05-19T06:29:20.431" v="930" actId="1038"/>
          <ac:cxnSpMkLst>
            <pc:docMk/>
            <pc:sldMk cId="1659127470" sldId="1924"/>
            <ac:cxnSpMk id="15" creationId="{E60236D9-FA17-46A1-923E-EAFAC3847145}"/>
          </ac:cxnSpMkLst>
        </pc:cxnChg>
        <pc:cxnChg chg="mod">
          <ac:chgData name="Aurelien Domont" userId="6da7715ce44349b3" providerId="LiveId" clId="{E6277905-FCCE-4B88-BAD6-C5854D60B696}" dt="2021-05-19T06:29:17.208" v="927" actId="1037"/>
          <ac:cxnSpMkLst>
            <pc:docMk/>
            <pc:sldMk cId="1659127470" sldId="1924"/>
            <ac:cxnSpMk id="22" creationId="{8F214CF9-01D2-40DC-9D6F-DAC675E238D0}"/>
          </ac:cxnSpMkLst>
        </pc:cxnChg>
        <pc:cxnChg chg="del mod">
          <ac:chgData name="Aurelien Domont" userId="6da7715ce44349b3" providerId="LiveId" clId="{E6277905-FCCE-4B88-BAD6-C5854D60B696}" dt="2021-05-19T06:27:03.979" v="896" actId="478"/>
          <ac:cxnSpMkLst>
            <pc:docMk/>
            <pc:sldMk cId="1659127470" sldId="1924"/>
            <ac:cxnSpMk id="23" creationId="{919B0EFB-7619-4E1E-BC50-B4C9AA07AF7A}"/>
          </ac:cxnSpMkLst>
        </pc:cxnChg>
      </pc:sldChg>
      <pc:sldChg chg="addSp delSp modSp del mod">
        <pc:chgData name="Aurelien Domont" userId="6da7715ce44349b3" providerId="LiveId" clId="{E6277905-FCCE-4B88-BAD6-C5854D60B696}" dt="2021-05-19T07:18:52.520" v="1773" actId="47"/>
        <pc:sldMkLst>
          <pc:docMk/>
          <pc:sldMk cId="3274212698" sldId="1925"/>
        </pc:sldMkLst>
        <pc:spChg chg="mod">
          <ac:chgData name="Aurelien Domont" userId="6da7715ce44349b3" providerId="LiveId" clId="{E6277905-FCCE-4B88-BAD6-C5854D60B696}" dt="2021-05-19T06:43:54.964" v="1137" actId="20577"/>
          <ac:spMkLst>
            <pc:docMk/>
            <pc:sldMk cId="3274212698" sldId="1925"/>
            <ac:spMk id="2" creationId="{406113FD-AA7D-4249-90D7-70AF85BE48E1}"/>
          </ac:spMkLst>
        </pc:spChg>
        <pc:spChg chg="del">
          <ac:chgData name="Aurelien Domont" userId="6da7715ce44349b3" providerId="LiveId" clId="{E6277905-FCCE-4B88-BAD6-C5854D60B696}" dt="2021-05-19T06:44:02.951" v="1138" actId="478"/>
          <ac:spMkLst>
            <pc:docMk/>
            <pc:sldMk cId="3274212698" sldId="1925"/>
            <ac:spMk id="44" creationId="{411193A8-7FDF-4516-9582-7F8223998366}"/>
          </ac:spMkLst>
        </pc:spChg>
        <pc:spChg chg="del">
          <ac:chgData name="Aurelien Domont" userId="6da7715ce44349b3" providerId="LiveId" clId="{E6277905-FCCE-4B88-BAD6-C5854D60B696}" dt="2021-05-19T06:44:02.951" v="1138" actId="478"/>
          <ac:spMkLst>
            <pc:docMk/>
            <pc:sldMk cId="3274212698" sldId="1925"/>
            <ac:spMk id="45" creationId="{F77BF668-13F9-4E2F-B2A0-A370A4533CBC}"/>
          </ac:spMkLst>
        </pc:spChg>
        <pc:spChg chg="del">
          <ac:chgData name="Aurelien Domont" userId="6da7715ce44349b3" providerId="LiveId" clId="{E6277905-FCCE-4B88-BAD6-C5854D60B696}" dt="2021-05-19T06:44:02.951" v="1138" actId="478"/>
          <ac:spMkLst>
            <pc:docMk/>
            <pc:sldMk cId="3274212698" sldId="1925"/>
            <ac:spMk id="46" creationId="{8E933AF5-28A9-4624-8233-36924701A2D3}"/>
          </ac:spMkLst>
        </pc:spChg>
        <pc:spChg chg="del">
          <ac:chgData name="Aurelien Domont" userId="6da7715ce44349b3" providerId="LiveId" clId="{E6277905-FCCE-4B88-BAD6-C5854D60B696}" dt="2021-05-19T06:44:02.951" v="1138" actId="478"/>
          <ac:spMkLst>
            <pc:docMk/>
            <pc:sldMk cId="3274212698" sldId="1925"/>
            <ac:spMk id="47" creationId="{514BD66A-7DFE-4DC0-BD92-3FE6154D10AE}"/>
          </ac:spMkLst>
        </pc:spChg>
        <pc:spChg chg="del">
          <ac:chgData name="Aurelien Domont" userId="6da7715ce44349b3" providerId="LiveId" clId="{E6277905-FCCE-4B88-BAD6-C5854D60B696}" dt="2021-05-19T06:44:02.951" v="1138" actId="478"/>
          <ac:spMkLst>
            <pc:docMk/>
            <pc:sldMk cId="3274212698" sldId="1925"/>
            <ac:spMk id="48" creationId="{A74BC356-AD5C-4CE9-BA6C-95605462BF66}"/>
          </ac:spMkLst>
        </pc:spChg>
        <pc:spChg chg="del">
          <ac:chgData name="Aurelien Domont" userId="6da7715ce44349b3" providerId="LiveId" clId="{E6277905-FCCE-4B88-BAD6-C5854D60B696}" dt="2021-05-19T06:44:02.951" v="1138" actId="478"/>
          <ac:spMkLst>
            <pc:docMk/>
            <pc:sldMk cId="3274212698" sldId="1925"/>
            <ac:spMk id="49" creationId="{B43642D1-F386-4B4A-9CC3-A7E2404701A0}"/>
          </ac:spMkLst>
        </pc:spChg>
        <pc:spChg chg="del">
          <ac:chgData name="Aurelien Domont" userId="6da7715ce44349b3" providerId="LiveId" clId="{E6277905-FCCE-4B88-BAD6-C5854D60B696}" dt="2021-05-19T06:44:02.951" v="1138" actId="478"/>
          <ac:spMkLst>
            <pc:docMk/>
            <pc:sldMk cId="3274212698" sldId="1925"/>
            <ac:spMk id="50" creationId="{90107E7F-DBC3-49BD-8C62-6977301018C8}"/>
          </ac:spMkLst>
        </pc:spChg>
        <pc:spChg chg="del">
          <ac:chgData name="Aurelien Domont" userId="6da7715ce44349b3" providerId="LiveId" clId="{E6277905-FCCE-4B88-BAD6-C5854D60B696}" dt="2021-05-19T06:44:02.951" v="1138" actId="478"/>
          <ac:spMkLst>
            <pc:docMk/>
            <pc:sldMk cId="3274212698" sldId="1925"/>
            <ac:spMk id="59" creationId="{17CFC19B-CFD4-4FBA-8E77-47ED02F3E8D3}"/>
          </ac:spMkLst>
        </pc:spChg>
        <pc:spChg chg="del">
          <ac:chgData name="Aurelien Domont" userId="6da7715ce44349b3" providerId="LiveId" clId="{E6277905-FCCE-4B88-BAD6-C5854D60B696}" dt="2021-05-19T06:44:02.951" v="1138" actId="478"/>
          <ac:spMkLst>
            <pc:docMk/>
            <pc:sldMk cId="3274212698" sldId="1925"/>
            <ac:spMk id="60" creationId="{695C4FA9-2B8E-4FB8-93E0-7A02320B5483}"/>
          </ac:spMkLst>
        </pc:spChg>
        <pc:spChg chg="del">
          <ac:chgData name="Aurelien Domont" userId="6da7715ce44349b3" providerId="LiveId" clId="{E6277905-FCCE-4B88-BAD6-C5854D60B696}" dt="2021-05-19T06:44:02.951" v="1138" actId="478"/>
          <ac:spMkLst>
            <pc:docMk/>
            <pc:sldMk cId="3274212698" sldId="1925"/>
            <ac:spMk id="61" creationId="{F4E5E171-5D7F-4FAF-93CF-CB62F4A1F2E9}"/>
          </ac:spMkLst>
        </pc:spChg>
        <pc:spChg chg="del">
          <ac:chgData name="Aurelien Domont" userId="6da7715ce44349b3" providerId="LiveId" clId="{E6277905-FCCE-4B88-BAD6-C5854D60B696}" dt="2021-05-19T06:44:02.951" v="1138" actId="478"/>
          <ac:spMkLst>
            <pc:docMk/>
            <pc:sldMk cId="3274212698" sldId="1925"/>
            <ac:spMk id="62" creationId="{CD05CB2E-DBDA-4A1B-94E2-D867171F59FE}"/>
          </ac:spMkLst>
        </pc:spChg>
        <pc:spChg chg="del">
          <ac:chgData name="Aurelien Domont" userId="6da7715ce44349b3" providerId="LiveId" clId="{E6277905-FCCE-4B88-BAD6-C5854D60B696}" dt="2021-05-19T06:44:02.951" v="1138" actId="478"/>
          <ac:spMkLst>
            <pc:docMk/>
            <pc:sldMk cId="3274212698" sldId="1925"/>
            <ac:spMk id="63" creationId="{470F2536-F17A-4FD5-86E3-1E1195927B69}"/>
          </ac:spMkLst>
        </pc:spChg>
        <pc:spChg chg="del">
          <ac:chgData name="Aurelien Domont" userId="6da7715ce44349b3" providerId="LiveId" clId="{E6277905-FCCE-4B88-BAD6-C5854D60B696}" dt="2021-05-19T06:44:02.951" v="1138" actId="478"/>
          <ac:spMkLst>
            <pc:docMk/>
            <pc:sldMk cId="3274212698" sldId="1925"/>
            <ac:spMk id="64" creationId="{3E229F8E-1ADC-441D-9585-3A2C8AD31EE1}"/>
          </ac:spMkLst>
        </pc:spChg>
        <pc:spChg chg="del">
          <ac:chgData name="Aurelien Domont" userId="6da7715ce44349b3" providerId="LiveId" clId="{E6277905-FCCE-4B88-BAD6-C5854D60B696}" dt="2021-05-19T06:44:02.951" v="1138" actId="478"/>
          <ac:spMkLst>
            <pc:docMk/>
            <pc:sldMk cId="3274212698" sldId="1925"/>
            <ac:spMk id="65" creationId="{582A4E88-3E6E-4B57-9921-2E01D1CB84B1}"/>
          </ac:spMkLst>
        </pc:spChg>
        <pc:spChg chg="del">
          <ac:chgData name="Aurelien Domont" userId="6da7715ce44349b3" providerId="LiveId" clId="{E6277905-FCCE-4B88-BAD6-C5854D60B696}" dt="2021-05-19T06:44:02.951" v="1138" actId="478"/>
          <ac:spMkLst>
            <pc:docMk/>
            <pc:sldMk cId="3274212698" sldId="1925"/>
            <ac:spMk id="67" creationId="{04C18065-77FD-459E-88D7-A7F468352973}"/>
          </ac:spMkLst>
        </pc:spChg>
        <pc:spChg chg="del">
          <ac:chgData name="Aurelien Domont" userId="6da7715ce44349b3" providerId="LiveId" clId="{E6277905-FCCE-4B88-BAD6-C5854D60B696}" dt="2021-05-19T06:44:02.951" v="1138" actId="478"/>
          <ac:spMkLst>
            <pc:docMk/>
            <pc:sldMk cId="3274212698" sldId="1925"/>
            <ac:spMk id="68" creationId="{5579B3EC-9EEB-4609-8D9D-F20B76F96151}"/>
          </ac:spMkLst>
        </pc:spChg>
        <pc:spChg chg="del">
          <ac:chgData name="Aurelien Domont" userId="6da7715ce44349b3" providerId="LiveId" clId="{E6277905-FCCE-4B88-BAD6-C5854D60B696}" dt="2021-05-19T06:44:02.951" v="1138" actId="478"/>
          <ac:spMkLst>
            <pc:docMk/>
            <pc:sldMk cId="3274212698" sldId="1925"/>
            <ac:spMk id="70" creationId="{CB1C877D-16A2-4DB0-BED8-3B0FFFB64706}"/>
          </ac:spMkLst>
        </pc:spChg>
        <pc:spChg chg="del">
          <ac:chgData name="Aurelien Domont" userId="6da7715ce44349b3" providerId="LiveId" clId="{E6277905-FCCE-4B88-BAD6-C5854D60B696}" dt="2021-05-19T06:44:02.951" v="1138" actId="478"/>
          <ac:spMkLst>
            <pc:docMk/>
            <pc:sldMk cId="3274212698" sldId="1925"/>
            <ac:spMk id="71" creationId="{08230361-6FC5-4337-BAC4-7E325C461DA8}"/>
          </ac:spMkLst>
        </pc:spChg>
        <pc:spChg chg="del">
          <ac:chgData name="Aurelien Domont" userId="6da7715ce44349b3" providerId="LiveId" clId="{E6277905-FCCE-4B88-BAD6-C5854D60B696}" dt="2021-05-19T06:44:02.951" v="1138" actId="478"/>
          <ac:spMkLst>
            <pc:docMk/>
            <pc:sldMk cId="3274212698" sldId="1925"/>
            <ac:spMk id="74" creationId="{EBD37F0A-29E0-4969-B5EC-4141D2BB6320}"/>
          </ac:spMkLst>
        </pc:spChg>
        <pc:spChg chg="del">
          <ac:chgData name="Aurelien Domont" userId="6da7715ce44349b3" providerId="LiveId" clId="{E6277905-FCCE-4B88-BAD6-C5854D60B696}" dt="2021-05-19T06:44:02.951" v="1138" actId="478"/>
          <ac:spMkLst>
            <pc:docMk/>
            <pc:sldMk cId="3274212698" sldId="1925"/>
            <ac:spMk id="75" creationId="{C4AA2ACA-39B4-442C-B099-063BDA1B897F}"/>
          </ac:spMkLst>
        </pc:spChg>
        <pc:spChg chg="del">
          <ac:chgData name="Aurelien Domont" userId="6da7715ce44349b3" providerId="LiveId" clId="{E6277905-FCCE-4B88-BAD6-C5854D60B696}" dt="2021-05-19T06:44:02.951" v="1138" actId="478"/>
          <ac:spMkLst>
            <pc:docMk/>
            <pc:sldMk cId="3274212698" sldId="1925"/>
            <ac:spMk id="76" creationId="{C7E64FD9-D958-4425-99D6-C3E50B606C24}"/>
          </ac:spMkLst>
        </pc:spChg>
        <pc:spChg chg="del">
          <ac:chgData name="Aurelien Domont" userId="6da7715ce44349b3" providerId="LiveId" clId="{E6277905-FCCE-4B88-BAD6-C5854D60B696}" dt="2021-05-19T06:44:02.951" v="1138" actId="478"/>
          <ac:spMkLst>
            <pc:docMk/>
            <pc:sldMk cId="3274212698" sldId="1925"/>
            <ac:spMk id="78" creationId="{AFA816E6-1329-4FC9-8CAA-8F49CFA1DFBC}"/>
          </ac:spMkLst>
        </pc:spChg>
        <pc:spChg chg="del">
          <ac:chgData name="Aurelien Domont" userId="6da7715ce44349b3" providerId="LiveId" clId="{E6277905-FCCE-4B88-BAD6-C5854D60B696}" dt="2021-05-19T06:44:02.951" v="1138" actId="478"/>
          <ac:spMkLst>
            <pc:docMk/>
            <pc:sldMk cId="3274212698" sldId="1925"/>
            <ac:spMk id="79" creationId="{ACC84311-B402-461E-AAFC-27D36981BAB2}"/>
          </ac:spMkLst>
        </pc:spChg>
        <pc:spChg chg="add mod">
          <ac:chgData name="Aurelien Domont" userId="6da7715ce44349b3" providerId="LiveId" clId="{E6277905-FCCE-4B88-BAD6-C5854D60B696}" dt="2021-05-19T06:45:08.943" v="1139"/>
          <ac:spMkLst>
            <pc:docMk/>
            <pc:sldMk cId="3274212698" sldId="1925"/>
            <ac:spMk id="82" creationId="{6811F91F-B232-427E-8EA1-0BB3DD3C51C0}"/>
          </ac:spMkLst>
        </pc:spChg>
        <pc:spChg chg="add mod">
          <ac:chgData name="Aurelien Domont" userId="6da7715ce44349b3" providerId="LiveId" clId="{E6277905-FCCE-4B88-BAD6-C5854D60B696}" dt="2021-05-19T06:45:08.943" v="1139"/>
          <ac:spMkLst>
            <pc:docMk/>
            <pc:sldMk cId="3274212698" sldId="1925"/>
            <ac:spMk id="83" creationId="{AAC49384-107F-45CD-909C-F6FDB30DF078}"/>
          </ac:spMkLst>
        </pc:spChg>
        <pc:spChg chg="add mod">
          <ac:chgData name="Aurelien Domont" userId="6da7715ce44349b3" providerId="LiveId" clId="{E6277905-FCCE-4B88-BAD6-C5854D60B696}" dt="2021-05-19T06:45:08.943" v="1139"/>
          <ac:spMkLst>
            <pc:docMk/>
            <pc:sldMk cId="3274212698" sldId="1925"/>
            <ac:spMk id="84" creationId="{888D5CDC-366F-4498-8F92-1BA9C0FD9FB3}"/>
          </ac:spMkLst>
        </pc:spChg>
        <pc:spChg chg="add mod">
          <ac:chgData name="Aurelien Domont" userId="6da7715ce44349b3" providerId="LiveId" clId="{E6277905-FCCE-4B88-BAD6-C5854D60B696}" dt="2021-05-19T06:45:08.943" v="1139"/>
          <ac:spMkLst>
            <pc:docMk/>
            <pc:sldMk cId="3274212698" sldId="1925"/>
            <ac:spMk id="85" creationId="{0E16496C-7686-4070-9D81-F36A72936A6A}"/>
          </ac:spMkLst>
        </pc:spChg>
        <pc:spChg chg="add mod">
          <ac:chgData name="Aurelien Domont" userId="6da7715ce44349b3" providerId="LiveId" clId="{E6277905-FCCE-4B88-BAD6-C5854D60B696}" dt="2021-05-19T06:45:08.943" v="1139"/>
          <ac:spMkLst>
            <pc:docMk/>
            <pc:sldMk cId="3274212698" sldId="1925"/>
            <ac:spMk id="86" creationId="{127F6FD2-4304-4DFA-A08B-BB3C214889AF}"/>
          </ac:spMkLst>
        </pc:spChg>
        <pc:spChg chg="add mod">
          <ac:chgData name="Aurelien Domont" userId="6da7715ce44349b3" providerId="LiveId" clId="{E6277905-FCCE-4B88-BAD6-C5854D60B696}" dt="2021-05-19T06:45:08.943" v="1139"/>
          <ac:spMkLst>
            <pc:docMk/>
            <pc:sldMk cId="3274212698" sldId="1925"/>
            <ac:spMk id="87" creationId="{A71BA3C2-E523-4189-B411-ED11F9ECB38B}"/>
          </ac:spMkLst>
        </pc:spChg>
        <pc:spChg chg="add mod">
          <ac:chgData name="Aurelien Domont" userId="6da7715ce44349b3" providerId="LiveId" clId="{E6277905-FCCE-4B88-BAD6-C5854D60B696}" dt="2021-05-19T06:45:08.943" v="1139"/>
          <ac:spMkLst>
            <pc:docMk/>
            <pc:sldMk cId="3274212698" sldId="1925"/>
            <ac:spMk id="88" creationId="{766A1229-361F-44BF-89FD-2D51ADB3BA94}"/>
          </ac:spMkLst>
        </pc:spChg>
        <pc:spChg chg="mod">
          <ac:chgData name="Aurelien Domont" userId="6da7715ce44349b3" providerId="LiveId" clId="{E6277905-FCCE-4B88-BAD6-C5854D60B696}" dt="2021-05-19T06:45:08.943" v="1139"/>
          <ac:spMkLst>
            <pc:docMk/>
            <pc:sldMk cId="3274212698" sldId="1925"/>
            <ac:spMk id="90" creationId="{52FECA04-FE94-4CD4-A547-117453F9F109}"/>
          </ac:spMkLst>
        </pc:spChg>
        <pc:spChg chg="mod">
          <ac:chgData name="Aurelien Domont" userId="6da7715ce44349b3" providerId="LiveId" clId="{E6277905-FCCE-4B88-BAD6-C5854D60B696}" dt="2021-05-19T06:45:08.943" v="1139"/>
          <ac:spMkLst>
            <pc:docMk/>
            <pc:sldMk cId="3274212698" sldId="1925"/>
            <ac:spMk id="91" creationId="{A372959C-3AFF-472F-8D6F-FCBBC776AA53}"/>
          </ac:spMkLst>
        </pc:spChg>
        <pc:spChg chg="mod">
          <ac:chgData name="Aurelien Domont" userId="6da7715ce44349b3" providerId="LiveId" clId="{E6277905-FCCE-4B88-BAD6-C5854D60B696}" dt="2021-05-19T06:45:08.943" v="1139"/>
          <ac:spMkLst>
            <pc:docMk/>
            <pc:sldMk cId="3274212698" sldId="1925"/>
            <ac:spMk id="92" creationId="{1F420D8E-C094-4A16-97C1-B7ADE0D46800}"/>
          </ac:spMkLst>
        </pc:spChg>
        <pc:spChg chg="add mod">
          <ac:chgData name="Aurelien Domont" userId="6da7715ce44349b3" providerId="LiveId" clId="{E6277905-FCCE-4B88-BAD6-C5854D60B696}" dt="2021-05-19T06:45:08.943" v="1139"/>
          <ac:spMkLst>
            <pc:docMk/>
            <pc:sldMk cId="3274212698" sldId="1925"/>
            <ac:spMk id="97" creationId="{E770489E-EA82-4CFA-B698-A7C53ADB8BC7}"/>
          </ac:spMkLst>
        </pc:spChg>
        <pc:spChg chg="add mod">
          <ac:chgData name="Aurelien Domont" userId="6da7715ce44349b3" providerId="LiveId" clId="{E6277905-FCCE-4B88-BAD6-C5854D60B696}" dt="2021-05-19T06:45:08.943" v="1139"/>
          <ac:spMkLst>
            <pc:docMk/>
            <pc:sldMk cId="3274212698" sldId="1925"/>
            <ac:spMk id="98" creationId="{12447D7D-E5EE-4686-A7DF-7DCA86978787}"/>
          </ac:spMkLst>
        </pc:spChg>
        <pc:spChg chg="add mod">
          <ac:chgData name="Aurelien Domont" userId="6da7715ce44349b3" providerId="LiveId" clId="{E6277905-FCCE-4B88-BAD6-C5854D60B696}" dt="2021-05-19T06:45:08.943" v="1139"/>
          <ac:spMkLst>
            <pc:docMk/>
            <pc:sldMk cId="3274212698" sldId="1925"/>
            <ac:spMk id="99" creationId="{B7374880-E0FF-410F-9F48-D2CDE07B8105}"/>
          </ac:spMkLst>
        </pc:spChg>
        <pc:spChg chg="add mod">
          <ac:chgData name="Aurelien Domont" userId="6da7715ce44349b3" providerId="LiveId" clId="{E6277905-FCCE-4B88-BAD6-C5854D60B696}" dt="2021-05-19T06:45:08.943" v="1139"/>
          <ac:spMkLst>
            <pc:docMk/>
            <pc:sldMk cId="3274212698" sldId="1925"/>
            <ac:spMk id="100" creationId="{76415466-16C6-4662-8EB0-14B506132EBB}"/>
          </ac:spMkLst>
        </pc:spChg>
        <pc:spChg chg="add mod">
          <ac:chgData name="Aurelien Domont" userId="6da7715ce44349b3" providerId="LiveId" clId="{E6277905-FCCE-4B88-BAD6-C5854D60B696}" dt="2021-05-19T06:45:08.943" v="1139"/>
          <ac:spMkLst>
            <pc:docMk/>
            <pc:sldMk cId="3274212698" sldId="1925"/>
            <ac:spMk id="101" creationId="{72A1A962-A60A-4408-8E61-EA23F7F3E1A1}"/>
          </ac:spMkLst>
        </pc:spChg>
        <pc:spChg chg="add mod">
          <ac:chgData name="Aurelien Domont" userId="6da7715ce44349b3" providerId="LiveId" clId="{E6277905-FCCE-4B88-BAD6-C5854D60B696}" dt="2021-05-19T06:45:08.943" v="1139"/>
          <ac:spMkLst>
            <pc:docMk/>
            <pc:sldMk cId="3274212698" sldId="1925"/>
            <ac:spMk id="102" creationId="{EB30F586-B7B6-4A72-B28B-16A4112D8796}"/>
          </ac:spMkLst>
        </pc:spChg>
        <pc:spChg chg="add mod">
          <ac:chgData name="Aurelien Domont" userId="6da7715ce44349b3" providerId="LiveId" clId="{E6277905-FCCE-4B88-BAD6-C5854D60B696}" dt="2021-05-19T06:45:08.943" v="1139"/>
          <ac:spMkLst>
            <pc:docMk/>
            <pc:sldMk cId="3274212698" sldId="1925"/>
            <ac:spMk id="103" creationId="{AA8283F7-A9A6-4E77-987A-4ADEB5C26C81}"/>
          </ac:spMkLst>
        </pc:spChg>
        <pc:spChg chg="add mod">
          <ac:chgData name="Aurelien Domont" userId="6da7715ce44349b3" providerId="LiveId" clId="{E6277905-FCCE-4B88-BAD6-C5854D60B696}" dt="2021-05-19T06:45:08.943" v="1139"/>
          <ac:spMkLst>
            <pc:docMk/>
            <pc:sldMk cId="3274212698" sldId="1925"/>
            <ac:spMk id="105" creationId="{A358FC29-7E29-44E1-A1BF-BA88F2E760B8}"/>
          </ac:spMkLst>
        </pc:spChg>
        <pc:spChg chg="add mod">
          <ac:chgData name="Aurelien Domont" userId="6da7715ce44349b3" providerId="LiveId" clId="{E6277905-FCCE-4B88-BAD6-C5854D60B696}" dt="2021-05-19T06:45:08.943" v="1139"/>
          <ac:spMkLst>
            <pc:docMk/>
            <pc:sldMk cId="3274212698" sldId="1925"/>
            <ac:spMk id="106" creationId="{FC7CAB25-A186-4536-9A49-30F317025553}"/>
          </ac:spMkLst>
        </pc:spChg>
        <pc:spChg chg="add mod">
          <ac:chgData name="Aurelien Domont" userId="6da7715ce44349b3" providerId="LiveId" clId="{E6277905-FCCE-4B88-BAD6-C5854D60B696}" dt="2021-05-19T06:45:08.943" v="1139"/>
          <ac:spMkLst>
            <pc:docMk/>
            <pc:sldMk cId="3274212698" sldId="1925"/>
            <ac:spMk id="108" creationId="{25E2FD35-ABF8-4B86-9228-17BAFB2B4F3B}"/>
          </ac:spMkLst>
        </pc:spChg>
        <pc:spChg chg="add mod">
          <ac:chgData name="Aurelien Domont" userId="6da7715ce44349b3" providerId="LiveId" clId="{E6277905-FCCE-4B88-BAD6-C5854D60B696}" dt="2021-05-19T06:45:08.943" v="1139"/>
          <ac:spMkLst>
            <pc:docMk/>
            <pc:sldMk cId="3274212698" sldId="1925"/>
            <ac:spMk id="109" creationId="{F2DC97CE-688B-4C4C-A8E8-A8E31BF663E9}"/>
          </ac:spMkLst>
        </pc:spChg>
        <pc:spChg chg="add mod">
          <ac:chgData name="Aurelien Domont" userId="6da7715ce44349b3" providerId="LiveId" clId="{E6277905-FCCE-4B88-BAD6-C5854D60B696}" dt="2021-05-19T06:45:08.943" v="1139"/>
          <ac:spMkLst>
            <pc:docMk/>
            <pc:sldMk cId="3274212698" sldId="1925"/>
            <ac:spMk id="111" creationId="{20264536-8DBF-4607-8B09-E74BA49D9878}"/>
          </ac:spMkLst>
        </pc:spChg>
        <pc:spChg chg="add mod">
          <ac:chgData name="Aurelien Domont" userId="6da7715ce44349b3" providerId="LiveId" clId="{E6277905-FCCE-4B88-BAD6-C5854D60B696}" dt="2021-05-19T06:45:08.943" v="1139"/>
          <ac:spMkLst>
            <pc:docMk/>
            <pc:sldMk cId="3274212698" sldId="1925"/>
            <ac:spMk id="112" creationId="{868F2369-1DB3-4017-A4A9-76D43C563CD4}"/>
          </ac:spMkLst>
        </pc:spChg>
        <pc:spChg chg="add mod">
          <ac:chgData name="Aurelien Domont" userId="6da7715ce44349b3" providerId="LiveId" clId="{E6277905-FCCE-4B88-BAD6-C5854D60B696}" dt="2021-05-19T06:45:08.943" v="1139"/>
          <ac:spMkLst>
            <pc:docMk/>
            <pc:sldMk cId="3274212698" sldId="1925"/>
            <ac:spMk id="114" creationId="{CDC3F07F-2D23-470D-B603-3FD8AB1ADAE6}"/>
          </ac:spMkLst>
        </pc:spChg>
        <pc:spChg chg="add mod">
          <ac:chgData name="Aurelien Domont" userId="6da7715ce44349b3" providerId="LiveId" clId="{E6277905-FCCE-4B88-BAD6-C5854D60B696}" dt="2021-05-19T06:45:08.943" v="1139"/>
          <ac:spMkLst>
            <pc:docMk/>
            <pc:sldMk cId="3274212698" sldId="1925"/>
            <ac:spMk id="115" creationId="{D0ADBC97-04C2-44A6-9094-FEE29F8B7AA5}"/>
          </ac:spMkLst>
        </pc:spChg>
        <pc:spChg chg="add mod">
          <ac:chgData name="Aurelien Domont" userId="6da7715ce44349b3" providerId="LiveId" clId="{E6277905-FCCE-4B88-BAD6-C5854D60B696}" dt="2021-05-19T06:45:08.943" v="1139"/>
          <ac:spMkLst>
            <pc:docMk/>
            <pc:sldMk cId="3274212698" sldId="1925"/>
            <ac:spMk id="116" creationId="{9A37BDF5-FBB8-46A2-ADFF-7BB4832D9805}"/>
          </ac:spMkLst>
        </pc:spChg>
        <pc:spChg chg="add mod">
          <ac:chgData name="Aurelien Domont" userId="6da7715ce44349b3" providerId="LiveId" clId="{E6277905-FCCE-4B88-BAD6-C5854D60B696}" dt="2021-05-19T06:45:08.943" v="1139"/>
          <ac:spMkLst>
            <pc:docMk/>
            <pc:sldMk cId="3274212698" sldId="1925"/>
            <ac:spMk id="117" creationId="{E2B7F8CB-E3EF-4740-BA5F-AC69AEE785D4}"/>
          </ac:spMkLst>
        </pc:spChg>
        <pc:grpChg chg="del">
          <ac:chgData name="Aurelien Domont" userId="6da7715ce44349b3" providerId="LiveId" clId="{E6277905-FCCE-4B88-BAD6-C5854D60B696}" dt="2021-05-19T06:44:02.951" v="1138" actId="478"/>
          <ac:grpSpMkLst>
            <pc:docMk/>
            <pc:sldMk cId="3274212698" sldId="1925"/>
            <ac:grpSpMk id="51" creationId="{02FE18B2-1EE1-423B-AA56-2E1957D32FB5}"/>
          </ac:grpSpMkLst>
        </pc:grpChg>
        <pc:grpChg chg="add mod">
          <ac:chgData name="Aurelien Domont" userId="6da7715ce44349b3" providerId="LiveId" clId="{E6277905-FCCE-4B88-BAD6-C5854D60B696}" dt="2021-05-19T06:45:08.943" v="1139"/>
          <ac:grpSpMkLst>
            <pc:docMk/>
            <pc:sldMk cId="3274212698" sldId="1925"/>
            <ac:grpSpMk id="89" creationId="{3955A9F5-B7CD-4F64-90B8-D5971EBAE0DD}"/>
          </ac:grpSpMkLst>
        </pc:grpChg>
        <pc:picChg chg="del">
          <ac:chgData name="Aurelien Domont" userId="6da7715ce44349b3" providerId="LiveId" clId="{E6277905-FCCE-4B88-BAD6-C5854D60B696}" dt="2021-05-19T06:44:02.951" v="1138" actId="478"/>
          <ac:picMkLst>
            <pc:docMk/>
            <pc:sldMk cId="3274212698" sldId="1925"/>
            <ac:picMk id="55" creationId="{A4FA445D-A84A-41ED-8E02-195CF8F8A81D}"/>
          </ac:picMkLst>
        </pc:picChg>
        <pc:picChg chg="del">
          <ac:chgData name="Aurelien Domont" userId="6da7715ce44349b3" providerId="LiveId" clId="{E6277905-FCCE-4B88-BAD6-C5854D60B696}" dt="2021-05-19T06:44:02.951" v="1138" actId="478"/>
          <ac:picMkLst>
            <pc:docMk/>
            <pc:sldMk cId="3274212698" sldId="1925"/>
            <ac:picMk id="56" creationId="{64ADD5FF-156B-4D9B-A8EF-89EB7E6D3FBF}"/>
          </ac:picMkLst>
        </pc:picChg>
        <pc:picChg chg="del">
          <ac:chgData name="Aurelien Domont" userId="6da7715ce44349b3" providerId="LiveId" clId="{E6277905-FCCE-4B88-BAD6-C5854D60B696}" dt="2021-05-19T06:44:02.951" v="1138" actId="478"/>
          <ac:picMkLst>
            <pc:docMk/>
            <pc:sldMk cId="3274212698" sldId="1925"/>
            <ac:picMk id="57" creationId="{FB803174-AE02-400E-9C93-D03E88712308}"/>
          </ac:picMkLst>
        </pc:picChg>
        <pc:picChg chg="del">
          <ac:chgData name="Aurelien Domont" userId="6da7715ce44349b3" providerId="LiveId" clId="{E6277905-FCCE-4B88-BAD6-C5854D60B696}" dt="2021-05-19T06:44:02.951" v="1138" actId="478"/>
          <ac:picMkLst>
            <pc:docMk/>
            <pc:sldMk cId="3274212698" sldId="1925"/>
            <ac:picMk id="58" creationId="{D4A6C9F0-BCEF-4AFF-9704-E4BF64DB0ADD}"/>
          </ac:picMkLst>
        </pc:picChg>
        <pc:picChg chg="del">
          <ac:chgData name="Aurelien Domont" userId="6da7715ce44349b3" providerId="LiveId" clId="{E6277905-FCCE-4B88-BAD6-C5854D60B696}" dt="2021-05-19T06:44:02.951" v="1138" actId="478"/>
          <ac:picMkLst>
            <pc:docMk/>
            <pc:sldMk cId="3274212698" sldId="1925"/>
            <ac:picMk id="66" creationId="{9A15547F-27C7-494F-9B37-6EB3ED04DB87}"/>
          </ac:picMkLst>
        </pc:picChg>
        <pc:picChg chg="del">
          <ac:chgData name="Aurelien Domont" userId="6da7715ce44349b3" providerId="LiveId" clId="{E6277905-FCCE-4B88-BAD6-C5854D60B696}" dt="2021-05-19T06:44:02.951" v="1138" actId="478"/>
          <ac:picMkLst>
            <pc:docMk/>
            <pc:sldMk cId="3274212698" sldId="1925"/>
            <ac:picMk id="69" creationId="{7D2EA8E4-AEED-45E4-851F-DDA0ED3FADFB}"/>
          </ac:picMkLst>
        </pc:picChg>
        <pc:picChg chg="del">
          <ac:chgData name="Aurelien Domont" userId="6da7715ce44349b3" providerId="LiveId" clId="{E6277905-FCCE-4B88-BAD6-C5854D60B696}" dt="2021-05-19T06:44:02.951" v="1138" actId="478"/>
          <ac:picMkLst>
            <pc:docMk/>
            <pc:sldMk cId="3274212698" sldId="1925"/>
            <ac:picMk id="72" creationId="{3E3C36E9-A83F-4982-AF48-F596BB1975B8}"/>
          </ac:picMkLst>
        </pc:picChg>
        <pc:picChg chg="del">
          <ac:chgData name="Aurelien Domont" userId="6da7715ce44349b3" providerId="LiveId" clId="{E6277905-FCCE-4B88-BAD6-C5854D60B696}" dt="2021-05-19T06:44:02.951" v="1138" actId="478"/>
          <ac:picMkLst>
            <pc:docMk/>
            <pc:sldMk cId="3274212698" sldId="1925"/>
            <ac:picMk id="73" creationId="{E75442E2-71E9-44FC-A238-51195747C8BC}"/>
          </ac:picMkLst>
        </pc:picChg>
        <pc:picChg chg="del">
          <ac:chgData name="Aurelien Domont" userId="6da7715ce44349b3" providerId="LiveId" clId="{E6277905-FCCE-4B88-BAD6-C5854D60B696}" dt="2021-05-19T06:44:02.951" v="1138" actId="478"/>
          <ac:picMkLst>
            <pc:docMk/>
            <pc:sldMk cId="3274212698" sldId="1925"/>
            <ac:picMk id="77" creationId="{8008FDF0-7F97-4342-A1DE-7763174709E6}"/>
          </ac:picMkLst>
        </pc:picChg>
        <pc:picChg chg="del">
          <ac:chgData name="Aurelien Domont" userId="6da7715ce44349b3" providerId="LiveId" clId="{E6277905-FCCE-4B88-BAD6-C5854D60B696}" dt="2021-05-19T06:44:02.951" v="1138" actId="478"/>
          <ac:picMkLst>
            <pc:docMk/>
            <pc:sldMk cId="3274212698" sldId="1925"/>
            <ac:picMk id="80" creationId="{39C7C8E8-3819-4704-9576-38320744029D}"/>
          </ac:picMkLst>
        </pc:picChg>
        <pc:picChg chg="del">
          <ac:chgData name="Aurelien Domont" userId="6da7715ce44349b3" providerId="LiveId" clId="{E6277905-FCCE-4B88-BAD6-C5854D60B696}" dt="2021-05-19T06:44:02.951" v="1138" actId="478"/>
          <ac:picMkLst>
            <pc:docMk/>
            <pc:sldMk cId="3274212698" sldId="1925"/>
            <ac:picMk id="81" creationId="{E1A1A112-7EBD-45B0-8611-7A7D55304913}"/>
          </ac:picMkLst>
        </pc:picChg>
        <pc:picChg chg="add mod">
          <ac:chgData name="Aurelien Domont" userId="6da7715ce44349b3" providerId="LiveId" clId="{E6277905-FCCE-4B88-BAD6-C5854D60B696}" dt="2021-05-19T06:45:08.943" v="1139"/>
          <ac:picMkLst>
            <pc:docMk/>
            <pc:sldMk cId="3274212698" sldId="1925"/>
            <ac:picMk id="93" creationId="{55D4B895-3F0B-4DD6-853E-DCC05E388F80}"/>
          </ac:picMkLst>
        </pc:picChg>
        <pc:picChg chg="add mod">
          <ac:chgData name="Aurelien Domont" userId="6da7715ce44349b3" providerId="LiveId" clId="{E6277905-FCCE-4B88-BAD6-C5854D60B696}" dt="2021-05-19T06:45:08.943" v="1139"/>
          <ac:picMkLst>
            <pc:docMk/>
            <pc:sldMk cId="3274212698" sldId="1925"/>
            <ac:picMk id="94" creationId="{E6B5A254-7475-41A8-AD4A-41672F41F9AD}"/>
          </ac:picMkLst>
        </pc:picChg>
        <pc:picChg chg="add mod">
          <ac:chgData name="Aurelien Domont" userId="6da7715ce44349b3" providerId="LiveId" clId="{E6277905-FCCE-4B88-BAD6-C5854D60B696}" dt="2021-05-19T06:45:08.943" v="1139"/>
          <ac:picMkLst>
            <pc:docMk/>
            <pc:sldMk cId="3274212698" sldId="1925"/>
            <ac:picMk id="95" creationId="{BAC39F4C-80C6-4F37-939A-FEC43265C745}"/>
          </ac:picMkLst>
        </pc:picChg>
        <pc:picChg chg="add mod">
          <ac:chgData name="Aurelien Domont" userId="6da7715ce44349b3" providerId="LiveId" clId="{E6277905-FCCE-4B88-BAD6-C5854D60B696}" dt="2021-05-19T06:45:08.943" v="1139"/>
          <ac:picMkLst>
            <pc:docMk/>
            <pc:sldMk cId="3274212698" sldId="1925"/>
            <ac:picMk id="96" creationId="{E8DA2080-DD45-41EE-A88B-D78AF94F664B}"/>
          </ac:picMkLst>
        </pc:picChg>
        <pc:picChg chg="add mod">
          <ac:chgData name="Aurelien Domont" userId="6da7715ce44349b3" providerId="LiveId" clId="{E6277905-FCCE-4B88-BAD6-C5854D60B696}" dt="2021-05-19T06:45:08.943" v="1139"/>
          <ac:picMkLst>
            <pc:docMk/>
            <pc:sldMk cId="3274212698" sldId="1925"/>
            <ac:picMk id="104" creationId="{C818559D-D1CC-483D-8C91-4FF20EF6C5E5}"/>
          </ac:picMkLst>
        </pc:picChg>
        <pc:picChg chg="add mod">
          <ac:chgData name="Aurelien Domont" userId="6da7715ce44349b3" providerId="LiveId" clId="{E6277905-FCCE-4B88-BAD6-C5854D60B696}" dt="2021-05-19T06:45:08.943" v="1139"/>
          <ac:picMkLst>
            <pc:docMk/>
            <pc:sldMk cId="3274212698" sldId="1925"/>
            <ac:picMk id="107" creationId="{2BA8F216-B9A4-4F55-8B5D-97927B4A9754}"/>
          </ac:picMkLst>
        </pc:picChg>
        <pc:picChg chg="add mod">
          <ac:chgData name="Aurelien Domont" userId="6da7715ce44349b3" providerId="LiveId" clId="{E6277905-FCCE-4B88-BAD6-C5854D60B696}" dt="2021-05-19T06:45:08.943" v="1139"/>
          <ac:picMkLst>
            <pc:docMk/>
            <pc:sldMk cId="3274212698" sldId="1925"/>
            <ac:picMk id="110" creationId="{AA72594A-CB70-4602-8A29-5BCAD24FC85B}"/>
          </ac:picMkLst>
        </pc:picChg>
        <pc:picChg chg="add mod">
          <ac:chgData name="Aurelien Domont" userId="6da7715ce44349b3" providerId="LiveId" clId="{E6277905-FCCE-4B88-BAD6-C5854D60B696}" dt="2021-05-19T06:45:08.943" v="1139"/>
          <ac:picMkLst>
            <pc:docMk/>
            <pc:sldMk cId="3274212698" sldId="1925"/>
            <ac:picMk id="113" creationId="{BE302D27-2062-4483-BA8A-40643D1A0757}"/>
          </ac:picMkLst>
        </pc:picChg>
        <pc:picChg chg="add mod">
          <ac:chgData name="Aurelien Domont" userId="6da7715ce44349b3" providerId="LiveId" clId="{E6277905-FCCE-4B88-BAD6-C5854D60B696}" dt="2021-05-19T06:45:08.943" v="1139"/>
          <ac:picMkLst>
            <pc:docMk/>
            <pc:sldMk cId="3274212698" sldId="1925"/>
            <ac:picMk id="118" creationId="{56FCC3FA-007A-40E2-B90C-01AFFCF85C47}"/>
          </ac:picMkLst>
        </pc:picChg>
        <pc:picChg chg="add mod">
          <ac:chgData name="Aurelien Domont" userId="6da7715ce44349b3" providerId="LiveId" clId="{E6277905-FCCE-4B88-BAD6-C5854D60B696}" dt="2021-05-19T06:45:08.943" v="1139"/>
          <ac:picMkLst>
            <pc:docMk/>
            <pc:sldMk cId="3274212698" sldId="1925"/>
            <ac:picMk id="119" creationId="{86CC8FE2-E91B-444C-9A8D-5927B10AD0D3}"/>
          </ac:picMkLst>
        </pc:picChg>
        <pc:picChg chg="add mod">
          <ac:chgData name="Aurelien Domont" userId="6da7715ce44349b3" providerId="LiveId" clId="{E6277905-FCCE-4B88-BAD6-C5854D60B696}" dt="2021-05-19T06:45:08.943" v="1139"/>
          <ac:picMkLst>
            <pc:docMk/>
            <pc:sldMk cId="3274212698" sldId="1925"/>
            <ac:picMk id="120" creationId="{7EF86C02-27FF-4AA3-B563-8410E16DC732}"/>
          </ac:picMkLst>
        </pc:picChg>
      </pc:sldChg>
      <pc:sldChg chg="del">
        <pc:chgData name="Aurelien Domont" userId="6da7715ce44349b3" providerId="LiveId" clId="{E6277905-FCCE-4B88-BAD6-C5854D60B696}" dt="2021-05-19T07:18:52.520" v="1773" actId="47"/>
        <pc:sldMkLst>
          <pc:docMk/>
          <pc:sldMk cId="4057054822" sldId="2147"/>
        </pc:sldMkLst>
      </pc:sldChg>
      <pc:sldChg chg="del">
        <pc:chgData name="Aurelien Domont" userId="6da7715ce44349b3" providerId="LiveId" clId="{E6277905-FCCE-4B88-BAD6-C5854D60B696}" dt="2021-05-19T07:18:52.520" v="1773" actId="47"/>
        <pc:sldMkLst>
          <pc:docMk/>
          <pc:sldMk cId="4208437711" sldId="2148"/>
        </pc:sldMkLst>
      </pc:sldChg>
      <pc:sldChg chg="addSp delSp modSp add mod">
        <pc:chgData name="Aurelien Domont" userId="6da7715ce44349b3" providerId="LiveId" clId="{E6277905-FCCE-4B88-BAD6-C5854D60B696}" dt="2021-05-27T01:27:06.051" v="1819" actId="20577"/>
        <pc:sldMkLst>
          <pc:docMk/>
          <pc:sldMk cId="3004254457" sldId="2150"/>
        </pc:sldMkLst>
        <pc:spChg chg="add del mod">
          <ac:chgData name="Aurelien Domont" userId="6da7715ce44349b3" providerId="LiveId" clId="{E6277905-FCCE-4B88-BAD6-C5854D60B696}" dt="2021-05-26T06:40:50.460" v="1781"/>
          <ac:spMkLst>
            <pc:docMk/>
            <pc:sldMk cId="3004254457" sldId="2150"/>
            <ac:spMk id="15" creationId="{289522BB-8120-41ED-8691-D1DB7714657B}"/>
          </ac:spMkLst>
        </pc:spChg>
        <pc:spChg chg="del">
          <ac:chgData name="Aurelien Domont" userId="6da7715ce44349b3" providerId="LiveId" clId="{E6277905-FCCE-4B88-BAD6-C5854D60B696}" dt="2021-05-26T06:40:44.917" v="1778" actId="478"/>
          <ac:spMkLst>
            <pc:docMk/>
            <pc:sldMk cId="3004254457" sldId="2150"/>
            <ac:spMk id="17" creationId="{469F466A-B940-41E3-B12F-110D72502BCE}"/>
          </ac:spMkLst>
        </pc:spChg>
        <pc:spChg chg="add del mod">
          <ac:chgData name="Aurelien Domont" userId="6da7715ce44349b3" providerId="LiveId" clId="{E6277905-FCCE-4B88-BAD6-C5854D60B696}" dt="2021-05-26T06:40:50.460" v="1781"/>
          <ac:spMkLst>
            <pc:docMk/>
            <pc:sldMk cId="3004254457" sldId="2150"/>
            <ac:spMk id="18" creationId="{810A83E6-FE02-4001-9505-44D323E9D95D}"/>
          </ac:spMkLst>
        </pc:spChg>
        <pc:spChg chg="add del mod">
          <ac:chgData name="Aurelien Domont" userId="6da7715ce44349b3" providerId="LiveId" clId="{E6277905-FCCE-4B88-BAD6-C5854D60B696}" dt="2021-05-26T06:40:50.460" v="1781"/>
          <ac:spMkLst>
            <pc:docMk/>
            <pc:sldMk cId="3004254457" sldId="2150"/>
            <ac:spMk id="19" creationId="{6B0700AA-AC6D-4D0E-87F8-23C3C0894B7F}"/>
          </ac:spMkLst>
        </pc:spChg>
        <pc:spChg chg="del">
          <ac:chgData name="Aurelien Domont" userId="6da7715ce44349b3" providerId="LiveId" clId="{E6277905-FCCE-4B88-BAD6-C5854D60B696}" dt="2021-05-26T06:40:44.917" v="1778" actId="478"/>
          <ac:spMkLst>
            <pc:docMk/>
            <pc:sldMk cId="3004254457" sldId="2150"/>
            <ac:spMk id="20" creationId="{3A4E6A8C-908C-49FF-9BF8-90A9FC12224D}"/>
          </ac:spMkLst>
        </pc:spChg>
        <pc:spChg chg="del">
          <ac:chgData name="Aurelien Domont" userId="6da7715ce44349b3" providerId="LiveId" clId="{E6277905-FCCE-4B88-BAD6-C5854D60B696}" dt="2021-05-26T06:40:44.917" v="1778" actId="478"/>
          <ac:spMkLst>
            <pc:docMk/>
            <pc:sldMk cId="3004254457" sldId="2150"/>
            <ac:spMk id="21" creationId="{16FAC062-BB56-4A49-9044-4444E78429DF}"/>
          </ac:spMkLst>
        </pc:spChg>
        <pc:spChg chg="add del mod">
          <ac:chgData name="Aurelien Domont" userId="6da7715ce44349b3" providerId="LiveId" clId="{E6277905-FCCE-4B88-BAD6-C5854D60B696}" dt="2021-05-26T06:40:50.460" v="1781"/>
          <ac:spMkLst>
            <pc:docMk/>
            <pc:sldMk cId="3004254457" sldId="2150"/>
            <ac:spMk id="23" creationId="{DDAAF93C-8394-4D44-BF82-1D40800031E3}"/>
          </ac:spMkLst>
        </pc:spChg>
        <pc:spChg chg="del">
          <ac:chgData name="Aurelien Domont" userId="6da7715ce44349b3" providerId="LiveId" clId="{E6277905-FCCE-4B88-BAD6-C5854D60B696}" dt="2021-05-26T06:40:44.917" v="1778" actId="478"/>
          <ac:spMkLst>
            <pc:docMk/>
            <pc:sldMk cId="3004254457" sldId="2150"/>
            <ac:spMk id="24" creationId="{95714746-22CF-48C5-AD51-9D9AE6E5F2C8}"/>
          </ac:spMkLst>
        </pc:spChg>
        <pc:spChg chg="del">
          <ac:chgData name="Aurelien Domont" userId="6da7715ce44349b3" providerId="LiveId" clId="{E6277905-FCCE-4B88-BAD6-C5854D60B696}" dt="2021-05-26T06:40:48.253" v="1779" actId="478"/>
          <ac:spMkLst>
            <pc:docMk/>
            <pc:sldMk cId="3004254457" sldId="2150"/>
            <ac:spMk id="25" creationId="{0B462317-12E0-4745-AFEC-1DF156C5EB17}"/>
          </ac:spMkLst>
        </pc:spChg>
        <pc:spChg chg="add del mod">
          <ac:chgData name="Aurelien Domont" userId="6da7715ce44349b3" providerId="LiveId" clId="{E6277905-FCCE-4B88-BAD6-C5854D60B696}" dt="2021-05-26T06:40:50.460" v="1781"/>
          <ac:spMkLst>
            <pc:docMk/>
            <pc:sldMk cId="3004254457" sldId="2150"/>
            <ac:spMk id="27" creationId="{1E9241A9-8AC6-40BA-9028-747979496287}"/>
          </ac:spMkLst>
        </pc:spChg>
        <pc:spChg chg="del">
          <ac:chgData name="Aurelien Domont" userId="6da7715ce44349b3" providerId="LiveId" clId="{E6277905-FCCE-4B88-BAD6-C5854D60B696}" dt="2021-05-26T06:40:44.917" v="1778" actId="478"/>
          <ac:spMkLst>
            <pc:docMk/>
            <pc:sldMk cId="3004254457" sldId="2150"/>
            <ac:spMk id="28" creationId="{46F541B2-19A4-48FE-BC36-F95AB3359448}"/>
          </ac:spMkLst>
        </pc:spChg>
        <pc:spChg chg="add del mod">
          <ac:chgData name="Aurelien Domont" userId="6da7715ce44349b3" providerId="LiveId" clId="{E6277905-FCCE-4B88-BAD6-C5854D60B696}" dt="2021-05-26T06:40:50.460" v="1781"/>
          <ac:spMkLst>
            <pc:docMk/>
            <pc:sldMk cId="3004254457" sldId="2150"/>
            <ac:spMk id="29" creationId="{18ED52D6-0147-4100-8A16-A75D674809A5}"/>
          </ac:spMkLst>
        </pc:spChg>
        <pc:spChg chg="add del mod">
          <ac:chgData name="Aurelien Domont" userId="6da7715ce44349b3" providerId="LiveId" clId="{E6277905-FCCE-4B88-BAD6-C5854D60B696}" dt="2021-05-26T06:40:56.939" v="1783" actId="478"/>
          <ac:spMkLst>
            <pc:docMk/>
            <pc:sldMk cId="3004254457" sldId="2150"/>
            <ac:spMk id="31" creationId="{C800D2F5-D2B7-4475-A5E3-A9FE8396C089}"/>
          </ac:spMkLst>
        </pc:spChg>
        <pc:spChg chg="add mod">
          <ac:chgData name="Aurelien Domont" userId="6da7715ce44349b3" providerId="LiveId" clId="{E6277905-FCCE-4B88-BAD6-C5854D60B696}" dt="2021-05-26T06:40:54.163" v="1782"/>
          <ac:spMkLst>
            <pc:docMk/>
            <pc:sldMk cId="3004254457" sldId="2150"/>
            <ac:spMk id="32" creationId="{F4E53BA9-9AB9-48F0-A73B-05C6322E3392}"/>
          </ac:spMkLst>
        </pc:spChg>
        <pc:spChg chg="add mod">
          <ac:chgData name="Aurelien Domont" userId="6da7715ce44349b3" providerId="LiveId" clId="{E6277905-FCCE-4B88-BAD6-C5854D60B696}" dt="2021-05-26T06:40:54.163" v="1782"/>
          <ac:spMkLst>
            <pc:docMk/>
            <pc:sldMk cId="3004254457" sldId="2150"/>
            <ac:spMk id="33" creationId="{CDADC7B4-4779-49A3-9FCF-3DC29EF44738}"/>
          </ac:spMkLst>
        </pc:spChg>
        <pc:spChg chg="add mod">
          <ac:chgData name="Aurelien Domont" userId="6da7715ce44349b3" providerId="LiveId" clId="{E6277905-FCCE-4B88-BAD6-C5854D60B696}" dt="2021-05-26T06:40:59.418" v="1784" actId="108"/>
          <ac:spMkLst>
            <pc:docMk/>
            <pc:sldMk cId="3004254457" sldId="2150"/>
            <ac:spMk id="34" creationId="{30185B92-2394-4D45-8987-284B6B741CF6}"/>
          </ac:spMkLst>
        </pc:spChg>
        <pc:spChg chg="add mod">
          <ac:chgData name="Aurelien Domont" userId="6da7715ce44349b3" providerId="LiveId" clId="{E6277905-FCCE-4B88-BAD6-C5854D60B696}" dt="2021-05-26T06:40:54.163" v="1782"/>
          <ac:spMkLst>
            <pc:docMk/>
            <pc:sldMk cId="3004254457" sldId="2150"/>
            <ac:spMk id="36" creationId="{AAC5EFF7-9581-4CFA-9007-0B2D138DC929}"/>
          </ac:spMkLst>
        </pc:spChg>
        <pc:spChg chg="add mod">
          <ac:chgData name="Aurelien Domont" userId="6da7715ce44349b3" providerId="LiveId" clId="{E6277905-FCCE-4B88-BAD6-C5854D60B696}" dt="2021-05-26T06:40:54.163" v="1782"/>
          <ac:spMkLst>
            <pc:docMk/>
            <pc:sldMk cId="3004254457" sldId="2150"/>
            <ac:spMk id="37" creationId="{97849EAC-234E-45EF-B196-78699AC97FA2}"/>
          </ac:spMkLst>
        </pc:spChg>
        <pc:spChg chg="add mod">
          <ac:chgData name="Aurelien Domont" userId="6da7715ce44349b3" providerId="LiveId" clId="{E6277905-FCCE-4B88-BAD6-C5854D60B696}" dt="2021-05-27T01:27:06.051" v="1819" actId="20577"/>
          <ac:spMkLst>
            <pc:docMk/>
            <pc:sldMk cId="3004254457" sldId="2150"/>
            <ac:spMk id="38" creationId="{3CA2023D-F310-415B-9867-7BDE343D904B}"/>
          </ac:spMkLst>
        </pc:spChg>
        <pc:cxnChg chg="del">
          <ac:chgData name="Aurelien Domont" userId="6da7715ce44349b3" providerId="LiveId" clId="{E6277905-FCCE-4B88-BAD6-C5854D60B696}" dt="2021-05-26T06:40:44.917" v="1778" actId="478"/>
          <ac:cxnSpMkLst>
            <pc:docMk/>
            <pc:sldMk cId="3004254457" sldId="2150"/>
            <ac:cxnSpMk id="14" creationId="{8AF311F1-81EB-4B55-BE8A-132238822DBA}"/>
          </ac:cxnSpMkLst>
        </pc:cxnChg>
        <pc:cxnChg chg="del">
          <ac:chgData name="Aurelien Domont" userId="6da7715ce44349b3" providerId="LiveId" clId="{E6277905-FCCE-4B88-BAD6-C5854D60B696}" dt="2021-05-26T06:40:44.917" v="1778" actId="478"/>
          <ac:cxnSpMkLst>
            <pc:docMk/>
            <pc:sldMk cId="3004254457" sldId="2150"/>
            <ac:cxnSpMk id="22" creationId="{8F214CF9-01D2-40DC-9D6F-DAC675E238D0}"/>
          </ac:cxnSpMkLst>
        </pc:cxnChg>
        <pc:cxnChg chg="add del mod">
          <ac:chgData name="Aurelien Domont" userId="6da7715ce44349b3" providerId="LiveId" clId="{E6277905-FCCE-4B88-BAD6-C5854D60B696}" dt="2021-05-26T06:40:50.460" v="1781"/>
          <ac:cxnSpMkLst>
            <pc:docMk/>
            <pc:sldMk cId="3004254457" sldId="2150"/>
            <ac:cxnSpMk id="26" creationId="{57957259-D5E3-4C24-91F9-79457648283C}"/>
          </ac:cxnSpMkLst>
        </pc:cxnChg>
        <pc:cxnChg chg="add del mod">
          <ac:chgData name="Aurelien Domont" userId="6da7715ce44349b3" providerId="LiveId" clId="{E6277905-FCCE-4B88-BAD6-C5854D60B696}" dt="2021-05-26T06:40:50.460" v="1781"/>
          <ac:cxnSpMkLst>
            <pc:docMk/>
            <pc:sldMk cId="3004254457" sldId="2150"/>
            <ac:cxnSpMk id="30" creationId="{BE7426A9-F6EC-4B08-9D2D-D1185F92903E}"/>
          </ac:cxnSpMkLst>
        </pc:cxnChg>
        <pc:cxnChg chg="add mod">
          <ac:chgData name="Aurelien Domont" userId="6da7715ce44349b3" providerId="LiveId" clId="{E6277905-FCCE-4B88-BAD6-C5854D60B696}" dt="2021-05-26T06:40:54.163" v="1782"/>
          <ac:cxnSpMkLst>
            <pc:docMk/>
            <pc:sldMk cId="3004254457" sldId="2150"/>
            <ac:cxnSpMk id="35" creationId="{AC48342A-109D-4373-B3D7-98BE0267DC04}"/>
          </ac:cxnSpMkLst>
        </pc:cxnChg>
        <pc:cxnChg chg="add mod">
          <ac:chgData name="Aurelien Domont" userId="6da7715ce44349b3" providerId="LiveId" clId="{E6277905-FCCE-4B88-BAD6-C5854D60B696}" dt="2021-05-26T06:40:54.163" v="1782"/>
          <ac:cxnSpMkLst>
            <pc:docMk/>
            <pc:sldMk cId="3004254457" sldId="2150"/>
            <ac:cxnSpMk id="39" creationId="{02DB1088-3FCD-49FB-A3C3-A1CEBA001978}"/>
          </ac:cxnSpMkLst>
        </pc:cxnChg>
      </pc:sldChg>
      <pc:sldChg chg="delSp add del mod">
        <pc:chgData name="Aurelien Domont" userId="6da7715ce44349b3" providerId="LiveId" clId="{E6277905-FCCE-4B88-BAD6-C5854D60B696}" dt="2021-05-19T06:29:07.268" v="922" actId="47"/>
        <pc:sldMkLst>
          <pc:docMk/>
          <pc:sldMk cId="4006627445" sldId="2150"/>
        </pc:sldMkLst>
        <pc:spChg chg="del">
          <ac:chgData name="Aurelien Domont" userId="6da7715ce44349b3" providerId="LiveId" clId="{E6277905-FCCE-4B88-BAD6-C5854D60B696}" dt="2021-05-18T05:50:46.670" v="44" actId="478"/>
          <ac:spMkLst>
            <pc:docMk/>
            <pc:sldMk cId="4006627445" sldId="2150"/>
            <ac:spMk id="14" creationId="{1E88A16D-E54C-45FC-97FE-3A1C196DAF1A}"/>
          </ac:spMkLst>
        </pc:spChg>
      </pc:sldChg>
      <pc:sldChg chg="modSp add del mod">
        <pc:chgData name="Aurelien Domont" userId="6da7715ce44349b3" providerId="LiveId" clId="{E6277905-FCCE-4B88-BAD6-C5854D60B696}" dt="2021-05-19T06:28:23.391" v="921" actId="47"/>
        <pc:sldMkLst>
          <pc:docMk/>
          <pc:sldMk cId="800771593" sldId="2151"/>
        </pc:sldMkLst>
        <pc:spChg chg="mod">
          <ac:chgData name="Aurelien Domont" userId="6da7715ce44349b3" providerId="LiveId" clId="{E6277905-FCCE-4B88-BAD6-C5854D60B696}" dt="2021-05-19T05:54:39.115" v="328" actId="207"/>
          <ac:spMkLst>
            <pc:docMk/>
            <pc:sldMk cId="800771593" sldId="2151"/>
            <ac:spMk id="2" creationId="{8D91CEA2-A9A2-44FD-975C-6F4A2D59641D}"/>
          </ac:spMkLst>
        </pc:spChg>
      </pc:sldChg>
      <pc:sldChg chg="modSp add del mod">
        <pc:chgData name="Aurelien Domont" userId="6da7715ce44349b3" providerId="LiveId" clId="{E6277905-FCCE-4B88-BAD6-C5854D60B696}" dt="2021-05-19T06:28:21.064" v="920" actId="47"/>
        <pc:sldMkLst>
          <pc:docMk/>
          <pc:sldMk cId="3247063612" sldId="2152"/>
        </pc:sldMkLst>
        <pc:spChg chg="mod">
          <ac:chgData name="Aurelien Domont" userId="6da7715ce44349b3" providerId="LiveId" clId="{E6277905-FCCE-4B88-BAD6-C5854D60B696}" dt="2021-05-19T06:12:41.432" v="657" actId="108"/>
          <ac:spMkLst>
            <pc:docMk/>
            <pc:sldMk cId="3247063612" sldId="2152"/>
            <ac:spMk id="2" creationId="{8D91CEA2-A9A2-44FD-975C-6F4A2D59641D}"/>
          </ac:spMkLst>
        </pc:spChg>
      </pc:sldChg>
    </pc:docChg>
  </pc:docChgLst>
  <pc:docChgLst>
    <pc:chgData name="Aurelien Domont" userId="6da7715ce44349b3" providerId="LiveId" clId="{C523CB9D-DE17-4F66-BAA5-E2467A3E4858}"/>
    <pc:docChg chg="delSld modSld">
      <pc:chgData name="Aurelien Domont" userId="6da7715ce44349b3" providerId="LiveId" clId="{C523CB9D-DE17-4F66-BAA5-E2467A3E4858}" dt="2021-05-03T08:03:28.500" v="13" actId="20577"/>
      <pc:docMkLst>
        <pc:docMk/>
      </pc:docMkLst>
      <pc:sldChg chg="del">
        <pc:chgData name="Aurelien Domont" userId="6da7715ce44349b3" providerId="LiveId" clId="{C523CB9D-DE17-4F66-BAA5-E2467A3E4858}" dt="2021-05-03T08:02:20.197" v="0" actId="47"/>
        <pc:sldMkLst>
          <pc:docMk/>
          <pc:sldMk cId="4262757208" sldId="1792"/>
        </pc:sldMkLst>
      </pc:sldChg>
      <pc:sldChg chg="del">
        <pc:chgData name="Aurelien Domont" userId="6da7715ce44349b3" providerId="LiveId" clId="{C523CB9D-DE17-4F66-BAA5-E2467A3E4858}" dt="2021-05-03T08:02:20.197" v="0" actId="47"/>
        <pc:sldMkLst>
          <pc:docMk/>
          <pc:sldMk cId="504490806" sldId="1796"/>
        </pc:sldMkLst>
      </pc:sldChg>
      <pc:sldChg chg="del">
        <pc:chgData name="Aurelien Domont" userId="6da7715ce44349b3" providerId="LiveId" clId="{C523CB9D-DE17-4F66-BAA5-E2467A3E4858}" dt="2021-05-03T08:02:20.197" v="0" actId="47"/>
        <pc:sldMkLst>
          <pc:docMk/>
          <pc:sldMk cId="767058056" sldId="1797"/>
        </pc:sldMkLst>
      </pc:sldChg>
      <pc:sldChg chg="del">
        <pc:chgData name="Aurelien Domont" userId="6da7715ce44349b3" providerId="LiveId" clId="{C523CB9D-DE17-4F66-BAA5-E2467A3E4858}" dt="2021-05-03T08:02:20.197" v="0" actId="47"/>
        <pc:sldMkLst>
          <pc:docMk/>
          <pc:sldMk cId="713437184" sldId="1882"/>
        </pc:sldMkLst>
      </pc:sldChg>
      <pc:sldChg chg="del">
        <pc:chgData name="Aurelien Domont" userId="6da7715ce44349b3" providerId="LiveId" clId="{C523CB9D-DE17-4F66-BAA5-E2467A3E4858}" dt="2021-05-03T08:02:20.197" v="0" actId="47"/>
        <pc:sldMkLst>
          <pc:docMk/>
          <pc:sldMk cId="3792836084" sldId="1883"/>
        </pc:sldMkLst>
      </pc:sldChg>
      <pc:sldChg chg="del">
        <pc:chgData name="Aurelien Domont" userId="6da7715ce44349b3" providerId="LiveId" clId="{C523CB9D-DE17-4F66-BAA5-E2467A3E4858}" dt="2021-05-03T08:02:20.197" v="0" actId="47"/>
        <pc:sldMkLst>
          <pc:docMk/>
          <pc:sldMk cId="3227587685" sldId="1884"/>
        </pc:sldMkLst>
      </pc:sldChg>
      <pc:sldChg chg="del">
        <pc:chgData name="Aurelien Domont" userId="6da7715ce44349b3" providerId="LiveId" clId="{C523CB9D-DE17-4F66-BAA5-E2467A3E4858}" dt="2021-05-03T08:02:20.197" v="0" actId="47"/>
        <pc:sldMkLst>
          <pc:docMk/>
          <pc:sldMk cId="2820013767" sldId="1885"/>
        </pc:sldMkLst>
      </pc:sldChg>
      <pc:sldChg chg="del">
        <pc:chgData name="Aurelien Domont" userId="6da7715ce44349b3" providerId="LiveId" clId="{C523CB9D-DE17-4F66-BAA5-E2467A3E4858}" dt="2021-05-03T08:02:20.197" v="0" actId="47"/>
        <pc:sldMkLst>
          <pc:docMk/>
          <pc:sldMk cId="3287084427" sldId="1886"/>
        </pc:sldMkLst>
      </pc:sldChg>
      <pc:sldChg chg="del">
        <pc:chgData name="Aurelien Domont" userId="6da7715ce44349b3" providerId="LiveId" clId="{C523CB9D-DE17-4F66-BAA5-E2467A3E4858}" dt="2021-05-03T08:02:20.197" v="0" actId="47"/>
        <pc:sldMkLst>
          <pc:docMk/>
          <pc:sldMk cId="2955017529" sldId="1887"/>
        </pc:sldMkLst>
      </pc:sldChg>
      <pc:sldChg chg="del">
        <pc:chgData name="Aurelien Domont" userId="6da7715ce44349b3" providerId="LiveId" clId="{C523CB9D-DE17-4F66-BAA5-E2467A3E4858}" dt="2021-05-03T08:02:20.197" v="0" actId="47"/>
        <pc:sldMkLst>
          <pc:docMk/>
          <pc:sldMk cId="3064639401" sldId="1889"/>
        </pc:sldMkLst>
      </pc:sldChg>
      <pc:sldChg chg="del">
        <pc:chgData name="Aurelien Domont" userId="6da7715ce44349b3" providerId="LiveId" clId="{C523CB9D-DE17-4F66-BAA5-E2467A3E4858}" dt="2021-05-03T08:02:20.197" v="0" actId="47"/>
        <pc:sldMkLst>
          <pc:docMk/>
          <pc:sldMk cId="4203379594" sldId="1890"/>
        </pc:sldMkLst>
      </pc:sldChg>
      <pc:sldChg chg="del">
        <pc:chgData name="Aurelien Domont" userId="6da7715ce44349b3" providerId="LiveId" clId="{C523CB9D-DE17-4F66-BAA5-E2467A3E4858}" dt="2021-05-03T08:02:20.197" v="0" actId="47"/>
        <pc:sldMkLst>
          <pc:docMk/>
          <pc:sldMk cId="2239563003" sldId="1892"/>
        </pc:sldMkLst>
      </pc:sldChg>
      <pc:sldChg chg="del">
        <pc:chgData name="Aurelien Domont" userId="6da7715ce44349b3" providerId="LiveId" clId="{C523CB9D-DE17-4F66-BAA5-E2467A3E4858}" dt="2021-05-03T08:02:20.197" v="0" actId="47"/>
        <pc:sldMkLst>
          <pc:docMk/>
          <pc:sldMk cId="3677099460" sldId="1893"/>
        </pc:sldMkLst>
      </pc:sldChg>
      <pc:sldChg chg="modSp mod">
        <pc:chgData name="Aurelien Domont" userId="6da7715ce44349b3" providerId="LiveId" clId="{C523CB9D-DE17-4F66-BAA5-E2467A3E4858}" dt="2021-05-03T08:02:57.383" v="2" actId="20577"/>
        <pc:sldMkLst>
          <pc:docMk/>
          <pc:sldMk cId="3738554192" sldId="1918"/>
        </pc:sldMkLst>
        <pc:spChg chg="mod">
          <ac:chgData name="Aurelien Domont" userId="6da7715ce44349b3" providerId="LiveId" clId="{C523CB9D-DE17-4F66-BAA5-E2467A3E4858}" dt="2021-05-03T08:02:57.383" v="2" actId="20577"/>
          <ac:spMkLst>
            <pc:docMk/>
            <pc:sldMk cId="3738554192" sldId="1918"/>
            <ac:spMk id="16" creationId="{6C2BB713-9637-4B9B-938F-E9768876782A}"/>
          </ac:spMkLst>
        </pc:spChg>
      </pc:sldChg>
      <pc:sldChg chg="modSp mod">
        <pc:chgData name="Aurelien Domont" userId="6da7715ce44349b3" providerId="LiveId" clId="{C523CB9D-DE17-4F66-BAA5-E2467A3E4858}" dt="2021-05-03T08:03:28.500" v="13" actId="20577"/>
        <pc:sldMkLst>
          <pc:docMk/>
          <pc:sldMk cId="4287792945" sldId="1919"/>
        </pc:sldMkLst>
        <pc:spChg chg="mod">
          <ac:chgData name="Aurelien Domont" userId="6da7715ce44349b3" providerId="LiveId" clId="{C523CB9D-DE17-4F66-BAA5-E2467A3E4858}" dt="2021-05-03T08:03:25.707" v="11" actId="20577"/>
          <ac:spMkLst>
            <pc:docMk/>
            <pc:sldMk cId="4287792945" sldId="1919"/>
            <ac:spMk id="2" creationId="{DB8DB0C8-E51F-47D1-A351-F9D9CA2C15DA}"/>
          </ac:spMkLst>
        </pc:spChg>
        <pc:spChg chg="mod">
          <ac:chgData name="Aurelien Domont" userId="6da7715ce44349b3" providerId="LiveId" clId="{C523CB9D-DE17-4F66-BAA5-E2467A3E4858}" dt="2021-05-03T08:03:28.500" v="13" actId="20577"/>
          <ac:spMkLst>
            <pc:docMk/>
            <pc:sldMk cId="4287792945" sldId="1919"/>
            <ac:spMk id="16" creationId="{6C2BB713-9637-4B9B-938F-E9768876782A}"/>
          </ac:spMkLst>
        </pc:spChg>
      </pc:sldChg>
      <pc:sldChg chg="del">
        <pc:chgData name="Aurelien Domont" userId="6da7715ce44349b3" providerId="LiveId" clId="{C523CB9D-DE17-4F66-BAA5-E2467A3E4858}" dt="2021-05-03T08:02:20.197" v="0" actId="47"/>
        <pc:sldMkLst>
          <pc:docMk/>
          <pc:sldMk cId="597933806" sldId="1925"/>
        </pc:sldMkLst>
      </pc:sldChg>
      <pc:sldChg chg="del">
        <pc:chgData name="Aurelien Domont" userId="6da7715ce44349b3" providerId="LiveId" clId="{C523CB9D-DE17-4F66-BAA5-E2467A3E4858}" dt="2021-05-03T08:02:20.197" v="0" actId="47"/>
        <pc:sldMkLst>
          <pc:docMk/>
          <pc:sldMk cId="1874123290" sldId="1926"/>
        </pc:sldMkLst>
      </pc:sldChg>
      <pc:sldChg chg="del">
        <pc:chgData name="Aurelien Domont" userId="6da7715ce44349b3" providerId="LiveId" clId="{C523CB9D-DE17-4F66-BAA5-E2467A3E4858}" dt="2021-05-03T08:02:20.197" v="0" actId="47"/>
        <pc:sldMkLst>
          <pc:docMk/>
          <pc:sldMk cId="235018652" sldId="1927"/>
        </pc:sldMkLst>
      </pc:sldChg>
      <pc:sldChg chg="del">
        <pc:chgData name="Aurelien Domont" userId="6da7715ce44349b3" providerId="LiveId" clId="{C523CB9D-DE17-4F66-BAA5-E2467A3E4858}" dt="2021-05-03T08:02:20.197" v="0" actId="47"/>
        <pc:sldMkLst>
          <pc:docMk/>
          <pc:sldMk cId="1374159068" sldId="1928"/>
        </pc:sldMkLst>
      </pc:sldChg>
      <pc:sldChg chg="del">
        <pc:chgData name="Aurelien Domont" userId="6da7715ce44349b3" providerId="LiveId" clId="{C523CB9D-DE17-4F66-BAA5-E2467A3E4858}" dt="2021-05-03T08:02:20.197" v="0" actId="47"/>
        <pc:sldMkLst>
          <pc:docMk/>
          <pc:sldMk cId="802743741" sldId="1929"/>
        </pc:sldMkLst>
      </pc:sldChg>
      <pc:sldChg chg="del">
        <pc:chgData name="Aurelien Domont" userId="6da7715ce44349b3" providerId="LiveId" clId="{C523CB9D-DE17-4F66-BAA5-E2467A3E4858}" dt="2021-05-03T08:02:20.197" v="0" actId="47"/>
        <pc:sldMkLst>
          <pc:docMk/>
          <pc:sldMk cId="948385396" sldId="1930"/>
        </pc:sldMkLst>
      </pc:sldChg>
      <pc:sldChg chg="del">
        <pc:chgData name="Aurelien Domont" userId="6da7715ce44349b3" providerId="LiveId" clId="{C523CB9D-DE17-4F66-BAA5-E2467A3E4858}" dt="2021-05-03T08:02:20.197" v="0" actId="47"/>
        <pc:sldMkLst>
          <pc:docMk/>
          <pc:sldMk cId="784211076" sldId="1931"/>
        </pc:sldMkLst>
      </pc:sldChg>
      <pc:sldChg chg="del">
        <pc:chgData name="Aurelien Domont" userId="6da7715ce44349b3" providerId="LiveId" clId="{C523CB9D-DE17-4F66-BAA5-E2467A3E4858}" dt="2021-05-03T08:02:20.197" v="0" actId="47"/>
        <pc:sldMkLst>
          <pc:docMk/>
          <pc:sldMk cId="2839386134" sldId="1932"/>
        </pc:sldMkLst>
      </pc:sldChg>
      <pc:sldChg chg="del">
        <pc:chgData name="Aurelien Domont" userId="6da7715ce44349b3" providerId="LiveId" clId="{C523CB9D-DE17-4F66-BAA5-E2467A3E4858}" dt="2021-05-03T08:02:20.197" v="0" actId="47"/>
        <pc:sldMkLst>
          <pc:docMk/>
          <pc:sldMk cId="631546691" sldId="1933"/>
        </pc:sldMkLst>
      </pc:sldChg>
      <pc:sldChg chg="del">
        <pc:chgData name="Aurelien Domont" userId="6da7715ce44349b3" providerId="LiveId" clId="{C523CB9D-DE17-4F66-BAA5-E2467A3E4858}" dt="2021-05-03T08:02:20.197" v="0" actId="47"/>
        <pc:sldMkLst>
          <pc:docMk/>
          <pc:sldMk cId="1360412850" sldId="1934"/>
        </pc:sldMkLst>
      </pc:sldChg>
      <pc:sldChg chg="del">
        <pc:chgData name="Aurelien Domont" userId="6da7715ce44349b3" providerId="LiveId" clId="{C523CB9D-DE17-4F66-BAA5-E2467A3E4858}" dt="2021-05-03T08:02:20.197" v="0" actId="47"/>
        <pc:sldMkLst>
          <pc:docMk/>
          <pc:sldMk cId="317604876" sldId="1935"/>
        </pc:sldMkLst>
      </pc:sldChg>
      <pc:sldChg chg="del">
        <pc:chgData name="Aurelien Domont" userId="6da7715ce44349b3" providerId="LiveId" clId="{C523CB9D-DE17-4F66-BAA5-E2467A3E4858}" dt="2021-05-03T08:02:20.197" v="0" actId="47"/>
        <pc:sldMkLst>
          <pc:docMk/>
          <pc:sldMk cId="580696589" sldId="1936"/>
        </pc:sldMkLst>
      </pc:sldChg>
      <pc:sldChg chg="del">
        <pc:chgData name="Aurelien Domont" userId="6da7715ce44349b3" providerId="LiveId" clId="{C523CB9D-DE17-4F66-BAA5-E2467A3E4858}" dt="2021-05-03T08:02:20.197" v="0" actId="47"/>
        <pc:sldMkLst>
          <pc:docMk/>
          <pc:sldMk cId="2855966363" sldId="1937"/>
        </pc:sldMkLst>
      </pc:sldChg>
      <pc:sldChg chg="del">
        <pc:chgData name="Aurelien Domont" userId="6da7715ce44349b3" providerId="LiveId" clId="{C523CB9D-DE17-4F66-BAA5-E2467A3E4858}" dt="2021-05-03T08:02:20.197" v="0" actId="47"/>
        <pc:sldMkLst>
          <pc:docMk/>
          <pc:sldMk cId="2589605413" sldId="1938"/>
        </pc:sldMkLst>
      </pc:sldChg>
      <pc:sldChg chg="del">
        <pc:chgData name="Aurelien Domont" userId="6da7715ce44349b3" providerId="LiveId" clId="{C523CB9D-DE17-4F66-BAA5-E2467A3E4858}" dt="2021-05-03T08:02:20.197" v="0" actId="47"/>
        <pc:sldMkLst>
          <pc:docMk/>
          <pc:sldMk cId="3714325450" sldId="1939"/>
        </pc:sldMkLst>
      </pc:sldChg>
      <pc:sldChg chg="del">
        <pc:chgData name="Aurelien Domont" userId="6da7715ce44349b3" providerId="LiveId" clId="{C523CB9D-DE17-4F66-BAA5-E2467A3E4858}" dt="2021-05-03T08:02:20.197" v="0" actId="47"/>
        <pc:sldMkLst>
          <pc:docMk/>
          <pc:sldMk cId="1414149744" sldId="1940"/>
        </pc:sldMkLst>
      </pc:sldChg>
      <pc:sldChg chg="del">
        <pc:chgData name="Aurelien Domont" userId="6da7715ce44349b3" providerId="LiveId" clId="{C523CB9D-DE17-4F66-BAA5-E2467A3E4858}" dt="2021-05-03T08:02:20.197" v="0" actId="47"/>
        <pc:sldMkLst>
          <pc:docMk/>
          <pc:sldMk cId="599795422" sldId="1941"/>
        </pc:sldMkLst>
      </pc:sldChg>
      <pc:sldChg chg="del">
        <pc:chgData name="Aurelien Domont" userId="6da7715ce44349b3" providerId="LiveId" clId="{C523CB9D-DE17-4F66-BAA5-E2467A3E4858}" dt="2021-05-03T08:02:20.197" v="0" actId="47"/>
        <pc:sldMkLst>
          <pc:docMk/>
          <pc:sldMk cId="1403188377" sldId="1942"/>
        </pc:sldMkLst>
      </pc:sldChg>
      <pc:sldChg chg="del">
        <pc:chgData name="Aurelien Domont" userId="6da7715ce44349b3" providerId="LiveId" clId="{C523CB9D-DE17-4F66-BAA5-E2467A3E4858}" dt="2021-05-03T08:02:20.197" v="0" actId="47"/>
        <pc:sldMkLst>
          <pc:docMk/>
          <pc:sldMk cId="2977576074" sldId="1943"/>
        </pc:sldMkLst>
      </pc:sldChg>
      <pc:sldChg chg="del">
        <pc:chgData name="Aurelien Domont" userId="6da7715ce44349b3" providerId="LiveId" clId="{C523CB9D-DE17-4F66-BAA5-E2467A3E4858}" dt="2021-05-03T08:02:20.197" v="0" actId="47"/>
        <pc:sldMkLst>
          <pc:docMk/>
          <pc:sldMk cId="1662017462" sldId="1944"/>
        </pc:sldMkLst>
      </pc:sldChg>
      <pc:sldChg chg="del">
        <pc:chgData name="Aurelien Domont" userId="6da7715ce44349b3" providerId="LiveId" clId="{C523CB9D-DE17-4F66-BAA5-E2467A3E4858}" dt="2021-05-03T08:02:20.197" v="0" actId="47"/>
        <pc:sldMkLst>
          <pc:docMk/>
          <pc:sldMk cId="1128419591" sldId="1945"/>
        </pc:sldMkLst>
      </pc:sldChg>
      <pc:sldChg chg="del">
        <pc:chgData name="Aurelien Domont" userId="6da7715ce44349b3" providerId="LiveId" clId="{C523CB9D-DE17-4F66-BAA5-E2467A3E4858}" dt="2021-05-03T08:02:20.197" v="0" actId="47"/>
        <pc:sldMkLst>
          <pc:docMk/>
          <pc:sldMk cId="3950953867" sldId="1946"/>
        </pc:sldMkLst>
      </pc:sldChg>
      <pc:sldChg chg="del">
        <pc:chgData name="Aurelien Domont" userId="6da7715ce44349b3" providerId="LiveId" clId="{C523CB9D-DE17-4F66-BAA5-E2467A3E4858}" dt="2021-05-03T08:02:20.197" v="0" actId="47"/>
        <pc:sldMkLst>
          <pc:docMk/>
          <pc:sldMk cId="1632976083" sldId="1947"/>
        </pc:sldMkLst>
      </pc:sldChg>
      <pc:sldChg chg="del">
        <pc:chgData name="Aurelien Domont" userId="6da7715ce44349b3" providerId="LiveId" clId="{C523CB9D-DE17-4F66-BAA5-E2467A3E4858}" dt="2021-05-03T08:02:20.197" v="0" actId="47"/>
        <pc:sldMkLst>
          <pc:docMk/>
          <pc:sldMk cId="3026069399" sldId="1948"/>
        </pc:sldMkLst>
      </pc:sldChg>
      <pc:sldChg chg="del">
        <pc:chgData name="Aurelien Domont" userId="6da7715ce44349b3" providerId="LiveId" clId="{C523CB9D-DE17-4F66-BAA5-E2467A3E4858}" dt="2021-05-03T08:02:20.197" v="0" actId="47"/>
        <pc:sldMkLst>
          <pc:docMk/>
          <pc:sldMk cId="301689330" sldId="1949"/>
        </pc:sldMkLst>
      </pc:sldChg>
      <pc:sldChg chg="del">
        <pc:chgData name="Aurelien Domont" userId="6da7715ce44349b3" providerId="LiveId" clId="{C523CB9D-DE17-4F66-BAA5-E2467A3E4858}" dt="2021-05-03T08:02:20.197" v="0" actId="47"/>
        <pc:sldMkLst>
          <pc:docMk/>
          <pc:sldMk cId="2802637173" sldId="1950"/>
        </pc:sldMkLst>
      </pc:sldChg>
      <pc:sldChg chg="del">
        <pc:chgData name="Aurelien Domont" userId="6da7715ce44349b3" providerId="LiveId" clId="{C523CB9D-DE17-4F66-BAA5-E2467A3E4858}" dt="2021-05-03T08:02:20.197" v="0" actId="47"/>
        <pc:sldMkLst>
          <pc:docMk/>
          <pc:sldMk cId="799750334" sldId="1951"/>
        </pc:sldMkLst>
      </pc:sldChg>
      <pc:sldChg chg="del">
        <pc:chgData name="Aurelien Domont" userId="6da7715ce44349b3" providerId="LiveId" clId="{C523CB9D-DE17-4F66-BAA5-E2467A3E4858}" dt="2021-05-03T08:02:20.197" v="0" actId="47"/>
        <pc:sldMkLst>
          <pc:docMk/>
          <pc:sldMk cId="2365333669" sldId="1952"/>
        </pc:sldMkLst>
      </pc:sldChg>
      <pc:sldChg chg="del">
        <pc:chgData name="Aurelien Domont" userId="6da7715ce44349b3" providerId="LiveId" clId="{C523CB9D-DE17-4F66-BAA5-E2467A3E4858}" dt="2021-05-03T08:02:20.197" v="0" actId="47"/>
        <pc:sldMkLst>
          <pc:docMk/>
          <pc:sldMk cId="931823183" sldId="1953"/>
        </pc:sldMkLst>
      </pc:sldChg>
      <pc:sldChg chg="del">
        <pc:chgData name="Aurelien Domont" userId="6da7715ce44349b3" providerId="LiveId" clId="{C523CB9D-DE17-4F66-BAA5-E2467A3E4858}" dt="2021-05-03T08:02:20.197" v="0" actId="47"/>
        <pc:sldMkLst>
          <pc:docMk/>
          <pc:sldMk cId="636448820" sldId="1954"/>
        </pc:sldMkLst>
      </pc:sldChg>
      <pc:sldChg chg="del">
        <pc:chgData name="Aurelien Domont" userId="6da7715ce44349b3" providerId="LiveId" clId="{C523CB9D-DE17-4F66-BAA5-E2467A3E4858}" dt="2021-05-03T08:02:20.197" v="0" actId="47"/>
        <pc:sldMkLst>
          <pc:docMk/>
          <pc:sldMk cId="660112904" sldId="1955"/>
        </pc:sldMkLst>
      </pc:sldChg>
      <pc:sldChg chg="del">
        <pc:chgData name="Aurelien Domont" userId="6da7715ce44349b3" providerId="LiveId" clId="{C523CB9D-DE17-4F66-BAA5-E2467A3E4858}" dt="2021-05-03T08:02:20.197" v="0" actId="47"/>
        <pc:sldMkLst>
          <pc:docMk/>
          <pc:sldMk cId="387956599" sldId="1956"/>
        </pc:sldMkLst>
      </pc:sldChg>
      <pc:sldChg chg="del">
        <pc:chgData name="Aurelien Domont" userId="6da7715ce44349b3" providerId="LiveId" clId="{C523CB9D-DE17-4F66-BAA5-E2467A3E4858}" dt="2021-05-03T08:02:20.197" v="0" actId="47"/>
        <pc:sldMkLst>
          <pc:docMk/>
          <pc:sldMk cId="2207806883" sldId="1957"/>
        </pc:sldMkLst>
      </pc:sldChg>
      <pc:sldChg chg="del">
        <pc:chgData name="Aurelien Domont" userId="6da7715ce44349b3" providerId="LiveId" clId="{C523CB9D-DE17-4F66-BAA5-E2467A3E4858}" dt="2021-05-03T08:02:20.197" v="0" actId="47"/>
        <pc:sldMkLst>
          <pc:docMk/>
          <pc:sldMk cId="7362875" sldId="1958"/>
        </pc:sldMkLst>
      </pc:sldChg>
      <pc:sldChg chg="del">
        <pc:chgData name="Aurelien Domont" userId="6da7715ce44349b3" providerId="LiveId" clId="{C523CB9D-DE17-4F66-BAA5-E2467A3E4858}" dt="2021-05-03T08:02:20.197" v="0" actId="47"/>
        <pc:sldMkLst>
          <pc:docMk/>
          <pc:sldMk cId="1662162763" sldId="1959"/>
        </pc:sldMkLst>
      </pc:sldChg>
      <pc:sldChg chg="del">
        <pc:chgData name="Aurelien Domont" userId="6da7715ce44349b3" providerId="LiveId" clId="{C523CB9D-DE17-4F66-BAA5-E2467A3E4858}" dt="2021-05-03T08:02:20.197" v="0" actId="47"/>
        <pc:sldMkLst>
          <pc:docMk/>
          <pc:sldMk cId="1380287118" sldId="1960"/>
        </pc:sldMkLst>
      </pc:sldChg>
      <pc:sldChg chg="del">
        <pc:chgData name="Aurelien Domont" userId="6da7715ce44349b3" providerId="LiveId" clId="{C523CB9D-DE17-4F66-BAA5-E2467A3E4858}" dt="2021-05-03T08:02:20.197" v="0" actId="47"/>
        <pc:sldMkLst>
          <pc:docMk/>
          <pc:sldMk cId="2862939476" sldId="1961"/>
        </pc:sldMkLst>
      </pc:sldChg>
      <pc:sldChg chg="del">
        <pc:chgData name="Aurelien Domont" userId="6da7715ce44349b3" providerId="LiveId" clId="{C523CB9D-DE17-4F66-BAA5-E2467A3E4858}" dt="2021-05-03T08:02:20.197" v="0" actId="47"/>
        <pc:sldMkLst>
          <pc:docMk/>
          <pc:sldMk cId="1371325009" sldId="1963"/>
        </pc:sldMkLst>
      </pc:sldChg>
      <pc:sldChg chg="del">
        <pc:chgData name="Aurelien Domont" userId="6da7715ce44349b3" providerId="LiveId" clId="{C523CB9D-DE17-4F66-BAA5-E2467A3E4858}" dt="2021-05-03T08:02:20.197" v="0" actId="47"/>
        <pc:sldMkLst>
          <pc:docMk/>
          <pc:sldMk cId="2434730998" sldId="1964"/>
        </pc:sldMkLst>
      </pc:sldChg>
      <pc:sldChg chg="del">
        <pc:chgData name="Aurelien Domont" userId="6da7715ce44349b3" providerId="LiveId" clId="{C523CB9D-DE17-4F66-BAA5-E2467A3E4858}" dt="2021-05-03T08:02:20.197" v="0" actId="47"/>
        <pc:sldMkLst>
          <pc:docMk/>
          <pc:sldMk cId="2118611170" sldId="1965"/>
        </pc:sldMkLst>
      </pc:sldChg>
      <pc:sldChg chg="del">
        <pc:chgData name="Aurelien Domont" userId="6da7715ce44349b3" providerId="LiveId" clId="{C523CB9D-DE17-4F66-BAA5-E2467A3E4858}" dt="2021-05-03T08:02:20.197" v="0" actId="47"/>
        <pc:sldMkLst>
          <pc:docMk/>
          <pc:sldMk cId="708328687" sldId="1966"/>
        </pc:sldMkLst>
      </pc:sldChg>
      <pc:sldChg chg="del">
        <pc:chgData name="Aurelien Domont" userId="6da7715ce44349b3" providerId="LiveId" clId="{C523CB9D-DE17-4F66-BAA5-E2467A3E4858}" dt="2021-05-03T08:02:20.197" v="0" actId="47"/>
        <pc:sldMkLst>
          <pc:docMk/>
          <pc:sldMk cId="3081941897" sldId="1967"/>
        </pc:sldMkLst>
      </pc:sldChg>
      <pc:sldChg chg="del">
        <pc:chgData name="Aurelien Domont" userId="6da7715ce44349b3" providerId="LiveId" clId="{C523CB9D-DE17-4F66-BAA5-E2467A3E4858}" dt="2021-05-03T08:02:20.197" v="0" actId="47"/>
        <pc:sldMkLst>
          <pc:docMk/>
          <pc:sldMk cId="3440858440" sldId="1968"/>
        </pc:sldMkLst>
      </pc:sldChg>
      <pc:sldChg chg="del">
        <pc:chgData name="Aurelien Domont" userId="6da7715ce44349b3" providerId="LiveId" clId="{C523CB9D-DE17-4F66-BAA5-E2467A3E4858}" dt="2021-05-03T08:02:20.197" v="0" actId="47"/>
        <pc:sldMkLst>
          <pc:docMk/>
          <pc:sldMk cId="3954766657" sldId="1969"/>
        </pc:sldMkLst>
      </pc:sldChg>
      <pc:sldChg chg="del">
        <pc:chgData name="Aurelien Domont" userId="6da7715ce44349b3" providerId="LiveId" clId="{C523CB9D-DE17-4F66-BAA5-E2467A3E4858}" dt="2021-05-03T08:02:20.197" v="0" actId="47"/>
        <pc:sldMkLst>
          <pc:docMk/>
          <pc:sldMk cId="668275467" sldId="1970"/>
        </pc:sldMkLst>
      </pc:sldChg>
      <pc:sldChg chg="del">
        <pc:chgData name="Aurelien Domont" userId="6da7715ce44349b3" providerId="LiveId" clId="{C523CB9D-DE17-4F66-BAA5-E2467A3E4858}" dt="2021-05-03T08:02:20.197" v="0" actId="47"/>
        <pc:sldMkLst>
          <pc:docMk/>
          <pc:sldMk cId="529194852" sldId="1971"/>
        </pc:sldMkLst>
      </pc:sldChg>
      <pc:sldChg chg="del">
        <pc:chgData name="Aurelien Domont" userId="6da7715ce44349b3" providerId="LiveId" clId="{C523CB9D-DE17-4F66-BAA5-E2467A3E4858}" dt="2021-05-03T08:02:20.197" v="0" actId="47"/>
        <pc:sldMkLst>
          <pc:docMk/>
          <pc:sldMk cId="2410991361" sldId="1972"/>
        </pc:sldMkLst>
      </pc:sldChg>
      <pc:sldChg chg="del">
        <pc:chgData name="Aurelien Domont" userId="6da7715ce44349b3" providerId="LiveId" clId="{C523CB9D-DE17-4F66-BAA5-E2467A3E4858}" dt="2021-05-03T08:02:20.197" v="0" actId="47"/>
        <pc:sldMkLst>
          <pc:docMk/>
          <pc:sldMk cId="2653177920" sldId="1973"/>
        </pc:sldMkLst>
      </pc:sldChg>
      <pc:sldChg chg="del">
        <pc:chgData name="Aurelien Domont" userId="6da7715ce44349b3" providerId="LiveId" clId="{C523CB9D-DE17-4F66-BAA5-E2467A3E4858}" dt="2021-05-03T08:02:20.197" v="0" actId="47"/>
        <pc:sldMkLst>
          <pc:docMk/>
          <pc:sldMk cId="1373862011" sldId="1974"/>
        </pc:sldMkLst>
      </pc:sldChg>
      <pc:sldChg chg="del">
        <pc:chgData name="Aurelien Domont" userId="6da7715ce44349b3" providerId="LiveId" clId="{C523CB9D-DE17-4F66-BAA5-E2467A3E4858}" dt="2021-05-03T08:02:20.197" v="0" actId="47"/>
        <pc:sldMkLst>
          <pc:docMk/>
          <pc:sldMk cId="2119972109" sldId="1975"/>
        </pc:sldMkLst>
      </pc:sldChg>
      <pc:sldChg chg="del">
        <pc:chgData name="Aurelien Domont" userId="6da7715ce44349b3" providerId="LiveId" clId="{C523CB9D-DE17-4F66-BAA5-E2467A3E4858}" dt="2021-05-03T08:02:20.197" v="0" actId="47"/>
        <pc:sldMkLst>
          <pc:docMk/>
          <pc:sldMk cId="2078645186" sldId="1976"/>
        </pc:sldMkLst>
      </pc:sldChg>
      <pc:sldChg chg="del">
        <pc:chgData name="Aurelien Domont" userId="6da7715ce44349b3" providerId="LiveId" clId="{C523CB9D-DE17-4F66-BAA5-E2467A3E4858}" dt="2021-05-03T08:02:20.197" v="0" actId="47"/>
        <pc:sldMkLst>
          <pc:docMk/>
          <pc:sldMk cId="2474191175" sldId="1977"/>
        </pc:sldMkLst>
      </pc:sldChg>
      <pc:sldChg chg="del">
        <pc:chgData name="Aurelien Domont" userId="6da7715ce44349b3" providerId="LiveId" clId="{C523CB9D-DE17-4F66-BAA5-E2467A3E4858}" dt="2021-05-03T08:02:20.197" v="0" actId="47"/>
        <pc:sldMkLst>
          <pc:docMk/>
          <pc:sldMk cId="4089601017" sldId="1978"/>
        </pc:sldMkLst>
      </pc:sldChg>
      <pc:sldChg chg="del">
        <pc:chgData name="Aurelien Domont" userId="6da7715ce44349b3" providerId="LiveId" clId="{C523CB9D-DE17-4F66-BAA5-E2467A3E4858}" dt="2021-05-03T08:02:20.197" v="0" actId="47"/>
        <pc:sldMkLst>
          <pc:docMk/>
          <pc:sldMk cId="2403768916" sldId="1979"/>
        </pc:sldMkLst>
      </pc:sldChg>
      <pc:sldChg chg="del">
        <pc:chgData name="Aurelien Domont" userId="6da7715ce44349b3" providerId="LiveId" clId="{C523CB9D-DE17-4F66-BAA5-E2467A3E4858}" dt="2021-05-03T08:02:20.197" v="0" actId="47"/>
        <pc:sldMkLst>
          <pc:docMk/>
          <pc:sldMk cId="3828206272" sldId="1980"/>
        </pc:sldMkLst>
      </pc:sldChg>
      <pc:sldChg chg="del">
        <pc:chgData name="Aurelien Domont" userId="6da7715ce44349b3" providerId="LiveId" clId="{C523CB9D-DE17-4F66-BAA5-E2467A3E4858}" dt="2021-05-03T08:02:20.197" v="0" actId="47"/>
        <pc:sldMkLst>
          <pc:docMk/>
          <pc:sldMk cId="1691820959" sldId="1981"/>
        </pc:sldMkLst>
      </pc:sldChg>
      <pc:sldChg chg="del">
        <pc:chgData name="Aurelien Domont" userId="6da7715ce44349b3" providerId="LiveId" clId="{C523CB9D-DE17-4F66-BAA5-E2467A3E4858}" dt="2021-05-03T08:02:20.197" v="0" actId="47"/>
        <pc:sldMkLst>
          <pc:docMk/>
          <pc:sldMk cId="3425621628" sldId="1982"/>
        </pc:sldMkLst>
      </pc:sldChg>
      <pc:sldChg chg="del">
        <pc:chgData name="Aurelien Domont" userId="6da7715ce44349b3" providerId="LiveId" clId="{C523CB9D-DE17-4F66-BAA5-E2467A3E4858}" dt="2021-05-03T08:02:20.197" v="0" actId="47"/>
        <pc:sldMkLst>
          <pc:docMk/>
          <pc:sldMk cId="978935005" sldId="1983"/>
        </pc:sldMkLst>
      </pc:sldChg>
      <pc:sldChg chg="del">
        <pc:chgData name="Aurelien Domont" userId="6da7715ce44349b3" providerId="LiveId" clId="{C523CB9D-DE17-4F66-BAA5-E2467A3E4858}" dt="2021-05-03T08:02:20.197" v="0" actId="47"/>
        <pc:sldMkLst>
          <pc:docMk/>
          <pc:sldMk cId="2297949056" sldId="1984"/>
        </pc:sldMkLst>
      </pc:sldChg>
      <pc:sldChg chg="del">
        <pc:chgData name="Aurelien Domont" userId="6da7715ce44349b3" providerId="LiveId" clId="{C523CB9D-DE17-4F66-BAA5-E2467A3E4858}" dt="2021-05-03T08:02:20.197" v="0" actId="47"/>
        <pc:sldMkLst>
          <pc:docMk/>
          <pc:sldMk cId="1823605290" sldId="1985"/>
        </pc:sldMkLst>
      </pc:sldChg>
      <pc:sldChg chg="del">
        <pc:chgData name="Aurelien Domont" userId="6da7715ce44349b3" providerId="LiveId" clId="{C523CB9D-DE17-4F66-BAA5-E2467A3E4858}" dt="2021-05-03T08:02:20.197" v="0" actId="47"/>
        <pc:sldMkLst>
          <pc:docMk/>
          <pc:sldMk cId="1026744296" sldId="1986"/>
        </pc:sldMkLst>
      </pc:sldChg>
      <pc:sldChg chg="del">
        <pc:chgData name="Aurelien Domont" userId="6da7715ce44349b3" providerId="LiveId" clId="{C523CB9D-DE17-4F66-BAA5-E2467A3E4858}" dt="2021-05-03T08:02:20.197" v="0" actId="47"/>
        <pc:sldMkLst>
          <pc:docMk/>
          <pc:sldMk cId="1357942581" sldId="1987"/>
        </pc:sldMkLst>
      </pc:sldChg>
      <pc:sldChg chg="del">
        <pc:chgData name="Aurelien Domont" userId="6da7715ce44349b3" providerId="LiveId" clId="{C523CB9D-DE17-4F66-BAA5-E2467A3E4858}" dt="2021-05-03T08:02:20.197" v="0" actId="47"/>
        <pc:sldMkLst>
          <pc:docMk/>
          <pc:sldMk cId="1940386508" sldId="1988"/>
        </pc:sldMkLst>
      </pc:sldChg>
      <pc:sldChg chg="del">
        <pc:chgData name="Aurelien Domont" userId="6da7715ce44349b3" providerId="LiveId" clId="{C523CB9D-DE17-4F66-BAA5-E2467A3E4858}" dt="2021-05-03T08:02:20.197" v="0" actId="47"/>
        <pc:sldMkLst>
          <pc:docMk/>
          <pc:sldMk cId="2299758324" sldId="1989"/>
        </pc:sldMkLst>
      </pc:sldChg>
      <pc:sldChg chg="del">
        <pc:chgData name="Aurelien Domont" userId="6da7715ce44349b3" providerId="LiveId" clId="{C523CB9D-DE17-4F66-BAA5-E2467A3E4858}" dt="2021-05-03T08:02:20.197" v="0" actId="47"/>
        <pc:sldMkLst>
          <pc:docMk/>
          <pc:sldMk cId="1124419684" sldId="1990"/>
        </pc:sldMkLst>
      </pc:sldChg>
      <pc:sldChg chg="del">
        <pc:chgData name="Aurelien Domont" userId="6da7715ce44349b3" providerId="LiveId" clId="{C523CB9D-DE17-4F66-BAA5-E2467A3E4858}" dt="2021-05-03T08:02:20.197" v="0" actId="47"/>
        <pc:sldMkLst>
          <pc:docMk/>
          <pc:sldMk cId="205289071" sldId="1991"/>
        </pc:sldMkLst>
      </pc:sldChg>
      <pc:sldChg chg="del">
        <pc:chgData name="Aurelien Domont" userId="6da7715ce44349b3" providerId="LiveId" clId="{C523CB9D-DE17-4F66-BAA5-E2467A3E4858}" dt="2021-05-03T08:02:20.197" v="0" actId="47"/>
        <pc:sldMkLst>
          <pc:docMk/>
          <pc:sldMk cId="3239629277" sldId="1992"/>
        </pc:sldMkLst>
      </pc:sldChg>
      <pc:sldChg chg="del">
        <pc:chgData name="Aurelien Domont" userId="6da7715ce44349b3" providerId="LiveId" clId="{C523CB9D-DE17-4F66-BAA5-E2467A3E4858}" dt="2021-05-03T08:02:20.197" v="0" actId="47"/>
        <pc:sldMkLst>
          <pc:docMk/>
          <pc:sldMk cId="1752228771" sldId="1993"/>
        </pc:sldMkLst>
      </pc:sldChg>
      <pc:sldChg chg="del">
        <pc:chgData name="Aurelien Domont" userId="6da7715ce44349b3" providerId="LiveId" clId="{C523CB9D-DE17-4F66-BAA5-E2467A3E4858}" dt="2021-05-03T08:02:20.197" v="0" actId="47"/>
        <pc:sldMkLst>
          <pc:docMk/>
          <pc:sldMk cId="1158613024" sldId="1994"/>
        </pc:sldMkLst>
      </pc:sldChg>
      <pc:sldChg chg="del">
        <pc:chgData name="Aurelien Domont" userId="6da7715ce44349b3" providerId="LiveId" clId="{C523CB9D-DE17-4F66-BAA5-E2467A3E4858}" dt="2021-05-03T08:02:20.197" v="0" actId="47"/>
        <pc:sldMkLst>
          <pc:docMk/>
          <pc:sldMk cId="3526698175" sldId="1995"/>
        </pc:sldMkLst>
      </pc:sldChg>
      <pc:sldChg chg="del">
        <pc:chgData name="Aurelien Domont" userId="6da7715ce44349b3" providerId="LiveId" clId="{C523CB9D-DE17-4F66-BAA5-E2467A3E4858}" dt="2021-05-03T08:02:20.197" v="0" actId="47"/>
        <pc:sldMkLst>
          <pc:docMk/>
          <pc:sldMk cId="3049023689" sldId="1996"/>
        </pc:sldMkLst>
      </pc:sldChg>
      <pc:sldChg chg="del">
        <pc:chgData name="Aurelien Domont" userId="6da7715ce44349b3" providerId="LiveId" clId="{C523CB9D-DE17-4F66-BAA5-E2467A3E4858}" dt="2021-05-03T08:02:20.197" v="0" actId="47"/>
        <pc:sldMkLst>
          <pc:docMk/>
          <pc:sldMk cId="1142596438" sldId="1997"/>
        </pc:sldMkLst>
      </pc:sldChg>
      <pc:sldChg chg="del">
        <pc:chgData name="Aurelien Domont" userId="6da7715ce44349b3" providerId="LiveId" clId="{C523CB9D-DE17-4F66-BAA5-E2467A3E4858}" dt="2021-05-03T08:02:20.197" v="0" actId="47"/>
        <pc:sldMkLst>
          <pc:docMk/>
          <pc:sldMk cId="2206188045" sldId="1998"/>
        </pc:sldMkLst>
      </pc:sldChg>
      <pc:sldChg chg="del">
        <pc:chgData name="Aurelien Domont" userId="6da7715ce44349b3" providerId="LiveId" clId="{C523CB9D-DE17-4F66-BAA5-E2467A3E4858}" dt="2021-05-03T08:02:20.197" v="0" actId="47"/>
        <pc:sldMkLst>
          <pc:docMk/>
          <pc:sldMk cId="3928808042" sldId="1999"/>
        </pc:sldMkLst>
      </pc:sldChg>
      <pc:sldChg chg="del">
        <pc:chgData name="Aurelien Domont" userId="6da7715ce44349b3" providerId="LiveId" clId="{C523CB9D-DE17-4F66-BAA5-E2467A3E4858}" dt="2021-05-03T08:02:20.197" v="0" actId="47"/>
        <pc:sldMkLst>
          <pc:docMk/>
          <pc:sldMk cId="3600611330" sldId="2000"/>
        </pc:sldMkLst>
      </pc:sldChg>
      <pc:sldChg chg="del">
        <pc:chgData name="Aurelien Domont" userId="6da7715ce44349b3" providerId="LiveId" clId="{C523CB9D-DE17-4F66-BAA5-E2467A3E4858}" dt="2021-05-03T08:02:20.197" v="0" actId="47"/>
        <pc:sldMkLst>
          <pc:docMk/>
          <pc:sldMk cId="494454371" sldId="2001"/>
        </pc:sldMkLst>
      </pc:sldChg>
      <pc:sldChg chg="del">
        <pc:chgData name="Aurelien Domont" userId="6da7715ce44349b3" providerId="LiveId" clId="{C523CB9D-DE17-4F66-BAA5-E2467A3E4858}" dt="2021-05-03T08:02:20.197" v="0" actId="47"/>
        <pc:sldMkLst>
          <pc:docMk/>
          <pc:sldMk cId="3160285512" sldId="2002"/>
        </pc:sldMkLst>
      </pc:sldChg>
      <pc:sldChg chg="del">
        <pc:chgData name="Aurelien Domont" userId="6da7715ce44349b3" providerId="LiveId" clId="{C523CB9D-DE17-4F66-BAA5-E2467A3E4858}" dt="2021-05-03T08:02:20.197" v="0" actId="47"/>
        <pc:sldMkLst>
          <pc:docMk/>
          <pc:sldMk cId="2011482222" sldId="2003"/>
        </pc:sldMkLst>
      </pc:sldChg>
      <pc:sldChg chg="del">
        <pc:chgData name="Aurelien Domont" userId="6da7715ce44349b3" providerId="LiveId" clId="{C523CB9D-DE17-4F66-BAA5-E2467A3E4858}" dt="2021-05-03T08:02:20.197" v="0" actId="47"/>
        <pc:sldMkLst>
          <pc:docMk/>
          <pc:sldMk cId="235415864" sldId="2004"/>
        </pc:sldMkLst>
      </pc:sldChg>
      <pc:sldChg chg="del">
        <pc:chgData name="Aurelien Domont" userId="6da7715ce44349b3" providerId="LiveId" clId="{C523CB9D-DE17-4F66-BAA5-E2467A3E4858}" dt="2021-05-03T08:02:20.197" v="0" actId="47"/>
        <pc:sldMkLst>
          <pc:docMk/>
          <pc:sldMk cId="673232207" sldId="2005"/>
        </pc:sldMkLst>
      </pc:sldChg>
      <pc:sldChg chg="del">
        <pc:chgData name="Aurelien Domont" userId="6da7715ce44349b3" providerId="LiveId" clId="{C523CB9D-DE17-4F66-BAA5-E2467A3E4858}" dt="2021-05-03T08:02:20.197" v="0" actId="47"/>
        <pc:sldMkLst>
          <pc:docMk/>
          <pc:sldMk cId="539105764" sldId="2006"/>
        </pc:sldMkLst>
      </pc:sldChg>
      <pc:sldChg chg="del">
        <pc:chgData name="Aurelien Domont" userId="6da7715ce44349b3" providerId="LiveId" clId="{C523CB9D-DE17-4F66-BAA5-E2467A3E4858}" dt="2021-05-03T08:02:20.197" v="0" actId="47"/>
        <pc:sldMkLst>
          <pc:docMk/>
          <pc:sldMk cId="1585643901" sldId="2007"/>
        </pc:sldMkLst>
      </pc:sldChg>
      <pc:sldChg chg="del">
        <pc:chgData name="Aurelien Domont" userId="6da7715ce44349b3" providerId="LiveId" clId="{C523CB9D-DE17-4F66-BAA5-E2467A3E4858}" dt="2021-05-03T08:02:20.197" v="0" actId="47"/>
        <pc:sldMkLst>
          <pc:docMk/>
          <pc:sldMk cId="153376507" sldId="2008"/>
        </pc:sldMkLst>
      </pc:sldChg>
      <pc:sldChg chg="del">
        <pc:chgData name="Aurelien Domont" userId="6da7715ce44349b3" providerId="LiveId" clId="{C523CB9D-DE17-4F66-BAA5-E2467A3E4858}" dt="2021-05-03T08:02:20.197" v="0" actId="47"/>
        <pc:sldMkLst>
          <pc:docMk/>
          <pc:sldMk cId="938136842" sldId="2010"/>
        </pc:sldMkLst>
      </pc:sldChg>
      <pc:sldChg chg="del">
        <pc:chgData name="Aurelien Domont" userId="6da7715ce44349b3" providerId="LiveId" clId="{C523CB9D-DE17-4F66-BAA5-E2467A3E4858}" dt="2021-05-03T08:02:20.197" v="0" actId="47"/>
        <pc:sldMkLst>
          <pc:docMk/>
          <pc:sldMk cId="2968255840" sldId="2011"/>
        </pc:sldMkLst>
      </pc:sldChg>
      <pc:sldChg chg="del">
        <pc:chgData name="Aurelien Domont" userId="6da7715ce44349b3" providerId="LiveId" clId="{C523CB9D-DE17-4F66-BAA5-E2467A3E4858}" dt="2021-05-03T08:02:20.197" v="0" actId="47"/>
        <pc:sldMkLst>
          <pc:docMk/>
          <pc:sldMk cId="2300727758" sldId="2012"/>
        </pc:sldMkLst>
      </pc:sldChg>
      <pc:sldChg chg="del">
        <pc:chgData name="Aurelien Domont" userId="6da7715ce44349b3" providerId="LiveId" clId="{C523CB9D-DE17-4F66-BAA5-E2467A3E4858}" dt="2021-05-03T08:02:20.197" v="0" actId="47"/>
        <pc:sldMkLst>
          <pc:docMk/>
          <pc:sldMk cId="2690714282" sldId="2013"/>
        </pc:sldMkLst>
      </pc:sldChg>
      <pc:sldChg chg="del">
        <pc:chgData name="Aurelien Domont" userId="6da7715ce44349b3" providerId="LiveId" clId="{C523CB9D-DE17-4F66-BAA5-E2467A3E4858}" dt="2021-05-03T08:02:20.197" v="0" actId="47"/>
        <pc:sldMkLst>
          <pc:docMk/>
          <pc:sldMk cId="2140429196" sldId="2014"/>
        </pc:sldMkLst>
      </pc:sldChg>
      <pc:sldChg chg="del">
        <pc:chgData name="Aurelien Domont" userId="6da7715ce44349b3" providerId="LiveId" clId="{C523CB9D-DE17-4F66-BAA5-E2467A3E4858}" dt="2021-05-03T08:02:20.197" v="0" actId="47"/>
        <pc:sldMkLst>
          <pc:docMk/>
          <pc:sldMk cId="1874727100" sldId="2015"/>
        </pc:sldMkLst>
      </pc:sldChg>
      <pc:sldChg chg="del">
        <pc:chgData name="Aurelien Domont" userId="6da7715ce44349b3" providerId="LiveId" clId="{C523CB9D-DE17-4F66-BAA5-E2467A3E4858}" dt="2021-05-03T08:02:20.197" v="0" actId="47"/>
        <pc:sldMkLst>
          <pc:docMk/>
          <pc:sldMk cId="2219283537" sldId="2016"/>
        </pc:sldMkLst>
      </pc:sldChg>
      <pc:sldChg chg="del">
        <pc:chgData name="Aurelien Domont" userId="6da7715ce44349b3" providerId="LiveId" clId="{C523CB9D-DE17-4F66-BAA5-E2467A3E4858}" dt="2021-05-03T08:02:20.197" v="0" actId="47"/>
        <pc:sldMkLst>
          <pc:docMk/>
          <pc:sldMk cId="786852373" sldId="2017"/>
        </pc:sldMkLst>
      </pc:sldChg>
      <pc:sldChg chg="del">
        <pc:chgData name="Aurelien Domont" userId="6da7715ce44349b3" providerId="LiveId" clId="{C523CB9D-DE17-4F66-BAA5-E2467A3E4858}" dt="2021-05-03T08:02:20.197" v="0" actId="47"/>
        <pc:sldMkLst>
          <pc:docMk/>
          <pc:sldMk cId="1850178084" sldId="2018"/>
        </pc:sldMkLst>
      </pc:sldChg>
      <pc:sldChg chg="del">
        <pc:chgData name="Aurelien Domont" userId="6da7715ce44349b3" providerId="LiveId" clId="{C523CB9D-DE17-4F66-BAA5-E2467A3E4858}" dt="2021-05-03T08:02:20.197" v="0" actId="47"/>
        <pc:sldMkLst>
          <pc:docMk/>
          <pc:sldMk cId="1391445569" sldId="2019"/>
        </pc:sldMkLst>
      </pc:sldChg>
      <pc:sldChg chg="del">
        <pc:chgData name="Aurelien Domont" userId="6da7715ce44349b3" providerId="LiveId" clId="{C523CB9D-DE17-4F66-BAA5-E2467A3E4858}" dt="2021-05-03T08:02:20.197" v="0" actId="47"/>
        <pc:sldMkLst>
          <pc:docMk/>
          <pc:sldMk cId="833432062" sldId="2020"/>
        </pc:sldMkLst>
      </pc:sldChg>
      <pc:sldChg chg="del">
        <pc:chgData name="Aurelien Domont" userId="6da7715ce44349b3" providerId="LiveId" clId="{C523CB9D-DE17-4F66-BAA5-E2467A3E4858}" dt="2021-05-03T08:02:20.197" v="0" actId="47"/>
        <pc:sldMkLst>
          <pc:docMk/>
          <pc:sldMk cId="1884153820" sldId="2021"/>
        </pc:sldMkLst>
      </pc:sldChg>
      <pc:sldChg chg="del">
        <pc:chgData name="Aurelien Domont" userId="6da7715ce44349b3" providerId="LiveId" clId="{C523CB9D-DE17-4F66-BAA5-E2467A3E4858}" dt="2021-05-03T08:02:20.197" v="0" actId="47"/>
        <pc:sldMkLst>
          <pc:docMk/>
          <pc:sldMk cId="3266627109" sldId="2022"/>
        </pc:sldMkLst>
      </pc:sldChg>
      <pc:sldChg chg="del">
        <pc:chgData name="Aurelien Domont" userId="6da7715ce44349b3" providerId="LiveId" clId="{C523CB9D-DE17-4F66-BAA5-E2467A3E4858}" dt="2021-05-03T08:02:20.197" v="0" actId="47"/>
        <pc:sldMkLst>
          <pc:docMk/>
          <pc:sldMk cId="1720365225" sldId="2023"/>
        </pc:sldMkLst>
      </pc:sldChg>
      <pc:sldChg chg="del">
        <pc:chgData name="Aurelien Domont" userId="6da7715ce44349b3" providerId="LiveId" clId="{C523CB9D-DE17-4F66-BAA5-E2467A3E4858}" dt="2021-05-03T08:02:20.197" v="0" actId="47"/>
        <pc:sldMkLst>
          <pc:docMk/>
          <pc:sldMk cId="2200437321" sldId="2024"/>
        </pc:sldMkLst>
      </pc:sldChg>
      <pc:sldChg chg="del">
        <pc:chgData name="Aurelien Domont" userId="6da7715ce44349b3" providerId="LiveId" clId="{C523CB9D-DE17-4F66-BAA5-E2467A3E4858}" dt="2021-05-03T08:02:20.197" v="0" actId="47"/>
        <pc:sldMkLst>
          <pc:docMk/>
          <pc:sldMk cId="2510494898" sldId="2025"/>
        </pc:sldMkLst>
      </pc:sldChg>
      <pc:sldChg chg="del">
        <pc:chgData name="Aurelien Domont" userId="6da7715ce44349b3" providerId="LiveId" clId="{C523CB9D-DE17-4F66-BAA5-E2467A3E4858}" dt="2021-05-03T08:02:20.197" v="0" actId="47"/>
        <pc:sldMkLst>
          <pc:docMk/>
          <pc:sldMk cId="4191176648" sldId="2026"/>
        </pc:sldMkLst>
      </pc:sldChg>
      <pc:sldChg chg="del">
        <pc:chgData name="Aurelien Domont" userId="6da7715ce44349b3" providerId="LiveId" clId="{C523CB9D-DE17-4F66-BAA5-E2467A3E4858}" dt="2021-05-03T08:02:20.197" v="0" actId="47"/>
        <pc:sldMkLst>
          <pc:docMk/>
          <pc:sldMk cId="4065434126" sldId="2027"/>
        </pc:sldMkLst>
      </pc:sldChg>
      <pc:sldChg chg="del">
        <pc:chgData name="Aurelien Domont" userId="6da7715ce44349b3" providerId="LiveId" clId="{C523CB9D-DE17-4F66-BAA5-E2467A3E4858}" dt="2021-05-03T08:02:20.197" v="0" actId="47"/>
        <pc:sldMkLst>
          <pc:docMk/>
          <pc:sldMk cId="724289588" sldId="2028"/>
        </pc:sldMkLst>
      </pc:sldChg>
      <pc:sldChg chg="del">
        <pc:chgData name="Aurelien Domont" userId="6da7715ce44349b3" providerId="LiveId" clId="{C523CB9D-DE17-4F66-BAA5-E2467A3E4858}" dt="2021-05-03T08:02:20.197" v="0" actId="47"/>
        <pc:sldMkLst>
          <pc:docMk/>
          <pc:sldMk cId="1151893028" sldId="2029"/>
        </pc:sldMkLst>
      </pc:sldChg>
      <pc:sldChg chg="del">
        <pc:chgData name="Aurelien Domont" userId="6da7715ce44349b3" providerId="LiveId" clId="{C523CB9D-DE17-4F66-BAA5-E2467A3E4858}" dt="2021-05-03T08:02:20.197" v="0" actId="47"/>
        <pc:sldMkLst>
          <pc:docMk/>
          <pc:sldMk cId="3518638678" sldId="2030"/>
        </pc:sldMkLst>
      </pc:sldChg>
      <pc:sldChg chg="del">
        <pc:chgData name="Aurelien Domont" userId="6da7715ce44349b3" providerId="LiveId" clId="{C523CB9D-DE17-4F66-BAA5-E2467A3E4858}" dt="2021-05-03T08:02:20.197" v="0" actId="47"/>
        <pc:sldMkLst>
          <pc:docMk/>
          <pc:sldMk cId="3867219056" sldId="2031"/>
        </pc:sldMkLst>
      </pc:sldChg>
      <pc:sldChg chg="del">
        <pc:chgData name="Aurelien Domont" userId="6da7715ce44349b3" providerId="LiveId" clId="{C523CB9D-DE17-4F66-BAA5-E2467A3E4858}" dt="2021-05-03T08:02:20.197" v="0" actId="47"/>
        <pc:sldMkLst>
          <pc:docMk/>
          <pc:sldMk cId="2964978532" sldId="2032"/>
        </pc:sldMkLst>
      </pc:sldChg>
      <pc:sldChg chg="del">
        <pc:chgData name="Aurelien Domont" userId="6da7715ce44349b3" providerId="LiveId" clId="{C523CB9D-DE17-4F66-BAA5-E2467A3E4858}" dt="2021-05-03T08:02:45.439" v="1" actId="47"/>
        <pc:sldMkLst>
          <pc:docMk/>
          <pc:sldMk cId="1692242364" sldId="2033"/>
        </pc:sldMkLst>
      </pc:sldChg>
    </pc:docChg>
  </pc:docChgLst>
  <pc:docChgLst>
    <pc:chgData name="Aurelien Domont" userId="6da7715ce44349b3" providerId="LiveId" clId="{484DD64F-11B8-41CE-8137-F22080D59C6C}"/>
    <pc:docChg chg="undo redo custSel addSld delSld modSld sldOrd">
      <pc:chgData name="Aurelien Domont" userId="6da7715ce44349b3" providerId="LiveId" clId="{484DD64F-11B8-41CE-8137-F22080D59C6C}" dt="2021-07-23T05:53:32.113" v="1746" actId="113"/>
      <pc:docMkLst>
        <pc:docMk/>
      </pc:docMkLst>
      <pc:sldChg chg="modSp mod">
        <pc:chgData name="Aurelien Domont" userId="6da7715ce44349b3" providerId="LiveId" clId="{484DD64F-11B8-41CE-8137-F22080D59C6C}" dt="2021-07-23T05:49:44.106" v="1745" actId="20577"/>
        <pc:sldMkLst>
          <pc:docMk/>
          <pc:sldMk cId="3131901387" sldId="256"/>
        </pc:sldMkLst>
        <pc:spChg chg="mod">
          <ac:chgData name="Aurelien Domont" userId="6da7715ce44349b3" providerId="LiveId" clId="{484DD64F-11B8-41CE-8137-F22080D59C6C}" dt="2021-07-23T05:49:44.106" v="1745" actId="20577"/>
          <ac:spMkLst>
            <pc:docMk/>
            <pc:sldMk cId="3131901387" sldId="256"/>
            <ac:spMk id="2" creationId="{5261080C-C60C-4746-B6B1-A9A4FFA86785}"/>
          </ac:spMkLst>
        </pc:spChg>
      </pc:sldChg>
      <pc:sldChg chg="ord">
        <pc:chgData name="Aurelien Domont" userId="6da7715ce44349b3" providerId="LiveId" clId="{484DD64F-11B8-41CE-8137-F22080D59C6C}" dt="2021-07-23T04:40:12.568" v="1235"/>
        <pc:sldMkLst>
          <pc:docMk/>
          <pc:sldMk cId="3072119178" sldId="1488"/>
        </pc:sldMkLst>
      </pc:sldChg>
      <pc:sldChg chg="ord">
        <pc:chgData name="Aurelien Domont" userId="6da7715ce44349b3" providerId="LiveId" clId="{484DD64F-11B8-41CE-8137-F22080D59C6C}" dt="2021-07-23T04:40:12.568" v="1235"/>
        <pc:sldMkLst>
          <pc:docMk/>
          <pc:sldMk cId="926313830" sldId="1489"/>
        </pc:sldMkLst>
      </pc:sldChg>
      <pc:sldChg chg="ord">
        <pc:chgData name="Aurelien Domont" userId="6da7715ce44349b3" providerId="LiveId" clId="{484DD64F-11B8-41CE-8137-F22080D59C6C}" dt="2021-07-23T04:40:12.568" v="1235"/>
        <pc:sldMkLst>
          <pc:docMk/>
          <pc:sldMk cId="3370215172" sldId="1490"/>
        </pc:sldMkLst>
      </pc:sldChg>
      <pc:sldChg chg="ord">
        <pc:chgData name="Aurelien Domont" userId="6da7715ce44349b3" providerId="LiveId" clId="{484DD64F-11B8-41CE-8137-F22080D59C6C}" dt="2021-07-23T04:10:20.767" v="842"/>
        <pc:sldMkLst>
          <pc:docMk/>
          <pc:sldMk cId="317099162" sldId="1749"/>
        </pc:sldMkLst>
      </pc:sldChg>
      <pc:sldChg chg="add">
        <pc:chgData name="Aurelien Domont" userId="6da7715ce44349b3" providerId="LiveId" clId="{484DD64F-11B8-41CE-8137-F22080D59C6C}" dt="2021-07-23T04:43:29.786" v="1267"/>
        <pc:sldMkLst>
          <pc:docMk/>
          <pc:sldMk cId="2603859724" sldId="1763"/>
        </pc:sldMkLst>
      </pc:sldChg>
      <pc:sldChg chg="add">
        <pc:chgData name="Aurelien Domont" userId="6da7715ce44349b3" providerId="LiveId" clId="{484DD64F-11B8-41CE-8137-F22080D59C6C}" dt="2021-07-23T04:43:29.786" v="1267"/>
        <pc:sldMkLst>
          <pc:docMk/>
          <pc:sldMk cId="99687317" sldId="1764"/>
        </pc:sldMkLst>
      </pc:sldChg>
      <pc:sldChg chg="add setBg">
        <pc:chgData name="Aurelien Domont" userId="6da7715ce44349b3" providerId="LiveId" clId="{484DD64F-11B8-41CE-8137-F22080D59C6C}" dt="2021-07-23T04:43:29.786" v="1267"/>
        <pc:sldMkLst>
          <pc:docMk/>
          <pc:sldMk cId="3975128435" sldId="1765"/>
        </pc:sldMkLst>
      </pc:sldChg>
      <pc:sldChg chg="add">
        <pc:chgData name="Aurelien Domont" userId="6da7715ce44349b3" providerId="LiveId" clId="{484DD64F-11B8-41CE-8137-F22080D59C6C}" dt="2021-07-23T04:43:29.786" v="1267"/>
        <pc:sldMkLst>
          <pc:docMk/>
          <pc:sldMk cId="3598292899" sldId="1770"/>
        </pc:sldMkLst>
      </pc:sldChg>
      <pc:sldChg chg="add">
        <pc:chgData name="Aurelien Domont" userId="6da7715ce44349b3" providerId="LiveId" clId="{484DD64F-11B8-41CE-8137-F22080D59C6C}" dt="2021-07-23T04:43:29.786" v="1267"/>
        <pc:sldMkLst>
          <pc:docMk/>
          <pc:sldMk cId="1016381984" sldId="1771"/>
        </pc:sldMkLst>
      </pc:sldChg>
      <pc:sldChg chg="add">
        <pc:chgData name="Aurelien Domont" userId="6da7715ce44349b3" providerId="LiveId" clId="{484DD64F-11B8-41CE-8137-F22080D59C6C}" dt="2021-07-23T04:43:29.786" v="1267"/>
        <pc:sldMkLst>
          <pc:docMk/>
          <pc:sldMk cId="2943938352" sldId="2154"/>
        </pc:sldMkLst>
      </pc:sldChg>
      <pc:sldChg chg="ord">
        <pc:chgData name="Aurelien Domont" userId="6da7715ce44349b3" providerId="LiveId" clId="{484DD64F-11B8-41CE-8137-F22080D59C6C}" dt="2021-07-23T04:39:37.405" v="1227"/>
        <pc:sldMkLst>
          <pc:docMk/>
          <pc:sldMk cId="1479295029" sldId="2156"/>
        </pc:sldMkLst>
      </pc:sldChg>
      <pc:sldChg chg="ord">
        <pc:chgData name="Aurelien Domont" userId="6da7715ce44349b3" providerId="LiveId" clId="{484DD64F-11B8-41CE-8137-F22080D59C6C}" dt="2021-07-23T04:10:30.120" v="844"/>
        <pc:sldMkLst>
          <pc:docMk/>
          <pc:sldMk cId="1073937120" sldId="2160"/>
        </pc:sldMkLst>
      </pc:sldChg>
      <pc:sldChg chg="addSp delSp modSp mod ord">
        <pc:chgData name="Aurelien Domont" userId="6da7715ce44349b3" providerId="LiveId" clId="{484DD64F-11B8-41CE-8137-F22080D59C6C}" dt="2021-07-23T04:20:39.301" v="974" actId="14861"/>
        <pc:sldMkLst>
          <pc:docMk/>
          <pc:sldMk cId="62308209" sldId="2161"/>
        </pc:sldMkLst>
        <pc:spChg chg="mod">
          <ac:chgData name="Aurelien Domont" userId="6da7715ce44349b3" providerId="LiveId" clId="{484DD64F-11B8-41CE-8137-F22080D59C6C}" dt="2021-07-23T04:11:46.929" v="847"/>
          <ac:spMkLst>
            <pc:docMk/>
            <pc:sldMk cId="62308209" sldId="2161"/>
            <ac:spMk id="16" creationId="{6C2BB713-9637-4B9B-938F-E9768876782A}"/>
          </ac:spMkLst>
        </pc:spChg>
        <pc:spChg chg="mod">
          <ac:chgData name="Aurelien Domont" userId="6da7715ce44349b3" providerId="LiveId" clId="{484DD64F-11B8-41CE-8137-F22080D59C6C}" dt="2021-07-23T04:12:35.548" v="862" actId="122"/>
          <ac:spMkLst>
            <pc:docMk/>
            <pc:sldMk cId="62308209" sldId="2161"/>
            <ac:spMk id="31" creationId="{80DB5C2A-CB4E-438A-8801-EB0869040D7B}"/>
          </ac:spMkLst>
        </pc:spChg>
        <pc:spChg chg="add mod topLvl">
          <ac:chgData name="Aurelien Domont" userId="6da7715ce44349b3" providerId="LiveId" clId="{484DD64F-11B8-41CE-8137-F22080D59C6C}" dt="2021-07-23T04:18:29.317" v="927" actId="1035"/>
          <ac:spMkLst>
            <pc:docMk/>
            <pc:sldMk cId="62308209" sldId="2161"/>
            <ac:spMk id="34" creationId="{E1B2FFE3-DBA5-416B-9DB3-3731D3B7B0A4}"/>
          </ac:spMkLst>
        </pc:spChg>
        <pc:spChg chg="add mod topLvl">
          <ac:chgData name="Aurelien Domont" userId="6da7715ce44349b3" providerId="LiveId" clId="{484DD64F-11B8-41CE-8137-F22080D59C6C}" dt="2021-07-23T04:18:33.823" v="935" actId="1037"/>
          <ac:spMkLst>
            <pc:docMk/>
            <pc:sldMk cId="62308209" sldId="2161"/>
            <ac:spMk id="35" creationId="{4D42CE75-EBD5-4944-A919-A414AA408861}"/>
          </ac:spMkLst>
        </pc:spChg>
        <pc:spChg chg="add mod topLvl">
          <ac:chgData name="Aurelien Domont" userId="6da7715ce44349b3" providerId="LiveId" clId="{484DD64F-11B8-41CE-8137-F22080D59C6C}" dt="2021-07-23T04:18:37.383" v="940" actId="1035"/>
          <ac:spMkLst>
            <pc:docMk/>
            <pc:sldMk cId="62308209" sldId="2161"/>
            <ac:spMk id="36" creationId="{374D2436-4DE9-43A4-9BB8-B23AA8701B3A}"/>
          </ac:spMkLst>
        </pc:spChg>
        <pc:spChg chg="add mod topLvl">
          <ac:chgData name="Aurelien Domont" userId="6da7715ce44349b3" providerId="LiveId" clId="{484DD64F-11B8-41CE-8137-F22080D59C6C}" dt="2021-07-23T04:18:03.450" v="898" actId="165"/>
          <ac:spMkLst>
            <pc:docMk/>
            <pc:sldMk cId="62308209" sldId="2161"/>
            <ac:spMk id="37" creationId="{3C2FA24C-C27B-41CE-B094-2513F027D3A8}"/>
          </ac:spMkLst>
        </pc:spChg>
        <pc:spChg chg="add mod topLvl">
          <ac:chgData name="Aurelien Domont" userId="6da7715ce44349b3" providerId="LiveId" clId="{484DD64F-11B8-41CE-8137-F22080D59C6C}" dt="2021-07-23T04:18:50.205" v="956" actId="1035"/>
          <ac:spMkLst>
            <pc:docMk/>
            <pc:sldMk cId="62308209" sldId="2161"/>
            <ac:spMk id="38" creationId="{B6F8B35C-55F2-4C82-90F4-14AA1AB67BFC}"/>
          </ac:spMkLst>
        </pc:spChg>
        <pc:spChg chg="add mod topLvl">
          <ac:chgData name="Aurelien Domont" userId="6da7715ce44349b3" providerId="LiveId" clId="{484DD64F-11B8-41CE-8137-F22080D59C6C}" dt="2021-07-23T04:18:43.612" v="954" actId="1035"/>
          <ac:spMkLst>
            <pc:docMk/>
            <pc:sldMk cId="62308209" sldId="2161"/>
            <ac:spMk id="39" creationId="{519C9AE0-754E-4933-AD30-219E481A0051}"/>
          </ac:spMkLst>
        </pc:spChg>
        <pc:spChg chg="add mod topLvl">
          <ac:chgData name="Aurelien Domont" userId="6da7715ce44349b3" providerId="LiveId" clId="{484DD64F-11B8-41CE-8137-F22080D59C6C}" dt="2021-07-23T04:18:25.151" v="924" actId="1038"/>
          <ac:spMkLst>
            <pc:docMk/>
            <pc:sldMk cId="62308209" sldId="2161"/>
            <ac:spMk id="40" creationId="{89F4B0CF-9378-4A72-B65B-CA382567820F}"/>
          </ac:spMkLst>
        </pc:spChg>
        <pc:spChg chg="add mod topLvl">
          <ac:chgData name="Aurelien Domont" userId="6da7715ce44349b3" providerId="LiveId" clId="{484DD64F-11B8-41CE-8137-F22080D59C6C}" dt="2021-07-23T04:18:03.450" v="898" actId="165"/>
          <ac:spMkLst>
            <pc:docMk/>
            <pc:sldMk cId="62308209" sldId="2161"/>
            <ac:spMk id="48" creationId="{19B26507-7537-48B2-A522-7220639B33CC}"/>
          </ac:spMkLst>
        </pc:spChg>
        <pc:spChg chg="add mod topLvl">
          <ac:chgData name="Aurelien Domont" userId="6da7715ce44349b3" providerId="LiveId" clId="{484DD64F-11B8-41CE-8137-F22080D59C6C}" dt="2021-07-23T04:20:39.301" v="974" actId="14861"/>
          <ac:spMkLst>
            <pc:docMk/>
            <pc:sldMk cId="62308209" sldId="2161"/>
            <ac:spMk id="49" creationId="{48639D28-B55E-4ADC-ACFB-B92978A605C1}"/>
          </ac:spMkLst>
        </pc:spChg>
        <pc:spChg chg="add mod topLvl">
          <ac:chgData name="Aurelien Domont" userId="6da7715ce44349b3" providerId="LiveId" clId="{484DD64F-11B8-41CE-8137-F22080D59C6C}" dt="2021-07-23T04:18:03.450" v="898" actId="165"/>
          <ac:spMkLst>
            <pc:docMk/>
            <pc:sldMk cId="62308209" sldId="2161"/>
            <ac:spMk id="50" creationId="{EAC42D61-C273-4449-982C-A24D5A5FBED7}"/>
          </ac:spMkLst>
        </pc:spChg>
        <pc:spChg chg="add mod topLvl">
          <ac:chgData name="Aurelien Domont" userId="6da7715ce44349b3" providerId="LiveId" clId="{484DD64F-11B8-41CE-8137-F22080D59C6C}" dt="2021-07-23T04:18:03.450" v="898" actId="165"/>
          <ac:spMkLst>
            <pc:docMk/>
            <pc:sldMk cId="62308209" sldId="2161"/>
            <ac:spMk id="51" creationId="{3A45E5FA-0069-45C4-B7A6-2A52D8054710}"/>
          </ac:spMkLst>
        </pc:spChg>
        <pc:spChg chg="mod">
          <ac:chgData name="Aurelien Domont" userId="6da7715ce44349b3" providerId="LiveId" clId="{484DD64F-11B8-41CE-8137-F22080D59C6C}" dt="2021-07-23T04:12:58.308" v="863" actId="20577"/>
          <ac:spMkLst>
            <pc:docMk/>
            <pc:sldMk cId="62308209" sldId="2161"/>
            <ac:spMk id="54" creationId="{E7D1A9F7-F376-48B5-ACD6-0ECF9A5D6033}"/>
          </ac:spMkLst>
        </pc:spChg>
        <pc:spChg chg="add mod topLvl">
          <ac:chgData name="Aurelien Domont" userId="6da7715ce44349b3" providerId="LiveId" clId="{484DD64F-11B8-41CE-8137-F22080D59C6C}" dt="2021-07-23T04:18:03.450" v="898" actId="165"/>
          <ac:spMkLst>
            <pc:docMk/>
            <pc:sldMk cId="62308209" sldId="2161"/>
            <ac:spMk id="73" creationId="{C668EDCD-6B28-442F-B7C3-2B0D4897B6F9}"/>
          </ac:spMkLst>
        </pc:spChg>
        <pc:spChg chg="add mod topLvl">
          <ac:chgData name="Aurelien Domont" userId="6da7715ce44349b3" providerId="LiveId" clId="{484DD64F-11B8-41CE-8137-F22080D59C6C}" dt="2021-07-23T04:18:03.450" v="898" actId="165"/>
          <ac:spMkLst>
            <pc:docMk/>
            <pc:sldMk cId="62308209" sldId="2161"/>
            <ac:spMk id="74" creationId="{03F6514F-3D02-4564-ADC8-DC0817BCC948}"/>
          </ac:spMkLst>
        </pc:spChg>
        <pc:spChg chg="add mod topLvl">
          <ac:chgData name="Aurelien Domont" userId="6da7715ce44349b3" providerId="LiveId" clId="{484DD64F-11B8-41CE-8137-F22080D59C6C}" dt="2021-07-23T04:18:03.450" v="898" actId="165"/>
          <ac:spMkLst>
            <pc:docMk/>
            <pc:sldMk cId="62308209" sldId="2161"/>
            <ac:spMk id="75" creationId="{6C561391-988C-4874-A798-F591CEF046D9}"/>
          </ac:spMkLst>
        </pc:spChg>
        <pc:spChg chg="add mod topLvl">
          <ac:chgData name="Aurelien Domont" userId="6da7715ce44349b3" providerId="LiveId" clId="{484DD64F-11B8-41CE-8137-F22080D59C6C}" dt="2021-07-23T04:18:03.450" v="898" actId="165"/>
          <ac:spMkLst>
            <pc:docMk/>
            <pc:sldMk cId="62308209" sldId="2161"/>
            <ac:spMk id="76" creationId="{B4DAE029-E3D6-430E-8906-A24ABCE60AF7}"/>
          </ac:spMkLst>
        </pc:spChg>
        <pc:spChg chg="add mod topLvl">
          <ac:chgData name="Aurelien Domont" userId="6da7715ce44349b3" providerId="LiveId" clId="{484DD64F-11B8-41CE-8137-F22080D59C6C}" dt="2021-07-23T04:18:03.450" v="898" actId="165"/>
          <ac:spMkLst>
            <pc:docMk/>
            <pc:sldMk cId="62308209" sldId="2161"/>
            <ac:spMk id="77" creationId="{7BA855D7-CC73-483D-8655-83DEC862FF66}"/>
          </ac:spMkLst>
        </pc:spChg>
        <pc:spChg chg="add mod topLvl">
          <ac:chgData name="Aurelien Domont" userId="6da7715ce44349b3" providerId="LiveId" clId="{484DD64F-11B8-41CE-8137-F22080D59C6C}" dt="2021-07-23T04:20:18.544" v="973" actId="1037"/>
          <ac:spMkLst>
            <pc:docMk/>
            <pc:sldMk cId="62308209" sldId="2161"/>
            <ac:spMk id="78" creationId="{FA1091B8-4DD8-4C8D-8CBD-A2E2CEE60B1F}"/>
          </ac:spMkLst>
        </pc:spChg>
        <pc:spChg chg="mod">
          <ac:chgData name="Aurelien Domont" userId="6da7715ce44349b3" providerId="LiveId" clId="{484DD64F-11B8-41CE-8137-F22080D59C6C}" dt="2021-07-23T04:18:03.450" v="898" actId="165"/>
          <ac:spMkLst>
            <pc:docMk/>
            <pc:sldMk cId="62308209" sldId="2161"/>
            <ac:spMk id="87" creationId="{07B5BB67-6AA6-4F80-BA26-0E6A66E033DD}"/>
          </ac:spMkLst>
        </pc:spChg>
        <pc:spChg chg="mod">
          <ac:chgData name="Aurelien Domont" userId="6da7715ce44349b3" providerId="LiveId" clId="{484DD64F-11B8-41CE-8137-F22080D59C6C}" dt="2021-07-23T04:18:03.450" v="898" actId="165"/>
          <ac:spMkLst>
            <pc:docMk/>
            <pc:sldMk cId="62308209" sldId="2161"/>
            <ac:spMk id="88" creationId="{3FB55220-15FB-4FEB-A5EE-4A39ABD3A5B7}"/>
          </ac:spMkLst>
        </pc:spChg>
        <pc:spChg chg="mod">
          <ac:chgData name="Aurelien Domont" userId="6da7715ce44349b3" providerId="LiveId" clId="{484DD64F-11B8-41CE-8137-F22080D59C6C}" dt="2021-07-23T04:18:03.450" v="898" actId="165"/>
          <ac:spMkLst>
            <pc:docMk/>
            <pc:sldMk cId="62308209" sldId="2161"/>
            <ac:spMk id="89" creationId="{1B38D6B2-8F48-48AF-A353-BFC5A0DD84F6}"/>
          </ac:spMkLst>
        </pc:spChg>
        <pc:spChg chg="mod">
          <ac:chgData name="Aurelien Domont" userId="6da7715ce44349b3" providerId="LiveId" clId="{484DD64F-11B8-41CE-8137-F22080D59C6C}" dt="2021-07-23T04:18:03.450" v="898" actId="165"/>
          <ac:spMkLst>
            <pc:docMk/>
            <pc:sldMk cId="62308209" sldId="2161"/>
            <ac:spMk id="90" creationId="{BDE07091-593F-4249-82C4-EEA83A8EE56D}"/>
          </ac:spMkLst>
        </pc:spChg>
        <pc:grpChg chg="del mod">
          <ac:chgData name="Aurelien Domont" userId="6da7715ce44349b3" providerId="LiveId" clId="{484DD64F-11B8-41CE-8137-F22080D59C6C}" dt="2021-07-23T04:15:32.978" v="864" actId="478"/>
          <ac:grpSpMkLst>
            <pc:docMk/>
            <pc:sldMk cId="62308209" sldId="2161"/>
            <ac:grpSpMk id="2" creationId="{FFCD903C-2A8B-42A0-9428-7FD75FD8204A}"/>
          </ac:grpSpMkLst>
        </pc:grpChg>
        <pc:grpChg chg="add del mod">
          <ac:chgData name="Aurelien Domont" userId="6da7715ce44349b3" providerId="LiveId" clId="{484DD64F-11B8-41CE-8137-F22080D59C6C}" dt="2021-07-23T04:18:03.450" v="898" actId="165"/>
          <ac:grpSpMkLst>
            <pc:docMk/>
            <pc:sldMk cId="62308209" sldId="2161"/>
            <ac:grpSpMk id="3" creationId="{816A6DEB-B19A-495C-B3E8-BB3C0CC00300}"/>
          </ac:grpSpMkLst>
        </pc:grpChg>
        <pc:grpChg chg="add mod topLvl">
          <ac:chgData name="Aurelien Domont" userId="6da7715ce44349b3" providerId="LiveId" clId="{484DD64F-11B8-41CE-8137-F22080D59C6C}" dt="2021-07-23T04:18:09.499" v="908" actId="1037"/>
          <ac:grpSpMkLst>
            <pc:docMk/>
            <pc:sldMk cId="62308209" sldId="2161"/>
            <ac:grpSpMk id="85" creationId="{29E32D0B-A58E-4E75-B2E7-01A6CE79C7F0}"/>
          </ac:grpSpMkLst>
        </pc:grpChg>
        <pc:grpChg chg="mod">
          <ac:chgData name="Aurelien Domont" userId="6da7715ce44349b3" providerId="LiveId" clId="{484DD64F-11B8-41CE-8137-F22080D59C6C}" dt="2021-07-23T04:18:03.450" v="898" actId="165"/>
          <ac:grpSpMkLst>
            <pc:docMk/>
            <pc:sldMk cId="62308209" sldId="2161"/>
            <ac:grpSpMk id="86" creationId="{8BAAE573-F79A-47C9-8C2F-687422633C8E}"/>
          </ac:grpSpMkLst>
        </pc:grpChg>
        <pc:picChg chg="add mod topLvl">
          <ac:chgData name="Aurelien Domont" userId="6da7715ce44349b3" providerId="LiveId" clId="{484DD64F-11B8-41CE-8137-F22080D59C6C}" dt="2021-07-23T04:18:03.450" v="898" actId="165"/>
          <ac:picMkLst>
            <pc:docMk/>
            <pc:sldMk cId="62308209" sldId="2161"/>
            <ac:picMk id="79" creationId="{8323D500-379C-42EB-829B-5CBA0C9BD11A}"/>
          </ac:picMkLst>
        </pc:picChg>
        <pc:picChg chg="add mod topLvl">
          <ac:chgData name="Aurelien Domont" userId="6da7715ce44349b3" providerId="LiveId" clId="{484DD64F-11B8-41CE-8137-F22080D59C6C}" dt="2021-07-23T04:18:03.450" v="898" actId="165"/>
          <ac:picMkLst>
            <pc:docMk/>
            <pc:sldMk cId="62308209" sldId="2161"/>
            <ac:picMk id="80" creationId="{15E36AB3-1C2B-4419-BA3B-C76E995F1C2E}"/>
          </ac:picMkLst>
        </pc:picChg>
        <pc:picChg chg="add mod topLvl">
          <ac:chgData name="Aurelien Domont" userId="6da7715ce44349b3" providerId="LiveId" clId="{484DD64F-11B8-41CE-8137-F22080D59C6C}" dt="2021-07-23T04:18:03.450" v="898" actId="165"/>
          <ac:picMkLst>
            <pc:docMk/>
            <pc:sldMk cId="62308209" sldId="2161"/>
            <ac:picMk id="81" creationId="{D6EFFCE4-6246-4DF3-ADA4-8908107C4126}"/>
          </ac:picMkLst>
        </pc:picChg>
        <pc:picChg chg="add mod topLvl">
          <ac:chgData name="Aurelien Domont" userId="6da7715ce44349b3" providerId="LiveId" clId="{484DD64F-11B8-41CE-8137-F22080D59C6C}" dt="2021-07-23T04:18:03.450" v="898" actId="165"/>
          <ac:picMkLst>
            <pc:docMk/>
            <pc:sldMk cId="62308209" sldId="2161"/>
            <ac:picMk id="82" creationId="{CF628464-EBFE-42E9-962A-D71144AD423F}"/>
          </ac:picMkLst>
        </pc:picChg>
        <pc:picChg chg="add mod topLvl">
          <ac:chgData name="Aurelien Domont" userId="6da7715ce44349b3" providerId="LiveId" clId="{484DD64F-11B8-41CE-8137-F22080D59C6C}" dt="2021-07-23T04:18:03.450" v="898" actId="165"/>
          <ac:picMkLst>
            <pc:docMk/>
            <pc:sldMk cId="62308209" sldId="2161"/>
            <ac:picMk id="83" creationId="{BA885BFE-89BB-4CC9-9B7E-B34C40B6D5D7}"/>
          </ac:picMkLst>
        </pc:picChg>
        <pc:picChg chg="add mod topLvl">
          <ac:chgData name="Aurelien Domont" userId="6da7715ce44349b3" providerId="LiveId" clId="{484DD64F-11B8-41CE-8137-F22080D59C6C}" dt="2021-07-23T04:18:03.450" v="898" actId="165"/>
          <ac:picMkLst>
            <pc:docMk/>
            <pc:sldMk cId="62308209" sldId="2161"/>
            <ac:picMk id="84" creationId="{0BE82368-4F77-4BDE-ACE8-51420ECE202E}"/>
          </ac:picMkLst>
        </pc:picChg>
        <pc:cxnChg chg="add mod topLvl">
          <ac:chgData name="Aurelien Domont" userId="6da7715ce44349b3" providerId="LiveId" clId="{484DD64F-11B8-41CE-8137-F22080D59C6C}" dt="2021-07-23T04:18:03.450" v="898" actId="165"/>
          <ac:cxnSpMkLst>
            <pc:docMk/>
            <pc:sldMk cId="62308209" sldId="2161"/>
            <ac:cxnSpMk id="41" creationId="{8C5AD82E-AB23-4089-AA37-932F239A2C62}"/>
          </ac:cxnSpMkLst>
        </pc:cxnChg>
        <pc:cxnChg chg="add mod topLvl">
          <ac:chgData name="Aurelien Domont" userId="6da7715ce44349b3" providerId="LiveId" clId="{484DD64F-11B8-41CE-8137-F22080D59C6C}" dt="2021-07-23T04:19:02.944" v="958" actId="1076"/>
          <ac:cxnSpMkLst>
            <pc:docMk/>
            <pc:sldMk cId="62308209" sldId="2161"/>
            <ac:cxnSpMk id="42" creationId="{9453C508-ECBC-4AF0-B3F0-207099046C59}"/>
          </ac:cxnSpMkLst>
        </pc:cxnChg>
        <pc:cxnChg chg="add mod topLvl">
          <ac:chgData name="Aurelien Domont" userId="6da7715ce44349b3" providerId="LiveId" clId="{484DD64F-11B8-41CE-8137-F22080D59C6C}" dt="2021-07-23T04:18:03.450" v="898" actId="165"/>
          <ac:cxnSpMkLst>
            <pc:docMk/>
            <pc:sldMk cId="62308209" sldId="2161"/>
            <ac:cxnSpMk id="43" creationId="{ECB40045-54EE-48A2-9963-3DAA40D26B70}"/>
          </ac:cxnSpMkLst>
        </pc:cxnChg>
        <pc:cxnChg chg="add mod topLvl">
          <ac:chgData name="Aurelien Domont" userId="6da7715ce44349b3" providerId="LiveId" clId="{484DD64F-11B8-41CE-8137-F22080D59C6C}" dt="2021-07-23T04:18:03.450" v="898" actId="165"/>
          <ac:cxnSpMkLst>
            <pc:docMk/>
            <pc:sldMk cId="62308209" sldId="2161"/>
            <ac:cxnSpMk id="44" creationId="{328F4FA4-D5AC-41D7-A610-C71E56353ABA}"/>
          </ac:cxnSpMkLst>
        </pc:cxnChg>
        <pc:cxnChg chg="add mod topLvl">
          <ac:chgData name="Aurelien Domont" userId="6da7715ce44349b3" providerId="LiveId" clId="{484DD64F-11B8-41CE-8137-F22080D59C6C}" dt="2021-07-23T04:18:03.450" v="898" actId="165"/>
          <ac:cxnSpMkLst>
            <pc:docMk/>
            <pc:sldMk cId="62308209" sldId="2161"/>
            <ac:cxnSpMk id="45" creationId="{5A00F544-B637-4AE0-9456-DEADC19170B4}"/>
          </ac:cxnSpMkLst>
        </pc:cxnChg>
        <pc:cxnChg chg="add mod topLvl">
          <ac:chgData name="Aurelien Domont" userId="6da7715ce44349b3" providerId="LiveId" clId="{484DD64F-11B8-41CE-8137-F22080D59C6C}" dt="2021-07-23T04:18:03.450" v="898" actId="165"/>
          <ac:cxnSpMkLst>
            <pc:docMk/>
            <pc:sldMk cId="62308209" sldId="2161"/>
            <ac:cxnSpMk id="46" creationId="{89563420-A8F1-4B09-BC0F-B0F2CBFDEA49}"/>
          </ac:cxnSpMkLst>
        </pc:cxnChg>
        <pc:cxnChg chg="add mod topLvl">
          <ac:chgData name="Aurelien Domont" userId="6da7715ce44349b3" providerId="LiveId" clId="{484DD64F-11B8-41CE-8137-F22080D59C6C}" dt="2021-07-23T04:18:03.450" v="898" actId="165"/>
          <ac:cxnSpMkLst>
            <pc:docMk/>
            <pc:sldMk cId="62308209" sldId="2161"/>
            <ac:cxnSpMk id="47" creationId="{15F6E258-DA49-4678-AA7D-F999C6AE98B0}"/>
          </ac:cxnSpMkLst>
        </pc:cxnChg>
      </pc:sldChg>
      <pc:sldChg chg="addSp delSp modSp mod ord">
        <pc:chgData name="Aurelien Domont" userId="6da7715ce44349b3" providerId="LiveId" clId="{484DD64F-11B8-41CE-8137-F22080D59C6C}" dt="2021-07-23T05:48:05.625" v="1743" actId="20577"/>
        <pc:sldMkLst>
          <pc:docMk/>
          <pc:sldMk cId="3272444503" sldId="2162"/>
        </pc:sldMkLst>
        <pc:spChg chg="add mod">
          <ac:chgData name="Aurelien Domont" userId="6da7715ce44349b3" providerId="LiveId" clId="{484DD64F-11B8-41CE-8137-F22080D59C6C}" dt="2021-07-23T05:48:05.625" v="1743" actId="20577"/>
          <ac:spMkLst>
            <pc:docMk/>
            <pc:sldMk cId="3272444503" sldId="2162"/>
            <ac:spMk id="6" creationId="{22D27BA3-CC85-4DD2-AEDB-C22AC367D60A}"/>
          </ac:spMkLst>
        </pc:spChg>
        <pc:spChg chg="mod">
          <ac:chgData name="Aurelien Domont" userId="6da7715ce44349b3" providerId="LiveId" clId="{484DD64F-11B8-41CE-8137-F22080D59C6C}" dt="2021-07-23T04:21:26.513" v="977"/>
          <ac:spMkLst>
            <pc:docMk/>
            <pc:sldMk cId="3272444503" sldId="2162"/>
            <ac:spMk id="16" creationId="{6C2BB713-9637-4B9B-938F-E9768876782A}"/>
          </ac:spMkLst>
        </pc:spChg>
        <pc:spChg chg="del">
          <ac:chgData name="Aurelien Domont" userId="6da7715ce44349b3" providerId="LiveId" clId="{484DD64F-11B8-41CE-8137-F22080D59C6C}" dt="2021-07-23T04:22:18.709" v="978" actId="478"/>
          <ac:spMkLst>
            <pc:docMk/>
            <pc:sldMk cId="3272444503" sldId="2162"/>
            <ac:spMk id="34" creationId="{2B936149-E2A6-4141-A333-C5E1855245B1}"/>
          </ac:spMkLst>
        </pc:spChg>
      </pc:sldChg>
      <pc:sldChg chg="del">
        <pc:chgData name="Aurelien Domont" userId="6da7715ce44349b3" providerId="LiveId" clId="{484DD64F-11B8-41CE-8137-F22080D59C6C}" dt="2021-07-23T04:27:14.924" v="1007" actId="47"/>
        <pc:sldMkLst>
          <pc:docMk/>
          <pc:sldMk cId="3193088531" sldId="2164"/>
        </pc:sldMkLst>
      </pc:sldChg>
      <pc:sldChg chg="del">
        <pc:chgData name="Aurelien Domont" userId="6da7715ce44349b3" providerId="LiveId" clId="{484DD64F-11B8-41CE-8137-F22080D59C6C}" dt="2021-07-23T04:39:28.827" v="1225" actId="47"/>
        <pc:sldMkLst>
          <pc:docMk/>
          <pc:sldMk cId="2369505737" sldId="2167"/>
        </pc:sldMkLst>
      </pc:sldChg>
      <pc:sldChg chg="ord">
        <pc:chgData name="Aurelien Domont" userId="6da7715ce44349b3" providerId="LiveId" clId="{484DD64F-11B8-41CE-8137-F22080D59C6C}" dt="2021-07-23T04:39:37.405" v="1227"/>
        <pc:sldMkLst>
          <pc:docMk/>
          <pc:sldMk cId="4178836903" sldId="2169"/>
        </pc:sldMkLst>
      </pc:sldChg>
      <pc:sldChg chg="ord">
        <pc:chgData name="Aurelien Domont" userId="6da7715ce44349b3" providerId="LiveId" clId="{484DD64F-11B8-41CE-8137-F22080D59C6C}" dt="2021-07-23T04:39:37.405" v="1227"/>
        <pc:sldMkLst>
          <pc:docMk/>
          <pc:sldMk cId="2678382071" sldId="2170"/>
        </pc:sldMkLst>
      </pc:sldChg>
      <pc:sldChg chg="ord">
        <pc:chgData name="Aurelien Domont" userId="6da7715ce44349b3" providerId="LiveId" clId="{484DD64F-11B8-41CE-8137-F22080D59C6C}" dt="2021-07-23T04:39:37.405" v="1227"/>
        <pc:sldMkLst>
          <pc:docMk/>
          <pc:sldMk cId="4258618140" sldId="2187"/>
        </pc:sldMkLst>
      </pc:sldChg>
      <pc:sldChg chg="del">
        <pc:chgData name="Aurelien Domont" userId="6da7715ce44349b3" providerId="LiveId" clId="{484DD64F-11B8-41CE-8137-F22080D59C6C}" dt="2021-07-23T04:40:07.079" v="1233" actId="47"/>
        <pc:sldMkLst>
          <pc:docMk/>
          <pc:sldMk cId="1390113814" sldId="2188"/>
        </pc:sldMkLst>
      </pc:sldChg>
      <pc:sldChg chg="del">
        <pc:chgData name="Aurelien Domont" userId="6da7715ce44349b3" providerId="LiveId" clId="{484DD64F-11B8-41CE-8137-F22080D59C6C}" dt="2021-07-23T04:40:33.561" v="1241" actId="47"/>
        <pc:sldMkLst>
          <pc:docMk/>
          <pc:sldMk cId="1002747840" sldId="2189"/>
        </pc:sldMkLst>
      </pc:sldChg>
      <pc:sldChg chg="ord">
        <pc:chgData name="Aurelien Domont" userId="6da7715ce44349b3" providerId="LiveId" clId="{484DD64F-11B8-41CE-8137-F22080D59C6C}" dt="2021-07-23T04:40:12.568" v="1235"/>
        <pc:sldMkLst>
          <pc:docMk/>
          <pc:sldMk cId="2349979947" sldId="2190"/>
        </pc:sldMkLst>
      </pc:sldChg>
      <pc:sldChg chg="addSp delSp modSp mod">
        <pc:chgData name="Aurelien Domont" userId="6da7715ce44349b3" providerId="LiveId" clId="{484DD64F-11B8-41CE-8137-F22080D59C6C}" dt="2021-07-23T04:58:42.066" v="1727" actId="1038"/>
        <pc:sldMkLst>
          <pc:docMk/>
          <pc:sldMk cId="1209091634" sldId="2192"/>
        </pc:sldMkLst>
        <pc:spChg chg="add del">
          <ac:chgData name="Aurelien Domont" userId="6da7715ce44349b3" providerId="LiveId" clId="{484DD64F-11B8-41CE-8137-F22080D59C6C}" dt="2021-07-23T04:56:08.693" v="1583" actId="478"/>
          <ac:spMkLst>
            <pc:docMk/>
            <pc:sldMk cId="1209091634" sldId="2192"/>
            <ac:spMk id="2" creationId="{3285C159-3EE7-42C0-BA8B-7E8AA2FB6AB5}"/>
          </ac:spMkLst>
        </pc:spChg>
        <pc:spChg chg="mod">
          <ac:chgData name="Aurelien Domont" userId="6da7715ce44349b3" providerId="LiveId" clId="{484DD64F-11B8-41CE-8137-F22080D59C6C}" dt="2021-07-23T04:58:22.078" v="1713" actId="20577"/>
          <ac:spMkLst>
            <pc:docMk/>
            <pc:sldMk cId="1209091634" sldId="2192"/>
            <ac:spMk id="16" creationId="{6C2BB713-9637-4B9B-938F-E9768876782A}"/>
          </ac:spMkLst>
        </pc:spChg>
        <pc:spChg chg="add mod">
          <ac:chgData name="Aurelien Domont" userId="6da7715ce44349b3" providerId="LiveId" clId="{484DD64F-11B8-41CE-8137-F22080D59C6C}" dt="2021-07-23T04:56:39.975" v="1629" actId="1038"/>
          <ac:spMkLst>
            <pc:docMk/>
            <pc:sldMk cId="1209091634" sldId="2192"/>
            <ac:spMk id="30" creationId="{923C41CF-5B83-4495-A8B0-44FF4D6FA348}"/>
          </ac:spMkLst>
        </pc:spChg>
        <pc:spChg chg="mod">
          <ac:chgData name="Aurelien Domont" userId="6da7715ce44349b3" providerId="LiveId" clId="{484DD64F-11B8-41CE-8137-F22080D59C6C}" dt="2021-07-23T04:58:42.066" v="1727" actId="1038"/>
          <ac:spMkLst>
            <pc:docMk/>
            <pc:sldMk cId="1209091634" sldId="2192"/>
            <ac:spMk id="34" creationId="{7E571953-6197-4747-BD0F-640FF96CDD1D}"/>
          </ac:spMkLst>
        </pc:spChg>
        <pc:spChg chg="mod">
          <ac:chgData name="Aurelien Domont" userId="6da7715ce44349b3" providerId="LiveId" clId="{484DD64F-11B8-41CE-8137-F22080D59C6C}" dt="2021-07-23T04:57:06.972" v="1666" actId="1038"/>
          <ac:spMkLst>
            <pc:docMk/>
            <pc:sldMk cId="1209091634" sldId="2192"/>
            <ac:spMk id="35" creationId="{4A99C3F6-A408-4486-A9F9-59002C595D07}"/>
          </ac:spMkLst>
        </pc:spChg>
        <pc:spChg chg="mod">
          <ac:chgData name="Aurelien Domont" userId="6da7715ce44349b3" providerId="LiveId" clId="{484DD64F-11B8-41CE-8137-F22080D59C6C}" dt="2021-07-23T04:57:13.770" v="1686" actId="1038"/>
          <ac:spMkLst>
            <pc:docMk/>
            <pc:sldMk cId="1209091634" sldId="2192"/>
            <ac:spMk id="36" creationId="{5D53319E-0468-4B4B-98E5-3E07127703C8}"/>
          </ac:spMkLst>
        </pc:spChg>
        <pc:spChg chg="add mod">
          <ac:chgData name="Aurelien Domont" userId="6da7715ce44349b3" providerId="LiveId" clId="{484DD64F-11B8-41CE-8137-F22080D59C6C}" dt="2021-07-23T04:56:39.975" v="1629" actId="1038"/>
          <ac:spMkLst>
            <pc:docMk/>
            <pc:sldMk cId="1209091634" sldId="2192"/>
            <ac:spMk id="37" creationId="{3C81E9F3-DC0D-4D6D-A856-00CCD9A8A24C}"/>
          </ac:spMkLst>
        </pc:spChg>
        <pc:spChg chg="mod">
          <ac:chgData name="Aurelien Domont" userId="6da7715ce44349b3" providerId="LiveId" clId="{484DD64F-11B8-41CE-8137-F22080D59C6C}" dt="2021-07-23T04:57:35.395" v="1711" actId="1038"/>
          <ac:spMkLst>
            <pc:docMk/>
            <pc:sldMk cId="1209091634" sldId="2192"/>
            <ac:spMk id="38" creationId="{B6B72380-C6BC-4134-9D0C-56D5EA500C68}"/>
          </ac:spMkLst>
        </pc:spChg>
        <pc:spChg chg="mod">
          <ac:chgData name="Aurelien Domont" userId="6da7715ce44349b3" providerId="LiveId" clId="{484DD64F-11B8-41CE-8137-F22080D59C6C}" dt="2021-07-23T04:58:42.066" v="1727" actId="1038"/>
          <ac:spMkLst>
            <pc:docMk/>
            <pc:sldMk cId="1209091634" sldId="2192"/>
            <ac:spMk id="39" creationId="{2D9D59B7-B461-45F8-BF85-083779934B0A}"/>
          </ac:spMkLst>
        </pc:spChg>
        <pc:spChg chg="mod">
          <ac:chgData name="Aurelien Domont" userId="6da7715ce44349b3" providerId="LiveId" clId="{484DD64F-11B8-41CE-8137-F22080D59C6C}" dt="2021-07-23T04:57:06.972" v="1666" actId="1038"/>
          <ac:spMkLst>
            <pc:docMk/>
            <pc:sldMk cId="1209091634" sldId="2192"/>
            <ac:spMk id="40" creationId="{FEDB459F-A4B8-4765-B92A-8FA0C8E5F993}"/>
          </ac:spMkLst>
        </pc:spChg>
        <pc:spChg chg="mod">
          <ac:chgData name="Aurelien Domont" userId="6da7715ce44349b3" providerId="LiveId" clId="{484DD64F-11B8-41CE-8137-F22080D59C6C}" dt="2021-07-23T04:57:13.770" v="1686" actId="1038"/>
          <ac:spMkLst>
            <pc:docMk/>
            <pc:sldMk cId="1209091634" sldId="2192"/>
            <ac:spMk id="41" creationId="{728AF1DC-F738-487E-B414-3D2103CF27C5}"/>
          </ac:spMkLst>
        </pc:spChg>
        <pc:spChg chg="mod">
          <ac:chgData name="Aurelien Domont" userId="6da7715ce44349b3" providerId="LiveId" clId="{484DD64F-11B8-41CE-8137-F22080D59C6C}" dt="2021-07-23T04:57:35.395" v="1711" actId="1038"/>
          <ac:spMkLst>
            <pc:docMk/>
            <pc:sldMk cId="1209091634" sldId="2192"/>
            <ac:spMk id="42" creationId="{144BC78D-497F-4A02-8EDB-65B763F21D95}"/>
          </ac:spMkLst>
        </pc:spChg>
        <pc:spChg chg="mod">
          <ac:chgData name="Aurelien Domont" userId="6da7715ce44349b3" providerId="LiveId" clId="{484DD64F-11B8-41CE-8137-F22080D59C6C}" dt="2021-07-23T04:47:13.899" v="1284" actId="20577"/>
          <ac:spMkLst>
            <pc:docMk/>
            <pc:sldMk cId="1209091634" sldId="2192"/>
            <ac:spMk id="45" creationId="{66C5F612-5A89-4C48-BDA9-92B6DBF678F8}"/>
          </ac:spMkLst>
        </pc:spChg>
        <pc:spChg chg="mod">
          <ac:chgData name="Aurelien Domont" userId="6da7715ce44349b3" providerId="LiveId" clId="{484DD64F-11B8-41CE-8137-F22080D59C6C}" dt="2021-07-23T04:47:42.187" v="1292" actId="20577"/>
          <ac:spMkLst>
            <pc:docMk/>
            <pc:sldMk cId="1209091634" sldId="2192"/>
            <ac:spMk id="46" creationId="{5EDAE2A3-62C3-43E6-BBF2-1A1A1EBD0B6E}"/>
          </ac:spMkLst>
        </pc:spChg>
        <pc:spChg chg="mod">
          <ac:chgData name="Aurelien Domont" userId="6da7715ce44349b3" providerId="LiveId" clId="{484DD64F-11B8-41CE-8137-F22080D59C6C}" dt="2021-07-23T04:58:42.066" v="1727" actId="1038"/>
          <ac:spMkLst>
            <pc:docMk/>
            <pc:sldMk cId="1209091634" sldId="2192"/>
            <ac:spMk id="48" creationId="{76C9DD00-67A5-4365-A8E4-8BE79F30DFD3}"/>
          </ac:spMkLst>
        </pc:spChg>
        <pc:spChg chg="mod">
          <ac:chgData name="Aurelien Domont" userId="6da7715ce44349b3" providerId="LiveId" clId="{484DD64F-11B8-41CE-8137-F22080D59C6C}" dt="2021-07-23T04:57:06.972" v="1666" actId="1038"/>
          <ac:spMkLst>
            <pc:docMk/>
            <pc:sldMk cId="1209091634" sldId="2192"/>
            <ac:spMk id="49" creationId="{357A4FF3-34B5-4549-BAFF-E8D4357C8F42}"/>
          </ac:spMkLst>
        </pc:spChg>
        <pc:spChg chg="mod">
          <ac:chgData name="Aurelien Domont" userId="6da7715ce44349b3" providerId="LiveId" clId="{484DD64F-11B8-41CE-8137-F22080D59C6C}" dt="2021-07-23T04:57:13.770" v="1686" actId="1038"/>
          <ac:spMkLst>
            <pc:docMk/>
            <pc:sldMk cId="1209091634" sldId="2192"/>
            <ac:spMk id="50" creationId="{9F7306CF-551A-43F0-88F1-076DA251C3BE}"/>
          </ac:spMkLst>
        </pc:spChg>
        <pc:spChg chg="add mod">
          <ac:chgData name="Aurelien Domont" userId="6da7715ce44349b3" providerId="LiveId" clId="{484DD64F-11B8-41CE-8137-F22080D59C6C}" dt="2021-07-23T04:56:39.975" v="1629" actId="1038"/>
          <ac:spMkLst>
            <pc:docMk/>
            <pc:sldMk cId="1209091634" sldId="2192"/>
            <ac:spMk id="51" creationId="{F7737196-7906-4B97-80EC-7AD0065DD5D6}"/>
          </ac:spMkLst>
        </pc:spChg>
        <pc:spChg chg="mod">
          <ac:chgData name="Aurelien Domont" userId="6da7715ce44349b3" providerId="LiveId" clId="{484DD64F-11B8-41CE-8137-F22080D59C6C}" dt="2021-07-23T04:57:35.395" v="1711" actId="1038"/>
          <ac:spMkLst>
            <pc:docMk/>
            <pc:sldMk cId="1209091634" sldId="2192"/>
            <ac:spMk id="52" creationId="{82F73540-0B81-4EC5-9FE2-004B8ABC7144}"/>
          </ac:spMkLst>
        </pc:spChg>
        <pc:spChg chg="add del mod">
          <ac:chgData name="Aurelien Domont" userId="6da7715ce44349b3" providerId="LiveId" clId="{484DD64F-11B8-41CE-8137-F22080D59C6C}" dt="2021-07-23T04:56:07.907" v="1582" actId="478"/>
          <ac:spMkLst>
            <pc:docMk/>
            <pc:sldMk cId="1209091634" sldId="2192"/>
            <ac:spMk id="54" creationId="{AC47FE0F-593F-4D15-8E94-58E5FD146149}"/>
          </ac:spMkLst>
        </pc:spChg>
        <pc:spChg chg="add del mod">
          <ac:chgData name="Aurelien Domont" userId="6da7715ce44349b3" providerId="LiveId" clId="{484DD64F-11B8-41CE-8137-F22080D59C6C}" dt="2021-07-23T04:56:05.815" v="1581" actId="478"/>
          <ac:spMkLst>
            <pc:docMk/>
            <pc:sldMk cId="1209091634" sldId="2192"/>
            <ac:spMk id="55" creationId="{21B9227C-4F69-437C-9F6D-E4F3EF807579}"/>
          </ac:spMkLst>
        </pc:spChg>
        <pc:spChg chg="add del mod">
          <ac:chgData name="Aurelien Domont" userId="6da7715ce44349b3" providerId="LiveId" clId="{484DD64F-11B8-41CE-8137-F22080D59C6C}" dt="2021-07-23T04:56:09.601" v="1584" actId="478"/>
          <ac:spMkLst>
            <pc:docMk/>
            <pc:sldMk cId="1209091634" sldId="2192"/>
            <ac:spMk id="56" creationId="{00E82AF9-F823-4520-ACF4-16CCCC01A2F8}"/>
          </ac:spMkLst>
        </pc:spChg>
        <pc:picChg chg="mod">
          <ac:chgData name="Aurelien Domont" userId="6da7715ce44349b3" providerId="LiveId" clId="{484DD64F-11B8-41CE-8137-F22080D59C6C}" dt="2021-07-23T04:58:42.066" v="1727" actId="1038"/>
          <ac:picMkLst>
            <pc:docMk/>
            <pc:sldMk cId="1209091634" sldId="2192"/>
            <ac:picMk id="28" creationId="{FF355F01-F007-4C24-AA95-9E4FE7DF0ACD}"/>
          </ac:picMkLst>
        </pc:picChg>
        <pc:picChg chg="add mod">
          <ac:chgData name="Aurelien Domont" userId="6da7715ce44349b3" providerId="LiveId" clId="{484DD64F-11B8-41CE-8137-F22080D59C6C}" dt="2021-07-23T04:56:39.975" v="1629" actId="1038"/>
          <ac:picMkLst>
            <pc:docMk/>
            <pc:sldMk cId="1209091634" sldId="2192"/>
            <ac:picMk id="29" creationId="{CACEE143-239B-4F4D-A484-117591EBDFAE}"/>
          </ac:picMkLst>
        </pc:picChg>
        <pc:picChg chg="mod">
          <ac:chgData name="Aurelien Domont" userId="6da7715ce44349b3" providerId="LiveId" clId="{484DD64F-11B8-41CE-8137-F22080D59C6C}" dt="2021-07-23T04:57:06.972" v="1666" actId="1038"/>
          <ac:picMkLst>
            <pc:docMk/>
            <pc:sldMk cId="1209091634" sldId="2192"/>
            <ac:picMk id="31" creationId="{89979A0A-C018-44ED-8A86-BF1A8BB599EB}"/>
          </ac:picMkLst>
        </pc:picChg>
        <pc:picChg chg="mod">
          <ac:chgData name="Aurelien Domont" userId="6da7715ce44349b3" providerId="LiveId" clId="{484DD64F-11B8-41CE-8137-F22080D59C6C}" dt="2021-07-23T04:57:13.770" v="1686" actId="1038"/>
          <ac:picMkLst>
            <pc:docMk/>
            <pc:sldMk cId="1209091634" sldId="2192"/>
            <ac:picMk id="32" creationId="{1E632C31-E784-4327-B032-5A1C8A2B01A8}"/>
          </ac:picMkLst>
        </pc:picChg>
        <pc:picChg chg="mod">
          <ac:chgData name="Aurelien Domont" userId="6da7715ce44349b3" providerId="LiveId" clId="{484DD64F-11B8-41CE-8137-F22080D59C6C}" dt="2021-07-23T04:57:35.395" v="1711" actId="1038"/>
          <ac:picMkLst>
            <pc:docMk/>
            <pc:sldMk cId="1209091634" sldId="2192"/>
            <ac:picMk id="33" creationId="{E020A810-A41E-42A1-9544-5550D5B20660}"/>
          </ac:picMkLst>
        </pc:picChg>
      </pc:sldChg>
      <pc:sldChg chg="addSp modSp new del mod ord">
        <pc:chgData name="Aurelien Domont" userId="6da7715ce44349b3" providerId="LiveId" clId="{484DD64F-11B8-41CE-8137-F22080D59C6C}" dt="2021-07-23T04:44:17.308" v="1268" actId="47"/>
        <pc:sldMkLst>
          <pc:docMk/>
          <pc:sldMk cId="1830811153" sldId="2193"/>
        </pc:sldMkLst>
        <pc:spChg chg="add mod">
          <ac:chgData name="Aurelien Domont" userId="6da7715ce44349b3" providerId="LiveId" clId="{484DD64F-11B8-41CE-8137-F22080D59C6C}" dt="2021-07-21T04:11:38.653" v="37" actId="13822"/>
          <ac:spMkLst>
            <pc:docMk/>
            <pc:sldMk cId="1830811153" sldId="2193"/>
            <ac:spMk id="3" creationId="{5421F031-40D5-4DCD-8213-9FE6CEB0D16A}"/>
          </ac:spMkLst>
        </pc:spChg>
      </pc:sldChg>
      <pc:sldChg chg="addSp modSp add del mod ord">
        <pc:chgData name="Aurelien Domont" userId="6da7715ce44349b3" providerId="LiveId" clId="{484DD64F-11B8-41CE-8137-F22080D59C6C}" dt="2021-07-23T04:10:01.455" v="837" actId="47"/>
        <pc:sldMkLst>
          <pc:docMk/>
          <pc:sldMk cId="209758756" sldId="2194"/>
        </pc:sldMkLst>
        <pc:spChg chg="mod">
          <ac:chgData name="Aurelien Domont" userId="6da7715ce44349b3" providerId="LiveId" clId="{484DD64F-11B8-41CE-8137-F22080D59C6C}" dt="2021-07-21T04:14:37.856" v="104" actId="1035"/>
          <ac:spMkLst>
            <pc:docMk/>
            <pc:sldMk cId="209758756" sldId="2194"/>
            <ac:spMk id="6" creationId="{80C2FA24-C3FF-4F99-8694-BA262AB8070A}"/>
          </ac:spMkLst>
        </pc:spChg>
        <pc:spChg chg="mod">
          <ac:chgData name="Aurelien Domont" userId="6da7715ce44349b3" providerId="LiveId" clId="{484DD64F-11B8-41CE-8137-F22080D59C6C}" dt="2021-07-21T04:14:37.856" v="104" actId="1035"/>
          <ac:spMkLst>
            <pc:docMk/>
            <pc:sldMk cId="209758756" sldId="2194"/>
            <ac:spMk id="7" creationId="{AA474FA7-23F8-48D3-A4A1-46C7E7EF8CBF}"/>
          </ac:spMkLst>
        </pc:spChg>
        <pc:spChg chg="mod">
          <ac:chgData name="Aurelien Domont" userId="6da7715ce44349b3" providerId="LiveId" clId="{484DD64F-11B8-41CE-8137-F22080D59C6C}" dt="2021-07-21T04:14:37.856" v="104" actId="1035"/>
          <ac:spMkLst>
            <pc:docMk/>
            <pc:sldMk cId="209758756" sldId="2194"/>
            <ac:spMk id="8" creationId="{44D82846-5412-4854-9CE9-6BD4A4D3F201}"/>
          </ac:spMkLst>
        </pc:spChg>
        <pc:spChg chg="mod">
          <ac:chgData name="Aurelien Domont" userId="6da7715ce44349b3" providerId="LiveId" clId="{484DD64F-11B8-41CE-8137-F22080D59C6C}" dt="2021-07-21T04:14:49.904" v="107" actId="948"/>
          <ac:spMkLst>
            <pc:docMk/>
            <pc:sldMk cId="209758756" sldId="2194"/>
            <ac:spMk id="10" creationId="{F6F130AE-016B-49E7-B056-02422308B35C}"/>
          </ac:spMkLst>
        </pc:spChg>
        <pc:spChg chg="mod">
          <ac:chgData name="Aurelien Domont" userId="6da7715ce44349b3" providerId="LiveId" clId="{484DD64F-11B8-41CE-8137-F22080D59C6C}" dt="2021-07-21T04:14:45.756" v="105" actId="948"/>
          <ac:spMkLst>
            <pc:docMk/>
            <pc:sldMk cId="209758756" sldId="2194"/>
            <ac:spMk id="11" creationId="{381FC75F-03AC-4E06-95A5-77AA464D139B}"/>
          </ac:spMkLst>
        </pc:spChg>
        <pc:spChg chg="mod">
          <ac:chgData name="Aurelien Domont" userId="6da7715ce44349b3" providerId="LiveId" clId="{484DD64F-11B8-41CE-8137-F22080D59C6C}" dt="2021-07-21T04:14:48.366" v="106" actId="948"/>
          <ac:spMkLst>
            <pc:docMk/>
            <pc:sldMk cId="209758756" sldId="2194"/>
            <ac:spMk id="12" creationId="{F22BF9F2-93B5-4D57-85D0-BA4BB3074ECE}"/>
          </ac:spMkLst>
        </pc:spChg>
        <pc:spChg chg="add mod">
          <ac:chgData name="Aurelien Domont" userId="6da7715ce44349b3" providerId="LiveId" clId="{484DD64F-11B8-41CE-8137-F22080D59C6C}" dt="2021-07-21T04:27:49.407" v="340" actId="20577"/>
          <ac:spMkLst>
            <pc:docMk/>
            <pc:sldMk cId="209758756" sldId="2194"/>
            <ac:spMk id="15" creationId="{68E4A892-C126-4C2F-927C-D44F69692245}"/>
          </ac:spMkLst>
        </pc:spChg>
        <pc:spChg chg="mod">
          <ac:chgData name="Aurelien Domont" userId="6da7715ce44349b3" providerId="LiveId" clId="{484DD64F-11B8-41CE-8137-F22080D59C6C}" dt="2021-07-21T04:22:24.004" v="325" actId="20577"/>
          <ac:spMkLst>
            <pc:docMk/>
            <pc:sldMk cId="209758756" sldId="2194"/>
            <ac:spMk id="16" creationId="{6C2BB713-9637-4B9B-938F-E9768876782A}"/>
          </ac:spMkLst>
        </pc:spChg>
        <pc:spChg chg="add mod">
          <ac:chgData name="Aurelien Domont" userId="6da7715ce44349b3" providerId="LiveId" clId="{484DD64F-11B8-41CE-8137-F22080D59C6C}" dt="2021-07-21T04:28:04.512" v="345" actId="20577"/>
          <ac:spMkLst>
            <pc:docMk/>
            <pc:sldMk cId="209758756" sldId="2194"/>
            <ac:spMk id="17" creationId="{D405A784-5314-48D0-AFCA-C0161F0F4A5E}"/>
          </ac:spMkLst>
        </pc:spChg>
        <pc:cxnChg chg="mod">
          <ac:chgData name="Aurelien Domont" userId="6da7715ce44349b3" providerId="LiveId" clId="{484DD64F-11B8-41CE-8137-F22080D59C6C}" dt="2021-07-21T04:15:00.353" v="121" actId="14100"/>
          <ac:cxnSpMkLst>
            <pc:docMk/>
            <pc:sldMk cId="209758756" sldId="2194"/>
            <ac:cxnSpMk id="9" creationId="{938E2F11-EEE6-4CE3-AA18-0A0EFEAFC83C}"/>
          </ac:cxnSpMkLst>
        </pc:cxnChg>
        <pc:cxnChg chg="mod">
          <ac:chgData name="Aurelien Domont" userId="6da7715ce44349b3" providerId="LiveId" clId="{484DD64F-11B8-41CE-8137-F22080D59C6C}" dt="2021-07-21T04:15:00.353" v="121" actId="14100"/>
          <ac:cxnSpMkLst>
            <pc:docMk/>
            <pc:sldMk cId="209758756" sldId="2194"/>
            <ac:cxnSpMk id="14" creationId="{BD538E77-947C-4FAE-B4B2-3DD1EF8F7624}"/>
          </ac:cxnSpMkLst>
        </pc:cxnChg>
      </pc:sldChg>
      <pc:sldChg chg="add del">
        <pc:chgData name="Aurelien Domont" userId="6da7715ce44349b3" providerId="LiveId" clId="{484DD64F-11B8-41CE-8137-F22080D59C6C}" dt="2021-07-22T07:37:40.172" v="631" actId="47"/>
        <pc:sldMkLst>
          <pc:docMk/>
          <pc:sldMk cId="4176516040" sldId="2195"/>
        </pc:sldMkLst>
      </pc:sldChg>
      <pc:sldChg chg="addSp delSp modSp add del mod">
        <pc:chgData name="Aurelien Domont" userId="6da7715ce44349b3" providerId="LiveId" clId="{484DD64F-11B8-41CE-8137-F22080D59C6C}" dt="2021-07-23T04:27:10.813" v="1006" actId="47"/>
        <pc:sldMkLst>
          <pc:docMk/>
          <pc:sldMk cId="4294935817" sldId="2196"/>
        </pc:sldMkLst>
        <pc:spChg chg="del">
          <ac:chgData name="Aurelien Domont" userId="6da7715ce44349b3" providerId="LiveId" clId="{484DD64F-11B8-41CE-8137-F22080D59C6C}" dt="2021-07-21T04:26:04.653" v="327" actId="478"/>
          <ac:spMkLst>
            <pc:docMk/>
            <pc:sldMk cId="4294935817" sldId="2196"/>
            <ac:spMk id="6" creationId="{80C2FA24-C3FF-4F99-8694-BA262AB8070A}"/>
          </ac:spMkLst>
        </pc:spChg>
        <pc:spChg chg="del">
          <ac:chgData name="Aurelien Domont" userId="6da7715ce44349b3" providerId="LiveId" clId="{484DD64F-11B8-41CE-8137-F22080D59C6C}" dt="2021-07-21T04:26:04.653" v="327" actId="478"/>
          <ac:spMkLst>
            <pc:docMk/>
            <pc:sldMk cId="4294935817" sldId="2196"/>
            <ac:spMk id="7" creationId="{AA474FA7-23F8-48D3-A4A1-46C7E7EF8CBF}"/>
          </ac:spMkLst>
        </pc:spChg>
        <pc:spChg chg="del">
          <ac:chgData name="Aurelien Domont" userId="6da7715ce44349b3" providerId="LiveId" clId="{484DD64F-11B8-41CE-8137-F22080D59C6C}" dt="2021-07-21T04:26:04.653" v="327" actId="478"/>
          <ac:spMkLst>
            <pc:docMk/>
            <pc:sldMk cId="4294935817" sldId="2196"/>
            <ac:spMk id="8" creationId="{44D82846-5412-4854-9CE9-6BD4A4D3F201}"/>
          </ac:spMkLst>
        </pc:spChg>
        <pc:spChg chg="del">
          <ac:chgData name="Aurelien Domont" userId="6da7715ce44349b3" providerId="LiveId" clId="{484DD64F-11B8-41CE-8137-F22080D59C6C}" dt="2021-07-21T04:26:04.653" v="327" actId="478"/>
          <ac:spMkLst>
            <pc:docMk/>
            <pc:sldMk cId="4294935817" sldId="2196"/>
            <ac:spMk id="10" creationId="{F6F130AE-016B-49E7-B056-02422308B35C}"/>
          </ac:spMkLst>
        </pc:spChg>
        <pc:spChg chg="del">
          <ac:chgData name="Aurelien Domont" userId="6da7715ce44349b3" providerId="LiveId" clId="{484DD64F-11B8-41CE-8137-F22080D59C6C}" dt="2021-07-21T04:26:04.653" v="327" actId="478"/>
          <ac:spMkLst>
            <pc:docMk/>
            <pc:sldMk cId="4294935817" sldId="2196"/>
            <ac:spMk id="11" creationId="{381FC75F-03AC-4E06-95A5-77AA464D139B}"/>
          </ac:spMkLst>
        </pc:spChg>
        <pc:spChg chg="del">
          <ac:chgData name="Aurelien Domont" userId="6da7715ce44349b3" providerId="LiveId" clId="{484DD64F-11B8-41CE-8137-F22080D59C6C}" dt="2021-07-21T04:26:04.653" v="327" actId="478"/>
          <ac:spMkLst>
            <pc:docMk/>
            <pc:sldMk cId="4294935817" sldId="2196"/>
            <ac:spMk id="12" creationId="{F22BF9F2-93B5-4D57-85D0-BA4BB3074ECE}"/>
          </ac:spMkLst>
        </pc:spChg>
        <pc:spChg chg="del">
          <ac:chgData name="Aurelien Domont" userId="6da7715ce44349b3" providerId="LiveId" clId="{484DD64F-11B8-41CE-8137-F22080D59C6C}" dt="2021-07-21T04:26:04.653" v="327" actId="478"/>
          <ac:spMkLst>
            <pc:docMk/>
            <pc:sldMk cId="4294935817" sldId="2196"/>
            <ac:spMk id="15" creationId="{68E4A892-C126-4C2F-927C-D44F69692245}"/>
          </ac:spMkLst>
        </pc:spChg>
        <pc:spChg chg="del">
          <ac:chgData name="Aurelien Domont" userId="6da7715ce44349b3" providerId="LiveId" clId="{484DD64F-11B8-41CE-8137-F22080D59C6C}" dt="2021-07-21T04:26:04.653" v="327" actId="478"/>
          <ac:spMkLst>
            <pc:docMk/>
            <pc:sldMk cId="4294935817" sldId="2196"/>
            <ac:spMk id="17" creationId="{D405A784-5314-48D0-AFCA-C0161F0F4A5E}"/>
          </ac:spMkLst>
        </pc:spChg>
        <pc:spChg chg="add mod">
          <ac:chgData name="Aurelien Domont" userId="6da7715ce44349b3" providerId="LiveId" clId="{484DD64F-11B8-41CE-8137-F22080D59C6C}" dt="2021-07-21T04:26:08.302" v="328"/>
          <ac:spMkLst>
            <pc:docMk/>
            <pc:sldMk cId="4294935817" sldId="2196"/>
            <ac:spMk id="18" creationId="{16BD7F51-0767-4177-A440-B765CE76494D}"/>
          </ac:spMkLst>
        </pc:spChg>
        <pc:spChg chg="add mod">
          <ac:chgData name="Aurelien Domont" userId="6da7715ce44349b3" providerId="LiveId" clId="{484DD64F-11B8-41CE-8137-F22080D59C6C}" dt="2021-07-21T04:26:08.302" v="328"/>
          <ac:spMkLst>
            <pc:docMk/>
            <pc:sldMk cId="4294935817" sldId="2196"/>
            <ac:spMk id="19" creationId="{67AECFA0-9B8D-4EB1-93C9-D683C5FBF2C0}"/>
          </ac:spMkLst>
        </pc:spChg>
        <pc:cxnChg chg="del">
          <ac:chgData name="Aurelien Domont" userId="6da7715ce44349b3" providerId="LiveId" clId="{484DD64F-11B8-41CE-8137-F22080D59C6C}" dt="2021-07-21T04:26:04.653" v="327" actId="478"/>
          <ac:cxnSpMkLst>
            <pc:docMk/>
            <pc:sldMk cId="4294935817" sldId="2196"/>
            <ac:cxnSpMk id="9" creationId="{938E2F11-EEE6-4CE3-AA18-0A0EFEAFC83C}"/>
          </ac:cxnSpMkLst>
        </pc:cxnChg>
        <pc:cxnChg chg="del">
          <ac:chgData name="Aurelien Domont" userId="6da7715ce44349b3" providerId="LiveId" clId="{484DD64F-11B8-41CE-8137-F22080D59C6C}" dt="2021-07-21T04:26:04.653" v="327" actId="478"/>
          <ac:cxnSpMkLst>
            <pc:docMk/>
            <pc:sldMk cId="4294935817" sldId="2196"/>
            <ac:cxnSpMk id="14" creationId="{BD538E77-947C-4FAE-B4B2-3DD1EF8F7624}"/>
          </ac:cxnSpMkLst>
        </pc:cxnChg>
      </pc:sldChg>
      <pc:sldChg chg="addSp delSp modSp add del mod ord">
        <pc:chgData name="Aurelien Domont" userId="6da7715ce44349b3" providerId="LiveId" clId="{484DD64F-11B8-41CE-8137-F22080D59C6C}" dt="2021-07-23T04:10:03.869" v="838" actId="47"/>
        <pc:sldMkLst>
          <pc:docMk/>
          <pc:sldMk cId="3975634627" sldId="2197"/>
        </pc:sldMkLst>
        <pc:spChg chg="add mod">
          <ac:chgData name="Aurelien Domont" userId="6da7715ce44349b3" providerId="LiveId" clId="{484DD64F-11B8-41CE-8137-F22080D59C6C}" dt="2021-07-21T04:30:35.183" v="396" actId="1035"/>
          <ac:spMkLst>
            <pc:docMk/>
            <pc:sldMk cId="3975634627" sldId="2197"/>
            <ac:spMk id="2" creationId="{49C9F90D-3606-495B-9201-34A27BF7A42D}"/>
          </ac:spMkLst>
        </pc:spChg>
        <pc:spChg chg="mod">
          <ac:chgData name="Aurelien Domont" userId="6da7715ce44349b3" providerId="LiveId" clId="{484DD64F-11B8-41CE-8137-F22080D59C6C}" dt="2021-07-21T04:31:12.523" v="444" actId="20577"/>
          <ac:spMkLst>
            <pc:docMk/>
            <pc:sldMk cId="3975634627" sldId="2197"/>
            <ac:spMk id="15" creationId="{68E4A892-C126-4C2F-927C-D44F69692245}"/>
          </ac:spMkLst>
        </pc:spChg>
        <pc:spChg chg="mod">
          <ac:chgData name="Aurelien Domont" userId="6da7715ce44349b3" providerId="LiveId" clId="{484DD64F-11B8-41CE-8137-F22080D59C6C}" dt="2021-07-21T04:30:07.807" v="389" actId="20577"/>
          <ac:spMkLst>
            <pc:docMk/>
            <pc:sldMk cId="3975634627" sldId="2197"/>
            <ac:spMk id="16" creationId="{6C2BB713-9637-4B9B-938F-E9768876782A}"/>
          </ac:spMkLst>
        </pc:spChg>
        <pc:spChg chg="del">
          <ac:chgData name="Aurelien Domont" userId="6da7715ce44349b3" providerId="LiveId" clId="{484DD64F-11B8-41CE-8137-F22080D59C6C}" dt="2021-07-21T04:28:56.573" v="347" actId="478"/>
          <ac:spMkLst>
            <pc:docMk/>
            <pc:sldMk cId="3975634627" sldId="2197"/>
            <ac:spMk id="17" creationId="{D405A784-5314-48D0-AFCA-C0161F0F4A5E}"/>
          </ac:spMkLst>
        </pc:spChg>
        <pc:spChg chg="add mod">
          <ac:chgData name="Aurelien Domont" userId="6da7715ce44349b3" providerId="LiveId" clId="{484DD64F-11B8-41CE-8137-F22080D59C6C}" dt="2021-07-21T04:30:35.183" v="396" actId="1035"/>
          <ac:spMkLst>
            <pc:docMk/>
            <pc:sldMk cId="3975634627" sldId="2197"/>
            <ac:spMk id="18" creationId="{EE925BBA-D2EB-4000-BDB6-05D95DDF45F3}"/>
          </ac:spMkLst>
        </pc:spChg>
        <pc:spChg chg="add mod">
          <ac:chgData name="Aurelien Domont" userId="6da7715ce44349b3" providerId="LiveId" clId="{484DD64F-11B8-41CE-8137-F22080D59C6C}" dt="2021-07-21T04:30:35.183" v="396" actId="1035"/>
          <ac:spMkLst>
            <pc:docMk/>
            <pc:sldMk cId="3975634627" sldId="2197"/>
            <ac:spMk id="19" creationId="{D5B94190-586B-4762-8F62-7C91D7F01CE4}"/>
          </ac:spMkLst>
        </pc:spChg>
        <pc:spChg chg="add mod">
          <ac:chgData name="Aurelien Domont" userId="6da7715ce44349b3" providerId="LiveId" clId="{484DD64F-11B8-41CE-8137-F22080D59C6C}" dt="2021-07-21T04:30:35.183" v="396" actId="1035"/>
          <ac:spMkLst>
            <pc:docMk/>
            <pc:sldMk cId="3975634627" sldId="2197"/>
            <ac:spMk id="20" creationId="{8FB4C652-E152-4F9D-88FB-38C464AB1EF2}"/>
          </ac:spMkLst>
        </pc:spChg>
        <pc:spChg chg="add mod">
          <ac:chgData name="Aurelien Domont" userId="6da7715ce44349b3" providerId="LiveId" clId="{484DD64F-11B8-41CE-8137-F22080D59C6C}" dt="2021-07-21T04:30:35.183" v="396" actId="1035"/>
          <ac:spMkLst>
            <pc:docMk/>
            <pc:sldMk cId="3975634627" sldId="2197"/>
            <ac:spMk id="21" creationId="{F2437C52-010C-4EBF-BBCE-0E50591FB98A}"/>
          </ac:spMkLst>
        </pc:spChg>
        <pc:spChg chg="add mod">
          <ac:chgData name="Aurelien Domont" userId="6da7715ce44349b3" providerId="LiveId" clId="{484DD64F-11B8-41CE-8137-F22080D59C6C}" dt="2021-07-21T04:30:35.183" v="396" actId="1035"/>
          <ac:spMkLst>
            <pc:docMk/>
            <pc:sldMk cId="3975634627" sldId="2197"/>
            <ac:spMk id="22" creationId="{56D41D08-58DE-4B01-AFB6-B3B5DA2F554F}"/>
          </ac:spMkLst>
        </pc:spChg>
        <pc:spChg chg="add mod">
          <ac:chgData name="Aurelien Domont" userId="6da7715ce44349b3" providerId="LiveId" clId="{484DD64F-11B8-41CE-8137-F22080D59C6C}" dt="2021-07-21T04:30:35.183" v="396" actId="1035"/>
          <ac:spMkLst>
            <pc:docMk/>
            <pc:sldMk cId="3975634627" sldId="2197"/>
            <ac:spMk id="23" creationId="{EA6679B0-9960-4EF1-8A84-788EE5B4064E}"/>
          </ac:spMkLst>
        </pc:spChg>
        <pc:spChg chg="add mod">
          <ac:chgData name="Aurelien Domont" userId="6da7715ce44349b3" providerId="LiveId" clId="{484DD64F-11B8-41CE-8137-F22080D59C6C}" dt="2021-07-21T04:30:35.183" v="396" actId="1035"/>
          <ac:spMkLst>
            <pc:docMk/>
            <pc:sldMk cId="3975634627" sldId="2197"/>
            <ac:spMk id="24" creationId="{267A9F5F-6FAE-4790-85DC-D47AE16B0E9F}"/>
          </ac:spMkLst>
        </pc:spChg>
        <pc:spChg chg="add mod">
          <ac:chgData name="Aurelien Domont" userId="6da7715ce44349b3" providerId="LiveId" clId="{484DD64F-11B8-41CE-8137-F22080D59C6C}" dt="2021-07-21T04:30:35.183" v="396" actId="1035"/>
          <ac:spMkLst>
            <pc:docMk/>
            <pc:sldMk cId="3975634627" sldId="2197"/>
            <ac:spMk id="25" creationId="{CC7E98FA-3E5D-4DCC-9070-63922C461F93}"/>
          </ac:spMkLst>
        </pc:spChg>
        <pc:spChg chg="add mod">
          <ac:chgData name="Aurelien Domont" userId="6da7715ce44349b3" providerId="LiveId" clId="{484DD64F-11B8-41CE-8137-F22080D59C6C}" dt="2021-07-21T04:30:35.183" v="396" actId="1035"/>
          <ac:spMkLst>
            <pc:docMk/>
            <pc:sldMk cId="3975634627" sldId="2197"/>
            <ac:spMk id="26" creationId="{C7991C61-A51D-4A0F-91E9-FC63D6829799}"/>
          </ac:spMkLst>
        </pc:spChg>
        <pc:spChg chg="add mod">
          <ac:chgData name="Aurelien Domont" userId="6da7715ce44349b3" providerId="LiveId" clId="{484DD64F-11B8-41CE-8137-F22080D59C6C}" dt="2021-07-21T04:30:35.183" v="396" actId="1035"/>
          <ac:spMkLst>
            <pc:docMk/>
            <pc:sldMk cId="3975634627" sldId="2197"/>
            <ac:spMk id="27" creationId="{69E83687-111F-4C8F-82F8-1100A830A799}"/>
          </ac:spMkLst>
        </pc:spChg>
        <pc:spChg chg="add mod">
          <ac:chgData name="Aurelien Domont" userId="6da7715ce44349b3" providerId="LiveId" clId="{484DD64F-11B8-41CE-8137-F22080D59C6C}" dt="2021-07-21T04:30:35.183" v="396" actId="1035"/>
          <ac:spMkLst>
            <pc:docMk/>
            <pc:sldMk cId="3975634627" sldId="2197"/>
            <ac:spMk id="28" creationId="{3BB8DC63-D8AC-44B7-AD6B-3344E0157ED9}"/>
          </ac:spMkLst>
        </pc:spChg>
        <pc:spChg chg="add mod">
          <ac:chgData name="Aurelien Domont" userId="6da7715ce44349b3" providerId="LiveId" clId="{484DD64F-11B8-41CE-8137-F22080D59C6C}" dt="2021-07-21T04:30:35.183" v="396" actId="1035"/>
          <ac:spMkLst>
            <pc:docMk/>
            <pc:sldMk cId="3975634627" sldId="2197"/>
            <ac:spMk id="29" creationId="{3FAD4126-4F73-43D3-8CAA-EDADF7C21270}"/>
          </ac:spMkLst>
        </pc:spChg>
        <pc:spChg chg="add mod">
          <ac:chgData name="Aurelien Domont" userId="6da7715ce44349b3" providerId="LiveId" clId="{484DD64F-11B8-41CE-8137-F22080D59C6C}" dt="2021-07-21T04:31:58.523" v="450" actId="20577"/>
          <ac:spMkLst>
            <pc:docMk/>
            <pc:sldMk cId="3975634627" sldId="2197"/>
            <ac:spMk id="30" creationId="{DF3BA851-E92A-44AA-8DFF-1F3C447EF430}"/>
          </ac:spMkLst>
        </pc:spChg>
      </pc:sldChg>
      <pc:sldChg chg="addSp delSp modSp del mod ord">
        <pc:chgData name="Aurelien Domont" userId="6da7715ce44349b3" providerId="LiveId" clId="{484DD64F-11B8-41CE-8137-F22080D59C6C}" dt="2021-07-23T04:10:06.457" v="839" actId="47"/>
        <pc:sldMkLst>
          <pc:docMk/>
          <pc:sldMk cId="937669423" sldId="2198"/>
        </pc:sldMkLst>
        <pc:spChg chg="mod">
          <ac:chgData name="Aurelien Domont" userId="6da7715ce44349b3" providerId="LiveId" clId="{484DD64F-11B8-41CE-8137-F22080D59C6C}" dt="2021-07-22T07:36:44.201" v="618" actId="1038"/>
          <ac:spMkLst>
            <pc:docMk/>
            <pc:sldMk cId="937669423" sldId="2198"/>
            <ac:spMk id="2" creationId="{49C9F90D-3606-495B-9201-34A27BF7A42D}"/>
          </ac:spMkLst>
        </pc:spChg>
        <pc:spChg chg="mod">
          <ac:chgData name="Aurelien Domont" userId="6da7715ce44349b3" providerId="LiveId" clId="{484DD64F-11B8-41CE-8137-F22080D59C6C}" dt="2021-07-22T07:36:39.679" v="616" actId="14100"/>
          <ac:spMkLst>
            <pc:docMk/>
            <pc:sldMk cId="937669423" sldId="2198"/>
            <ac:spMk id="3" creationId="{99E3DBA2-B4B6-4ECE-8106-2DABAA5319D4}"/>
          </ac:spMkLst>
        </pc:spChg>
        <pc:spChg chg="add del mod">
          <ac:chgData name="Aurelien Domont" userId="6da7715ce44349b3" providerId="LiveId" clId="{484DD64F-11B8-41CE-8137-F22080D59C6C}" dt="2021-07-22T07:36:26.489" v="614" actId="478"/>
          <ac:spMkLst>
            <pc:docMk/>
            <pc:sldMk cId="937669423" sldId="2198"/>
            <ac:spMk id="4" creationId="{9818C474-CA77-4548-9E08-86666461ED54}"/>
          </ac:spMkLst>
        </pc:spChg>
        <pc:spChg chg="mod">
          <ac:chgData name="Aurelien Domont" userId="6da7715ce44349b3" providerId="LiveId" clId="{484DD64F-11B8-41CE-8137-F22080D59C6C}" dt="2021-07-22T07:28:25.538" v="557" actId="20577"/>
          <ac:spMkLst>
            <pc:docMk/>
            <pc:sldMk cId="937669423" sldId="2198"/>
            <ac:spMk id="16" creationId="{6C2BB713-9637-4B9B-938F-E9768876782A}"/>
          </ac:spMkLst>
        </pc:spChg>
        <pc:spChg chg="mod">
          <ac:chgData name="Aurelien Domont" userId="6da7715ce44349b3" providerId="LiveId" clId="{484DD64F-11B8-41CE-8137-F22080D59C6C}" dt="2021-07-22T07:36:44.201" v="618" actId="1038"/>
          <ac:spMkLst>
            <pc:docMk/>
            <pc:sldMk cId="937669423" sldId="2198"/>
            <ac:spMk id="18" creationId="{EE925BBA-D2EB-4000-BDB6-05D95DDF45F3}"/>
          </ac:spMkLst>
        </pc:spChg>
        <pc:spChg chg="mod">
          <ac:chgData name="Aurelien Domont" userId="6da7715ce44349b3" providerId="LiveId" clId="{484DD64F-11B8-41CE-8137-F22080D59C6C}" dt="2021-07-22T07:36:44.201" v="618" actId="1038"/>
          <ac:spMkLst>
            <pc:docMk/>
            <pc:sldMk cId="937669423" sldId="2198"/>
            <ac:spMk id="19" creationId="{D5B94190-586B-4762-8F62-7C91D7F01CE4}"/>
          </ac:spMkLst>
        </pc:spChg>
        <pc:spChg chg="mod">
          <ac:chgData name="Aurelien Domont" userId="6da7715ce44349b3" providerId="LiveId" clId="{484DD64F-11B8-41CE-8137-F22080D59C6C}" dt="2021-07-22T07:36:44.201" v="618" actId="1038"/>
          <ac:spMkLst>
            <pc:docMk/>
            <pc:sldMk cId="937669423" sldId="2198"/>
            <ac:spMk id="20" creationId="{8FB4C652-E152-4F9D-88FB-38C464AB1EF2}"/>
          </ac:spMkLst>
        </pc:spChg>
        <pc:spChg chg="mod">
          <ac:chgData name="Aurelien Domont" userId="6da7715ce44349b3" providerId="LiveId" clId="{484DD64F-11B8-41CE-8137-F22080D59C6C}" dt="2021-07-22T07:36:44.201" v="618" actId="1038"/>
          <ac:spMkLst>
            <pc:docMk/>
            <pc:sldMk cId="937669423" sldId="2198"/>
            <ac:spMk id="21" creationId="{F2437C52-010C-4EBF-BBCE-0E50591FB98A}"/>
          </ac:spMkLst>
        </pc:spChg>
        <pc:spChg chg="mod">
          <ac:chgData name="Aurelien Domont" userId="6da7715ce44349b3" providerId="LiveId" clId="{484DD64F-11B8-41CE-8137-F22080D59C6C}" dt="2021-07-22T07:36:44.201" v="618" actId="1038"/>
          <ac:spMkLst>
            <pc:docMk/>
            <pc:sldMk cId="937669423" sldId="2198"/>
            <ac:spMk id="22" creationId="{56D41D08-58DE-4B01-AFB6-B3B5DA2F554F}"/>
          </ac:spMkLst>
        </pc:spChg>
        <pc:spChg chg="mod">
          <ac:chgData name="Aurelien Domont" userId="6da7715ce44349b3" providerId="LiveId" clId="{484DD64F-11B8-41CE-8137-F22080D59C6C}" dt="2021-07-22T07:36:44.201" v="618" actId="1038"/>
          <ac:spMkLst>
            <pc:docMk/>
            <pc:sldMk cId="937669423" sldId="2198"/>
            <ac:spMk id="23" creationId="{EA6679B0-9960-4EF1-8A84-788EE5B4064E}"/>
          </ac:spMkLst>
        </pc:spChg>
        <pc:spChg chg="mod">
          <ac:chgData name="Aurelien Domont" userId="6da7715ce44349b3" providerId="LiveId" clId="{484DD64F-11B8-41CE-8137-F22080D59C6C}" dt="2021-07-22T07:36:44.201" v="618" actId="1038"/>
          <ac:spMkLst>
            <pc:docMk/>
            <pc:sldMk cId="937669423" sldId="2198"/>
            <ac:spMk id="24" creationId="{267A9F5F-6FAE-4790-85DC-D47AE16B0E9F}"/>
          </ac:spMkLst>
        </pc:spChg>
        <pc:spChg chg="mod">
          <ac:chgData name="Aurelien Domont" userId="6da7715ce44349b3" providerId="LiveId" clId="{484DD64F-11B8-41CE-8137-F22080D59C6C}" dt="2021-07-22T07:36:44.201" v="618" actId="1038"/>
          <ac:spMkLst>
            <pc:docMk/>
            <pc:sldMk cId="937669423" sldId="2198"/>
            <ac:spMk id="25" creationId="{CC7E98FA-3E5D-4DCC-9070-63922C461F93}"/>
          </ac:spMkLst>
        </pc:spChg>
        <pc:spChg chg="mod">
          <ac:chgData name="Aurelien Domont" userId="6da7715ce44349b3" providerId="LiveId" clId="{484DD64F-11B8-41CE-8137-F22080D59C6C}" dt="2021-07-22T07:36:44.201" v="618" actId="1038"/>
          <ac:spMkLst>
            <pc:docMk/>
            <pc:sldMk cId="937669423" sldId="2198"/>
            <ac:spMk id="26" creationId="{C7991C61-A51D-4A0F-91E9-FC63D6829799}"/>
          </ac:spMkLst>
        </pc:spChg>
        <pc:spChg chg="mod">
          <ac:chgData name="Aurelien Domont" userId="6da7715ce44349b3" providerId="LiveId" clId="{484DD64F-11B8-41CE-8137-F22080D59C6C}" dt="2021-07-22T07:36:44.201" v="618" actId="1038"/>
          <ac:spMkLst>
            <pc:docMk/>
            <pc:sldMk cId="937669423" sldId="2198"/>
            <ac:spMk id="27" creationId="{69E83687-111F-4C8F-82F8-1100A830A799}"/>
          </ac:spMkLst>
        </pc:spChg>
        <pc:spChg chg="mod">
          <ac:chgData name="Aurelien Domont" userId="6da7715ce44349b3" providerId="LiveId" clId="{484DD64F-11B8-41CE-8137-F22080D59C6C}" dt="2021-07-22T07:36:44.201" v="618" actId="1038"/>
          <ac:spMkLst>
            <pc:docMk/>
            <pc:sldMk cId="937669423" sldId="2198"/>
            <ac:spMk id="28" creationId="{3BB8DC63-D8AC-44B7-AD6B-3344E0157ED9}"/>
          </ac:spMkLst>
        </pc:spChg>
        <pc:spChg chg="mod">
          <ac:chgData name="Aurelien Domont" userId="6da7715ce44349b3" providerId="LiveId" clId="{484DD64F-11B8-41CE-8137-F22080D59C6C}" dt="2021-07-22T07:36:44.201" v="618" actId="1038"/>
          <ac:spMkLst>
            <pc:docMk/>
            <pc:sldMk cId="937669423" sldId="2198"/>
            <ac:spMk id="29" creationId="{3FAD4126-4F73-43D3-8CAA-EDADF7C21270}"/>
          </ac:spMkLst>
        </pc:spChg>
        <pc:spChg chg="mod">
          <ac:chgData name="Aurelien Domont" userId="6da7715ce44349b3" providerId="LiveId" clId="{484DD64F-11B8-41CE-8137-F22080D59C6C}" dt="2021-07-22T07:36:44.201" v="618" actId="1038"/>
          <ac:spMkLst>
            <pc:docMk/>
            <pc:sldMk cId="937669423" sldId="2198"/>
            <ac:spMk id="30" creationId="{DF3BA851-E92A-44AA-8DFF-1F3C447EF430}"/>
          </ac:spMkLst>
        </pc:spChg>
      </pc:sldChg>
      <pc:sldChg chg="modSp add del mod ord">
        <pc:chgData name="Aurelien Domont" userId="6da7715ce44349b3" providerId="LiveId" clId="{484DD64F-11B8-41CE-8137-F22080D59C6C}" dt="2021-07-23T04:10:12.382" v="840" actId="47"/>
        <pc:sldMkLst>
          <pc:docMk/>
          <pc:sldMk cId="3807262441" sldId="2199"/>
        </pc:sldMkLst>
        <pc:spChg chg="mod">
          <ac:chgData name="Aurelien Domont" userId="6da7715ce44349b3" providerId="LiveId" clId="{484DD64F-11B8-41CE-8137-F22080D59C6C}" dt="2021-07-22T07:34:16.098" v="571" actId="20577"/>
          <ac:spMkLst>
            <pc:docMk/>
            <pc:sldMk cId="3807262441" sldId="2199"/>
            <ac:spMk id="2" creationId="{49C9F90D-3606-495B-9201-34A27BF7A42D}"/>
          </ac:spMkLst>
        </pc:spChg>
        <pc:spChg chg="mod">
          <ac:chgData name="Aurelien Domont" userId="6da7715ce44349b3" providerId="LiveId" clId="{484DD64F-11B8-41CE-8137-F22080D59C6C}" dt="2021-07-22T07:35:00.351" v="575" actId="14100"/>
          <ac:spMkLst>
            <pc:docMk/>
            <pc:sldMk cId="3807262441" sldId="2199"/>
            <ac:spMk id="3" creationId="{99E3DBA2-B4B6-4ECE-8106-2DABAA5319D4}"/>
          </ac:spMkLst>
        </pc:spChg>
        <pc:spChg chg="mod">
          <ac:chgData name="Aurelien Domont" userId="6da7715ce44349b3" providerId="LiveId" clId="{484DD64F-11B8-41CE-8137-F22080D59C6C}" dt="2021-07-22T07:34:54.780" v="574" actId="14100"/>
          <ac:spMkLst>
            <pc:docMk/>
            <pc:sldMk cId="3807262441" sldId="2199"/>
            <ac:spMk id="4" creationId="{9818C474-CA77-4548-9E08-86666461ED54}"/>
          </ac:spMkLst>
        </pc:spChg>
        <pc:spChg chg="mod">
          <ac:chgData name="Aurelien Domont" userId="6da7715ce44349b3" providerId="LiveId" clId="{484DD64F-11B8-41CE-8137-F22080D59C6C}" dt="2021-07-22T07:29:36.112" v="566" actId="404"/>
          <ac:spMkLst>
            <pc:docMk/>
            <pc:sldMk cId="3807262441" sldId="2199"/>
            <ac:spMk id="10" creationId="{F6F130AE-016B-49E7-B056-02422308B35C}"/>
          </ac:spMkLst>
        </pc:spChg>
        <pc:spChg chg="mod">
          <ac:chgData name="Aurelien Domont" userId="6da7715ce44349b3" providerId="LiveId" clId="{484DD64F-11B8-41CE-8137-F22080D59C6C}" dt="2021-07-22T07:29:36.112" v="566" actId="404"/>
          <ac:spMkLst>
            <pc:docMk/>
            <pc:sldMk cId="3807262441" sldId="2199"/>
            <ac:spMk id="11" creationId="{381FC75F-03AC-4E06-95A5-77AA464D139B}"/>
          </ac:spMkLst>
        </pc:spChg>
        <pc:spChg chg="mod">
          <ac:chgData name="Aurelien Domont" userId="6da7715ce44349b3" providerId="LiveId" clId="{484DD64F-11B8-41CE-8137-F22080D59C6C}" dt="2021-07-22T07:29:36.112" v="566" actId="404"/>
          <ac:spMkLst>
            <pc:docMk/>
            <pc:sldMk cId="3807262441" sldId="2199"/>
            <ac:spMk id="12" creationId="{F22BF9F2-93B5-4D57-85D0-BA4BB3074ECE}"/>
          </ac:spMkLst>
        </pc:spChg>
        <pc:spChg chg="mod">
          <ac:chgData name="Aurelien Domont" userId="6da7715ce44349b3" providerId="LiveId" clId="{484DD64F-11B8-41CE-8137-F22080D59C6C}" dt="2021-07-22T07:29:27.866" v="565" actId="207"/>
          <ac:spMkLst>
            <pc:docMk/>
            <pc:sldMk cId="3807262441" sldId="2199"/>
            <ac:spMk id="15" creationId="{68E4A892-C126-4C2F-927C-D44F69692245}"/>
          </ac:spMkLst>
        </pc:spChg>
        <pc:spChg chg="mod">
          <ac:chgData name="Aurelien Domont" userId="6da7715ce44349b3" providerId="LiveId" clId="{484DD64F-11B8-41CE-8137-F22080D59C6C}" dt="2021-07-22T07:35:43.108" v="576" actId="20577"/>
          <ac:spMkLst>
            <pc:docMk/>
            <pc:sldMk cId="3807262441" sldId="2199"/>
            <ac:spMk id="16" creationId="{6C2BB713-9637-4B9B-938F-E9768876782A}"/>
          </ac:spMkLst>
        </pc:spChg>
        <pc:spChg chg="mod">
          <ac:chgData name="Aurelien Domont" userId="6da7715ce44349b3" providerId="LiveId" clId="{484DD64F-11B8-41CE-8137-F22080D59C6C}" dt="2021-07-22T07:36:12.982" v="613" actId="20577"/>
          <ac:spMkLst>
            <pc:docMk/>
            <pc:sldMk cId="3807262441" sldId="2199"/>
            <ac:spMk id="18" creationId="{EE925BBA-D2EB-4000-BDB6-05D95DDF45F3}"/>
          </ac:spMkLst>
        </pc:spChg>
        <pc:spChg chg="mod">
          <ac:chgData name="Aurelien Domont" userId="6da7715ce44349b3" providerId="LiveId" clId="{484DD64F-11B8-41CE-8137-F22080D59C6C}" dt="2021-07-22T07:34:18.463" v="572" actId="20577"/>
          <ac:spMkLst>
            <pc:docMk/>
            <pc:sldMk cId="3807262441" sldId="2199"/>
            <ac:spMk id="24" creationId="{267A9F5F-6FAE-4790-85DC-D47AE16B0E9F}"/>
          </ac:spMkLst>
        </pc:spChg>
      </pc:sldChg>
      <pc:sldChg chg="addSp delSp modSp add mod">
        <pc:chgData name="Aurelien Domont" userId="6da7715ce44349b3" providerId="LiveId" clId="{484DD64F-11B8-41CE-8137-F22080D59C6C}" dt="2021-07-23T05:48:29.900" v="1744" actId="478"/>
        <pc:sldMkLst>
          <pc:docMk/>
          <pc:sldMk cId="1270591852" sldId="2200"/>
        </pc:sldMkLst>
        <pc:spChg chg="mod">
          <ac:chgData name="Aurelien Domont" userId="6da7715ce44349b3" providerId="LiveId" clId="{484DD64F-11B8-41CE-8137-F22080D59C6C}" dt="2021-07-23T04:31:17.309" v="1074" actId="3064"/>
          <ac:spMkLst>
            <pc:docMk/>
            <pc:sldMk cId="1270591852" sldId="2200"/>
            <ac:spMk id="2" creationId="{49C9F90D-3606-495B-9201-34A27BF7A42D}"/>
          </ac:spMkLst>
        </pc:spChg>
        <pc:spChg chg="mod">
          <ac:chgData name="Aurelien Domont" userId="6da7715ce44349b3" providerId="LiveId" clId="{484DD64F-11B8-41CE-8137-F22080D59C6C}" dt="2021-07-23T04:28:47.730" v="1009" actId="14100"/>
          <ac:spMkLst>
            <pc:docMk/>
            <pc:sldMk cId="1270591852" sldId="2200"/>
            <ac:spMk id="3" creationId="{99E3DBA2-B4B6-4ECE-8106-2DABAA5319D4}"/>
          </ac:spMkLst>
        </pc:spChg>
        <pc:spChg chg="add del mod">
          <ac:chgData name="Aurelien Domont" userId="6da7715ce44349b3" providerId="LiveId" clId="{484DD64F-11B8-41CE-8137-F22080D59C6C}" dt="2021-07-23T05:48:29.900" v="1744" actId="478"/>
          <ac:spMkLst>
            <pc:docMk/>
            <pc:sldMk cId="1270591852" sldId="2200"/>
            <ac:spMk id="4" creationId="{3E503C6A-4269-4CF1-A0DB-28E1AB7DA9FD}"/>
          </ac:spMkLst>
        </pc:spChg>
        <pc:spChg chg="mod">
          <ac:chgData name="Aurelien Domont" userId="6da7715ce44349b3" providerId="LiveId" clId="{484DD64F-11B8-41CE-8137-F22080D59C6C}" dt="2021-07-22T07:52:07.983" v="818" actId="14100"/>
          <ac:spMkLst>
            <pc:docMk/>
            <pc:sldMk cId="1270591852" sldId="2200"/>
            <ac:spMk id="6" creationId="{80C2FA24-C3FF-4F99-8694-BA262AB8070A}"/>
          </ac:spMkLst>
        </pc:spChg>
        <pc:spChg chg="mod">
          <ac:chgData name="Aurelien Domont" userId="6da7715ce44349b3" providerId="LiveId" clId="{484DD64F-11B8-41CE-8137-F22080D59C6C}" dt="2021-07-22T07:52:07.983" v="818" actId="14100"/>
          <ac:spMkLst>
            <pc:docMk/>
            <pc:sldMk cId="1270591852" sldId="2200"/>
            <ac:spMk id="7" creationId="{AA474FA7-23F8-48D3-A4A1-46C7E7EF8CBF}"/>
          </ac:spMkLst>
        </pc:spChg>
        <pc:spChg chg="mod">
          <ac:chgData name="Aurelien Domont" userId="6da7715ce44349b3" providerId="LiveId" clId="{484DD64F-11B8-41CE-8137-F22080D59C6C}" dt="2021-07-22T07:52:07.983" v="818" actId="14100"/>
          <ac:spMkLst>
            <pc:docMk/>
            <pc:sldMk cId="1270591852" sldId="2200"/>
            <ac:spMk id="8" creationId="{44D82846-5412-4854-9CE9-6BD4A4D3F201}"/>
          </ac:spMkLst>
        </pc:spChg>
        <pc:spChg chg="mod">
          <ac:chgData name="Aurelien Domont" userId="6da7715ce44349b3" providerId="LiveId" clId="{484DD64F-11B8-41CE-8137-F22080D59C6C}" dt="2021-07-22T07:47:21.228" v="756" actId="1035"/>
          <ac:spMkLst>
            <pc:docMk/>
            <pc:sldMk cId="1270591852" sldId="2200"/>
            <ac:spMk id="10" creationId="{F6F130AE-016B-49E7-B056-02422308B35C}"/>
          </ac:spMkLst>
        </pc:spChg>
        <pc:spChg chg="mod">
          <ac:chgData name="Aurelien Domont" userId="6da7715ce44349b3" providerId="LiveId" clId="{484DD64F-11B8-41CE-8137-F22080D59C6C}" dt="2021-07-22T07:47:21.228" v="756" actId="1035"/>
          <ac:spMkLst>
            <pc:docMk/>
            <pc:sldMk cId="1270591852" sldId="2200"/>
            <ac:spMk id="11" creationId="{381FC75F-03AC-4E06-95A5-77AA464D139B}"/>
          </ac:spMkLst>
        </pc:spChg>
        <pc:spChg chg="mod">
          <ac:chgData name="Aurelien Domont" userId="6da7715ce44349b3" providerId="LiveId" clId="{484DD64F-11B8-41CE-8137-F22080D59C6C}" dt="2021-07-22T07:47:21.228" v="756" actId="1035"/>
          <ac:spMkLst>
            <pc:docMk/>
            <pc:sldMk cId="1270591852" sldId="2200"/>
            <ac:spMk id="12" creationId="{F22BF9F2-93B5-4D57-85D0-BA4BB3074ECE}"/>
          </ac:spMkLst>
        </pc:spChg>
        <pc:spChg chg="del">
          <ac:chgData name="Aurelien Domont" userId="6da7715ce44349b3" providerId="LiveId" clId="{484DD64F-11B8-41CE-8137-F22080D59C6C}" dt="2021-07-22T07:46:21.269" v="700" actId="478"/>
          <ac:spMkLst>
            <pc:docMk/>
            <pc:sldMk cId="1270591852" sldId="2200"/>
            <ac:spMk id="15" creationId="{68E4A892-C126-4C2F-927C-D44F69692245}"/>
          </ac:spMkLst>
        </pc:spChg>
        <pc:spChg chg="mod">
          <ac:chgData name="Aurelien Domont" userId="6da7715ce44349b3" providerId="LiveId" clId="{484DD64F-11B8-41CE-8137-F22080D59C6C}" dt="2021-07-23T04:25:56.121" v="1004" actId="20577"/>
          <ac:spMkLst>
            <pc:docMk/>
            <pc:sldMk cId="1270591852" sldId="2200"/>
            <ac:spMk id="16" creationId="{6C2BB713-9637-4B9B-938F-E9768876782A}"/>
          </ac:spMkLst>
        </pc:spChg>
        <pc:spChg chg="mod">
          <ac:chgData name="Aurelien Domont" userId="6da7715ce44349b3" providerId="LiveId" clId="{484DD64F-11B8-41CE-8137-F22080D59C6C}" dt="2021-07-23T04:31:17.309" v="1074" actId="3064"/>
          <ac:spMkLst>
            <pc:docMk/>
            <pc:sldMk cId="1270591852" sldId="2200"/>
            <ac:spMk id="18" creationId="{EE925BBA-D2EB-4000-BDB6-05D95DDF45F3}"/>
          </ac:spMkLst>
        </pc:spChg>
        <pc:spChg chg="mod">
          <ac:chgData name="Aurelien Domont" userId="6da7715ce44349b3" providerId="LiveId" clId="{484DD64F-11B8-41CE-8137-F22080D59C6C}" dt="2021-07-23T04:31:55.566" v="1082" actId="20577"/>
          <ac:spMkLst>
            <pc:docMk/>
            <pc:sldMk cId="1270591852" sldId="2200"/>
            <ac:spMk id="19" creationId="{D5B94190-586B-4762-8F62-7C91D7F01CE4}"/>
          </ac:spMkLst>
        </pc:spChg>
        <pc:spChg chg="mod">
          <ac:chgData name="Aurelien Domont" userId="6da7715ce44349b3" providerId="LiveId" clId="{484DD64F-11B8-41CE-8137-F22080D59C6C}" dt="2021-07-23T04:31:46.625" v="1079" actId="20577"/>
          <ac:spMkLst>
            <pc:docMk/>
            <pc:sldMk cId="1270591852" sldId="2200"/>
            <ac:spMk id="20" creationId="{8FB4C652-E152-4F9D-88FB-38C464AB1EF2}"/>
          </ac:spMkLst>
        </pc:spChg>
        <pc:spChg chg="mod">
          <ac:chgData name="Aurelien Domont" userId="6da7715ce44349b3" providerId="LiveId" clId="{484DD64F-11B8-41CE-8137-F22080D59C6C}" dt="2021-07-23T04:32:08.493" v="1087" actId="20577"/>
          <ac:spMkLst>
            <pc:docMk/>
            <pc:sldMk cId="1270591852" sldId="2200"/>
            <ac:spMk id="21" creationId="{F2437C52-010C-4EBF-BBCE-0E50591FB98A}"/>
          </ac:spMkLst>
        </pc:spChg>
        <pc:spChg chg="mod">
          <ac:chgData name="Aurelien Domont" userId="6da7715ce44349b3" providerId="LiveId" clId="{484DD64F-11B8-41CE-8137-F22080D59C6C}" dt="2021-07-23T04:32:16.551" v="1091" actId="20577"/>
          <ac:spMkLst>
            <pc:docMk/>
            <pc:sldMk cId="1270591852" sldId="2200"/>
            <ac:spMk id="22" creationId="{56D41D08-58DE-4B01-AFB6-B3B5DA2F554F}"/>
          </ac:spMkLst>
        </pc:spChg>
        <pc:spChg chg="mod">
          <ac:chgData name="Aurelien Domont" userId="6da7715ce44349b3" providerId="LiveId" clId="{484DD64F-11B8-41CE-8137-F22080D59C6C}" dt="2021-07-23T05:30:10.511" v="1730" actId="21"/>
          <ac:spMkLst>
            <pc:docMk/>
            <pc:sldMk cId="1270591852" sldId="2200"/>
            <ac:spMk id="23" creationId="{EA6679B0-9960-4EF1-8A84-788EE5B4064E}"/>
          </ac:spMkLst>
        </pc:spChg>
        <pc:spChg chg="mod">
          <ac:chgData name="Aurelien Domont" userId="6da7715ce44349b3" providerId="LiveId" clId="{484DD64F-11B8-41CE-8137-F22080D59C6C}" dt="2021-07-23T04:35:25.717" v="1126" actId="20577"/>
          <ac:spMkLst>
            <pc:docMk/>
            <pc:sldMk cId="1270591852" sldId="2200"/>
            <ac:spMk id="24" creationId="{267A9F5F-6FAE-4790-85DC-D47AE16B0E9F}"/>
          </ac:spMkLst>
        </pc:spChg>
        <pc:spChg chg="mod">
          <ac:chgData name="Aurelien Domont" userId="6da7715ce44349b3" providerId="LiveId" clId="{484DD64F-11B8-41CE-8137-F22080D59C6C}" dt="2021-07-23T04:35:28.599" v="1129" actId="20577"/>
          <ac:spMkLst>
            <pc:docMk/>
            <pc:sldMk cId="1270591852" sldId="2200"/>
            <ac:spMk id="25" creationId="{CC7E98FA-3E5D-4DCC-9070-63922C461F93}"/>
          </ac:spMkLst>
        </pc:spChg>
        <pc:spChg chg="mod">
          <ac:chgData name="Aurelien Domont" userId="6da7715ce44349b3" providerId="LiveId" clId="{484DD64F-11B8-41CE-8137-F22080D59C6C}" dt="2021-07-23T04:36:27.008" v="1133" actId="20577"/>
          <ac:spMkLst>
            <pc:docMk/>
            <pc:sldMk cId="1270591852" sldId="2200"/>
            <ac:spMk id="26" creationId="{C7991C61-A51D-4A0F-91E9-FC63D6829799}"/>
          </ac:spMkLst>
        </pc:spChg>
        <pc:spChg chg="mod">
          <ac:chgData name="Aurelien Domont" userId="6da7715ce44349b3" providerId="LiveId" clId="{484DD64F-11B8-41CE-8137-F22080D59C6C}" dt="2021-07-23T04:36:33.914" v="1137" actId="20577"/>
          <ac:spMkLst>
            <pc:docMk/>
            <pc:sldMk cId="1270591852" sldId="2200"/>
            <ac:spMk id="27" creationId="{69E83687-111F-4C8F-82F8-1100A830A799}"/>
          </ac:spMkLst>
        </pc:spChg>
        <pc:spChg chg="mod">
          <ac:chgData name="Aurelien Domont" userId="6da7715ce44349b3" providerId="LiveId" clId="{484DD64F-11B8-41CE-8137-F22080D59C6C}" dt="2021-07-23T05:30:12.581" v="1731"/>
          <ac:spMkLst>
            <pc:docMk/>
            <pc:sldMk cId="1270591852" sldId="2200"/>
            <ac:spMk id="28" creationId="{3BB8DC63-D8AC-44B7-AD6B-3344E0157ED9}"/>
          </ac:spMkLst>
        </pc:spChg>
        <pc:spChg chg="mod">
          <ac:chgData name="Aurelien Domont" userId="6da7715ce44349b3" providerId="LiveId" clId="{484DD64F-11B8-41CE-8137-F22080D59C6C}" dt="2021-07-23T04:36:42.717" v="1145" actId="20577"/>
          <ac:spMkLst>
            <pc:docMk/>
            <pc:sldMk cId="1270591852" sldId="2200"/>
            <ac:spMk id="29" creationId="{3FAD4126-4F73-43D3-8CAA-EDADF7C21270}"/>
          </ac:spMkLst>
        </pc:spChg>
        <pc:spChg chg="mod">
          <ac:chgData name="Aurelien Domont" userId="6da7715ce44349b3" providerId="LiveId" clId="{484DD64F-11B8-41CE-8137-F22080D59C6C}" dt="2021-07-23T04:36:45.715" v="1149" actId="20577"/>
          <ac:spMkLst>
            <pc:docMk/>
            <pc:sldMk cId="1270591852" sldId="2200"/>
            <ac:spMk id="30" creationId="{DF3BA851-E92A-44AA-8DFF-1F3C447EF430}"/>
          </ac:spMkLst>
        </pc:spChg>
        <pc:spChg chg="add del mod">
          <ac:chgData name="Aurelien Domont" userId="6da7715ce44349b3" providerId="LiveId" clId="{484DD64F-11B8-41CE-8137-F22080D59C6C}" dt="2021-07-22T07:38:22.846" v="635" actId="478"/>
          <ac:spMkLst>
            <pc:docMk/>
            <pc:sldMk cId="1270591852" sldId="2200"/>
            <ac:spMk id="31" creationId="{97F9FE67-9C47-4B55-AD4A-B0AB8455E990}"/>
          </ac:spMkLst>
        </pc:spChg>
        <pc:spChg chg="add del mod">
          <ac:chgData name="Aurelien Domont" userId="6da7715ce44349b3" providerId="LiveId" clId="{484DD64F-11B8-41CE-8137-F22080D59C6C}" dt="2021-07-22T07:38:22.846" v="635" actId="478"/>
          <ac:spMkLst>
            <pc:docMk/>
            <pc:sldMk cId="1270591852" sldId="2200"/>
            <ac:spMk id="32" creationId="{CB20BCCA-2F6E-4154-BDE5-0C3015D91A8F}"/>
          </ac:spMkLst>
        </pc:spChg>
        <pc:spChg chg="add del mod">
          <ac:chgData name="Aurelien Domont" userId="6da7715ce44349b3" providerId="LiveId" clId="{484DD64F-11B8-41CE-8137-F22080D59C6C}" dt="2021-07-22T07:38:22.846" v="635" actId="478"/>
          <ac:spMkLst>
            <pc:docMk/>
            <pc:sldMk cId="1270591852" sldId="2200"/>
            <ac:spMk id="33" creationId="{9B65B6C3-BF03-4BCA-8081-1FFB8185482B}"/>
          </ac:spMkLst>
        </pc:spChg>
        <pc:spChg chg="add mod">
          <ac:chgData name="Aurelien Domont" userId="6da7715ce44349b3" providerId="LiveId" clId="{484DD64F-11B8-41CE-8137-F22080D59C6C}" dt="2021-07-23T04:36:49.311" v="1153" actId="20577"/>
          <ac:spMkLst>
            <pc:docMk/>
            <pc:sldMk cId="1270591852" sldId="2200"/>
            <ac:spMk id="34" creationId="{13F1F2DD-4116-4862-8881-78AA3F95608B}"/>
          </ac:spMkLst>
        </pc:spChg>
        <pc:spChg chg="add mod">
          <ac:chgData name="Aurelien Domont" userId="6da7715ce44349b3" providerId="LiveId" clId="{484DD64F-11B8-41CE-8137-F22080D59C6C}" dt="2021-07-23T04:36:52.935" v="1157" actId="20577"/>
          <ac:spMkLst>
            <pc:docMk/>
            <pc:sldMk cId="1270591852" sldId="2200"/>
            <ac:spMk id="35" creationId="{F9F4BBF8-73BF-4F2E-AF32-69593639E058}"/>
          </ac:spMkLst>
        </pc:spChg>
        <pc:spChg chg="add mod">
          <ac:chgData name="Aurelien Domont" userId="6da7715ce44349b3" providerId="LiveId" clId="{484DD64F-11B8-41CE-8137-F22080D59C6C}" dt="2021-07-23T04:36:55.848" v="1161" actId="20577"/>
          <ac:spMkLst>
            <pc:docMk/>
            <pc:sldMk cId="1270591852" sldId="2200"/>
            <ac:spMk id="36" creationId="{BB85C512-FA88-4677-B0BC-9D00764DE8C6}"/>
          </ac:spMkLst>
        </pc:spChg>
        <pc:spChg chg="add mod">
          <ac:chgData name="Aurelien Domont" userId="6da7715ce44349b3" providerId="LiveId" clId="{484DD64F-11B8-41CE-8137-F22080D59C6C}" dt="2021-07-23T04:36:58.876" v="1165" actId="20577"/>
          <ac:spMkLst>
            <pc:docMk/>
            <pc:sldMk cId="1270591852" sldId="2200"/>
            <ac:spMk id="37" creationId="{228E0722-FA6E-48B5-9F62-549DFD0E5B38}"/>
          </ac:spMkLst>
        </pc:spChg>
        <pc:spChg chg="add mod">
          <ac:chgData name="Aurelien Domont" userId="6da7715ce44349b3" providerId="LiveId" clId="{484DD64F-11B8-41CE-8137-F22080D59C6C}" dt="2021-07-23T04:37:01.951" v="1169" actId="20577"/>
          <ac:spMkLst>
            <pc:docMk/>
            <pc:sldMk cId="1270591852" sldId="2200"/>
            <ac:spMk id="38" creationId="{0E15D843-821D-496E-9A06-D6C6FAAC07FF}"/>
          </ac:spMkLst>
        </pc:spChg>
        <pc:spChg chg="add mod">
          <ac:chgData name="Aurelien Domont" userId="6da7715ce44349b3" providerId="LiveId" clId="{484DD64F-11B8-41CE-8137-F22080D59C6C}" dt="2021-07-23T04:37:04.961" v="1173" actId="20577"/>
          <ac:spMkLst>
            <pc:docMk/>
            <pc:sldMk cId="1270591852" sldId="2200"/>
            <ac:spMk id="39" creationId="{A571E059-9603-41C6-ABD0-AD8036E2B8EB}"/>
          </ac:spMkLst>
        </pc:spChg>
        <pc:spChg chg="add mod">
          <ac:chgData name="Aurelien Domont" userId="6da7715ce44349b3" providerId="LiveId" clId="{484DD64F-11B8-41CE-8137-F22080D59C6C}" dt="2021-07-23T04:37:08.067" v="1177" actId="20577"/>
          <ac:spMkLst>
            <pc:docMk/>
            <pc:sldMk cId="1270591852" sldId="2200"/>
            <ac:spMk id="40" creationId="{8C4BB92A-74BF-4E3E-8E05-643E31EB0035}"/>
          </ac:spMkLst>
        </pc:spChg>
        <pc:spChg chg="add del mod">
          <ac:chgData name="Aurelien Domont" userId="6da7715ce44349b3" providerId="LiveId" clId="{484DD64F-11B8-41CE-8137-F22080D59C6C}" dt="2021-07-23T04:35:19.167" v="1123" actId="478"/>
          <ac:spMkLst>
            <pc:docMk/>
            <pc:sldMk cId="1270591852" sldId="2200"/>
            <ac:spMk id="41" creationId="{0BAF8EC9-714C-48FD-8BBC-828488DE1DB7}"/>
          </ac:spMkLst>
        </pc:spChg>
        <pc:spChg chg="add del mod">
          <ac:chgData name="Aurelien Domont" userId="6da7715ce44349b3" providerId="LiveId" clId="{484DD64F-11B8-41CE-8137-F22080D59C6C}" dt="2021-07-23T04:35:19.167" v="1123" actId="478"/>
          <ac:spMkLst>
            <pc:docMk/>
            <pc:sldMk cId="1270591852" sldId="2200"/>
            <ac:spMk id="42" creationId="{152A9542-D637-45C1-B366-32701F05B6FF}"/>
          </ac:spMkLst>
        </pc:spChg>
        <pc:spChg chg="add del mod">
          <ac:chgData name="Aurelien Domont" userId="6da7715ce44349b3" providerId="LiveId" clId="{484DD64F-11B8-41CE-8137-F22080D59C6C}" dt="2021-07-23T04:35:19.167" v="1123" actId="478"/>
          <ac:spMkLst>
            <pc:docMk/>
            <pc:sldMk cId="1270591852" sldId="2200"/>
            <ac:spMk id="43" creationId="{63033AA8-E42E-4DD3-ADCE-A1AA68F7AB6E}"/>
          </ac:spMkLst>
        </pc:spChg>
        <pc:spChg chg="add del mod">
          <ac:chgData name="Aurelien Domont" userId="6da7715ce44349b3" providerId="LiveId" clId="{484DD64F-11B8-41CE-8137-F22080D59C6C}" dt="2021-07-23T04:35:19.167" v="1123" actId="478"/>
          <ac:spMkLst>
            <pc:docMk/>
            <pc:sldMk cId="1270591852" sldId="2200"/>
            <ac:spMk id="44" creationId="{361642A1-1B0A-4FAE-8D4B-5F07DAF8AB08}"/>
          </ac:spMkLst>
        </pc:spChg>
        <pc:spChg chg="add del mod">
          <ac:chgData name="Aurelien Domont" userId="6da7715ce44349b3" providerId="LiveId" clId="{484DD64F-11B8-41CE-8137-F22080D59C6C}" dt="2021-07-23T04:35:19.167" v="1123" actId="478"/>
          <ac:spMkLst>
            <pc:docMk/>
            <pc:sldMk cId="1270591852" sldId="2200"/>
            <ac:spMk id="45" creationId="{CDE6D7C5-3DEF-46DE-B0BF-0DC7E6864E17}"/>
          </ac:spMkLst>
        </pc:spChg>
        <pc:spChg chg="add del mod">
          <ac:chgData name="Aurelien Domont" userId="6da7715ce44349b3" providerId="LiveId" clId="{484DD64F-11B8-41CE-8137-F22080D59C6C}" dt="2021-07-23T04:35:19.167" v="1123" actId="478"/>
          <ac:spMkLst>
            <pc:docMk/>
            <pc:sldMk cId="1270591852" sldId="2200"/>
            <ac:spMk id="46" creationId="{6CE42DEC-4C9C-4E25-8A07-6E706FA25464}"/>
          </ac:spMkLst>
        </pc:spChg>
        <pc:spChg chg="add del mod">
          <ac:chgData name="Aurelien Domont" userId="6da7715ce44349b3" providerId="LiveId" clId="{484DD64F-11B8-41CE-8137-F22080D59C6C}" dt="2021-07-23T04:35:19.167" v="1123" actId="478"/>
          <ac:spMkLst>
            <pc:docMk/>
            <pc:sldMk cId="1270591852" sldId="2200"/>
            <ac:spMk id="47" creationId="{63F00686-242C-435E-90AB-0CA11B5BEF5A}"/>
          </ac:spMkLst>
        </pc:spChg>
        <pc:spChg chg="add del mod">
          <ac:chgData name="Aurelien Domont" userId="6da7715ce44349b3" providerId="LiveId" clId="{484DD64F-11B8-41CE-8137-F22080D59C6C}" dt="2021-07-23T04:35:19.167" v="1123" actId="478"/>
          <ac:spMkLst>
            <pc:docMk/>
            <pc:sldMk cId="1270591852" sldId="2200"/>
            <ac:spMk id="48" creationId="{A8650F66-DFF3-44CA-A8A2-2BCBB1417839}"/>
          </ac:spMkLst>
        </pc:spChg>
        <pc:spChg chg="add del mod">
          <ac:chgData name="Aurelien Domont" userId="6da7715ce44349b3" providerId="LiveId" clId="{484DD64F-11B8-41CE-8137-F22080D59C6C}" dt="2021-07-23T04:35:19.167" v="1123" actId="478"/>
          <ac:spMkLst>
            <pc:docMk/>
            <pc:sldMk cId="1270591852" sldId="2200"/>
            <ac:spMk id="49" creationId="{6CAE3380-3133-47D4-B66F-18DD9AB5F3A1}"/>
          </ac:spMkLst>
        </pc:spChg>
        <pc:spChg chg="add del mod">
          <ac:chgData name="Aurelien Domont" userId="6da7715ce44349b3" providerId="LiveId" clId="{484DD64F-11B8-41CE-8137-F22080D59C6C}" dt="2021-07-23T04:35:19.167" v="1123" actId="478"/>
          <ac:spMkLst>
            <pc:docMk/>
            <pc:sldMk cId="1270591852" sldId="2200"/>
            <ac:spMk id="50" creationId="{107441CD-BDEE-4F3C-921E-0A6909999F36}"/>
          </ac:spMkLst>
        </pc:spChg>
        <pc:spChg chg="add del mod">
          <ac:chgData name="Aurelien Domont" userId="6da7715ce44349b3" providerId="LiveId" clId="{484DD64F-11B8-41CE-8137-F22080D59C6C}" dt="2021-07-23T04:35:19.167" v="1123" actId="478"/>
          <ac:spMkLst>
            <pc:docMk/>
            <pc:sldMk cId="1270591852" sldId="2200"/>
            <ac:spMk id="51" creationId="{EDA570C3-AE78-4DA8-927F-8637B27AF63D}"/>
          </ac:spMkLst>
        </pc:spChg>
        <pc:spChg chg="add del mod">
          <ac:chgData name="Aurelien Domont" userId="6da7715ce44349b3" providerId="LiveId" clId="{484DD64F-11B8-41CE-8137-F22080D59C6C}" dt="2021-07-23T04:35:19.167" v="1123" actId="478"/>
          <ac:spMkLst>
            <pc:docMk/>
            <pc:sldMk cId="1270591852" sldId="2200"/>
            <ac:spMk id="52" creationId="{D65C7AEF-BA06-4805-AF5B-7693EA48DC89}"/>
          </ac:spMkLst>
        </pc:spChg>
        <pc:spChg chg="add del mod">
          <ac:chgData name="Aurelien Domont" userId="6da7715ce44349b3" providerId="LiveId" clId="{484DD64F-11B8-41CE-8137-F22080D59C6C}" dt="2021-07-23T04:35:19.167" v="1123" actId="478"/>
          <ac:spMkLst>
            <pc:docMk/>
            <pc:sldMk cId="1270591852" sldId="2200"/>
            <ac:spMk id="53" creationId="{E1C2C0B1-B88D-4C2D-9C6C-2BBF6EE52A97}"/>
          </ac:spMkLst>
        </pc:spChg>
        <pc:spChg chg="add del mod">
          <ac:chgData name="Aurelien Domont" userId="6da7715ce44349b3" providerId="LiveId" clId="{484DD64F-11B8-41CE-8137-F22080D59C6C}" dt="2021-07-23T04:35:19.167" v="1123" actId="478"/>
          <ac:spMkLst>
            <pc:docMk/>
            <pc:sldMk cId="1270591852" sldId="2200"/>
            <ac:spMk id="54" creationId="{BA8B2A16-4B96-4950-B324-92D32B6FFC45}"/>
          </ac:spMkLst>
        </pc:spChg>
        <pc:spChg chg="add del mod">
          <ac:chgData name="Aurelien Domont" userId="6da7715ce44349b3" providerId="LiveId" clId="{484DD64F-11B8-41CE-8137-F22080D59C6C}" dt="2021-07-23T04:35:19.167" v="1123" actId="478"/>
          <ac:spMkLst>
            <pc:docMk/>
            <pc:sldMk cId="1270591852" sldId="2200"/>
            <ac:spMk id="55" creationId="{0BDDBA9E-9563-4424-96DC-A57CA32CFA15}"/>
          </ac:spMkLst>
        </pc:spChg>
        <pc:spChg chg="add del mod">
          <ac:chgData name="Aurelien Domont" userId="6da7715ce44349b3" providerId="LiveId" clId="{484DD64F-11B8-41CE-8137-F22080D59C6C}" dt="2021-07-23T04:35:19.167" v="1123" actId="478"/>
          <ac:spMkLst>
            <pc:docMk/>
            <pc:sldMk cId="1270591852" sldId="2200"/>
            <ac:spMk id="56" creationId="{6808562B-A660-46DC-9EAC-EA5731F2E377}"/>
          </ac:spMkLst>
        </pc:spChg>
        <pc:spChg chg="add del mod">
          <ac:chgData name="Aurelien Domont" userId="6da7715ce44349b3" providerId="LiveId" clId="{484DD64F-11B8-41CE-8137-F22080D59C6C}" dt="2021-07-23T04:35:19.167" v="1123" actId="478"/>
          <ac:spMkLst>
            <pc:docMk/>
            <pc:sldMk cId="1270591852" sldId="2200"/>
            <ac:spMk id="57" creationId="{EAA42727-8560-4C89-AD66-E5CC3048D5BB}"/>
          </ac:spMkLst>
        </pc:spChg>
        <pc:spChg chg="add del mod">
          <ac:chgData name="Aurelien Domont" userId="6da7715ce44349b3" providerId="LiveId" clId="{484DD64F-11B8-41CE-8137-F22080D59C6C}" dt="2021-07-23T04:35:19.167" v="1123" actId="478"/>
          <ac:spMkLst>
            <pc:docMk/>
            <pc:sldMk cId="1270591852" sldId="2200"/>
            <ac:spMk id="58" creationId="{610C5235-35F4-480B-9760-F9339AF648AD}"/>
          </ac:spMkLst>
        </pc:spChg>
        <pc:spChg chg="add del mod">
          <ac:chgData name="Aurelien Domont" userId="6da7715ce44349b3" providerId="LiveId" clId="{484DD64F-11B8-41CE-8137-F22080D59C6C}" dt="2021-07-23T04:35:19.167" v="1123" actId="478"/>
          <ac:spMkLst>
            <pc:docMk/>
            <pc:sldMk cId="1270591852" sldId="2200"/>
            <ac:spMk id="59" creationId="{2BBB7604-4D66-4494-9645-727F92BBAD3C}"/>
          </ac:spMkLst>
        </pc:spChg>
        <pc:spChg chg="add del mod">
          <ac:chgData name="Aurelien Domont" userId="6da7715ce44349b3" providerId="LiveId" clId="{484DD64F-11B8-41CE-8137-F22080D59C6C}" dt="2021-07-23T04:35:19.167" v="1123" actId="478"/>
          <ac:spMkLst>
            <pc:docMk/>
            <pc:sldMk cId="1270591852" sldId="2200"/>
            <ac:spMk id="60" creationId="{1AB1FA42-783A-4EA0-B89B-0EDE7CA2461B}"/>
          </ac:spMkLst>
        </pc:spChg>
        <pc:spChg chg="add del mod">
          <ac:chgData name="Aurelien Domont" userId="6da7715ce44349b3" providerId="LiveId" clId="{484DD64F-11B8-41CE-8137-F22080D59C6C}" dt="2021-07-23T04:35:19.167" v="1123" actId="478"/>
          <ac:spMkLst>
            <pc:docMk/>
            <pc:sldMk cId="1270591852" sldId="2200"/>
            <ac:spMk id="61" creationId="{90AA21D3-6AD7-4ED7-9233-B293BDA13F88}"/>
          </ac:spMkLst>
        </pc:spChg>
        <pc:cxnChg chg="mod">
          <ac:chgData name="Aurelien Domont" userId="6da7715ce44349b3" providerId="LiveId" clId="{484DD64F-11B8-41CE-8137-F22080D59C6C}" dt="2021-07-22T07:52:19.999" v="823" actId="1038"/>
          <ac:cxnSpMkLst>
            <pc:docMk/>
            <pc:sldMk cId="1270591852" sldId="2200"/>
            <ac:cxnSpMk id="9" creationId="{938E2F11-EEE6-4CE3-AA18-0A0EFEAFC83C}"/>
          </ac:cxnSpMkLst>
        </pc:cxnChg>
        <pc:cxnChg chg="mod">
          <ac:chgData name="Aurelien Domont" userId="6da7715ce44349b3" providerId="LiveId" clId="{484DD64F-11B8-41CE-8137-F22080D59C6C}" dt="2021-07-22T07:52:19.999" v="823" actId="1038"/>
          <ac:cxnSpMkLst>
            <pc:docMk/>
            <pc:sldMk cId="1270591852" sldId="2200"/>
            <ac:cxnSpMk id="14" creationId="{BD538E77-947C-4FAE-B4B2-3DD1EF8F7624}"/>
          </ac:cxnSpMkLst>
        </pc:cxnChg>
      </pc:sldChg>
      <pc:sldChg chg="addSp delSp modSp add mod">
        <pc:chgData name="Aurelien Domont" userId="6da7715ce44349b3" providerId="LiveId" clId="{484DD64F-11B8-41CE-8137-F22080D59C6C}" dt="2021-07-23T05:45:42.827" v="1735"/>
        <pc:sldMkLst>
          <pc:docMk/>
          <pc:sldMk cId="526020649" sldId="2201"/>
        </pc:sldMkLst>
        <pc:spChg chg="del">
          <ac:chgData name="Aurelien Domont" userId="6da7715ce44349b3" providerId="LiveId" clId="{484DD64F-11B8-41CE-8137-F22080D59C6C}" dt="2021-07-23T05:45:42.518" v="1734" actId="478"/>
          <ac:spMkLst>
            <pc:docMk/>
            <pc:sldMk cId="526020649" sldId="2201"/>
            <ac:spMk id="5" creationId="{3AA7B8AD-E6F9-4E25-A3A4-71D021032612}"/>
          </ac:spMkLst>
        </pc:spChg>
        <pc:spChg chg="mod">
          <ac:chgData name="Aurelien Domont" userId="6da7715ce44349b3" providerId="LiveId" clId="{484DD64F-11B8-41CE-8137-F22080D59C6C}" dt="2021-07-23T04:39:03.094" v="1224" actId="108"/>
          <ac:spMkLst>
            <pc:docMk/>
            <pc:sldMk cId="526020649" sldId="2201"/>
            <ac:spMk id="6" creationId="{80C2FA24-C3FF-4F99-8694-BA262AB8070A}"/>
          </ac:spMkLst>
        </pc:spChg>
        <pc:spChg chg="mod">
          <ac:chgData name="Aurelien Domont" userId="6da7715ce44349b3" providerId="LiveId" clId="{484DD64F-11B8-41CE-8137-F22080D59C6C}" dt="2021-07-23T04:38:32.839" v="1223" actId="20577"/>
          <ac:spMkLst>
            <pc:docMk/>
            <pc:sldMk cId="526020649" sldId="2201"/>
            <ac:spMk id="16" creationId="{6C2BB713-9637-4B9B-938F-E9768876782A}"/>
          </ac:spMkLst>
        </pc:spChg>
        <pc:spChg chg="del">
          <ac:chgData name="Aurelien Domont" userId="6da7715ce44349b3" providerId="LiveId" clId="{484DD64F-11B8-41CE-8137-F22080D59C6C}" dt="2021-07-23T05:45:42.518" v="1734" actId="478"/>
          <ac:spMkLst>
            <pc:docMk/>
            <pc:sldMk cId="526020649" sldId="2201"/>
            <ac:spMk id="21" creationId="{F2437C52-010C-4EBF-BBCE-0E50591FB98A}"/>
          </ac:spMkLst>
        </pc:spChg>
        <pc:spChg chg="del">
          <ac:chgData name="Aurelien Domont" userId="6da7715ce44349b3" providerId="LiveId" clId="{484DD64F-11B8-41CE-8137-F22080D59C6C}" dt="2021-07-23T05:45:42.518" v="1734" actId="478"/>
          <ac:spMkLst>
            <pc:docMk/>
            <pc:sldMk cId="526020649" sldId="2201"/>
            <ac:spMk id="22" creationId="{56D41D08-58DE-4B01-AFB6-B3B5DA2F554F}"/>
          </ac:spMkLst>
        </pc:spChg>
        <pc:spChg chg="del">
          <ac:chgData name="Aurelien Domont" userId="6da7715ce44349b3" providerId="LiveId" clId="{484DD64F-11B8-41CE-8137-F22080D59C6C}" dt="2021-07-23T05:45:42.518" v="1734" actId="478"/>
          <ac:spMkLst>
            <pc:docMk/>
            <pc:sldMk cId="526020649" sldId="2201"/>
            <ac:spMk id="23" creationId="{EA6679B0-9960-4EF1-8A84-788EE5B4064E}"/>
          </ac:spMkLst>
        </pc:spChg>
        <pc:spChg chg="del">
          <ac:chgData name="Aurelien Domont" userId="6da7715ce44349b3" providerId="LiveId" clId="{484DD64F-11B8-41CE-8137-F22080D59C6C}" dt="2021-07-23T05:45:42.518" v="1734" actId="478"/>
          <ac:spMkLst>
            <pc:docMk/>
            <pc:sldMk cId="526020649" sldId="2201"/>
            <ac:spMk id="28" creationId="{3BB8DC63-D8AC-44B7-AD6B-3344E0157ED9}"/>
          </ac:spMkLst>
        </pc:spChg>
        <pc:spChg chg="del">
          <ac:chgData name="Aurelien Domont" userId="6da7715ce44349b3" providerId="LiveId" clId="{484DD64F-11B8-41CE-8137-F22080D59C6C}" dt="2021-07-23T05:45:42.518" v="1734" actId="478"/>
          <ac:spMkLst>
            <pc:docMk/>
            <pc:sldMk cId="526020649" sldId="2201"/>
            <ac:spMk id="29" creationId="{3FAD4126-4F73-43D3-8CAA-EDADF7C21270}"/>
          </ac:spMkLst>
        </pc:spChg>
        <pc:spChg chg="del">
          <ac:chgData name="Aurelien Domont" userId="6da7715ce44349b3" providerId="LiveId" clId="{484DD64F-11B8-41CE-8137-F22080D59C6C}" dt="2021-07-23T05:45:42.518" v="1734" actId="478"/>
          <ac:spMkLst>
            <pc:docMk/>
            <pc:sldMk cId="526020649" sldId="2201"/>
            <ac:spMk id="30" creationId="{DF3BA851-E92A-44AA-8DFF-1F3C447EF430}"/>
          </ac:spMkLst>
        </pc:spChg>
        <pc:spChg chg="del">
          <ac:chgData name="Aurelien Domont" userId="6da7715ce44349b3" providerId="LiveId" clId="{484DD64F-11B8-41CE-8137-F22080D59C6C}" dt="2021-07-23T05:45:42.518" v="1734" actId="478"/>
          <ac:spMkLst>
            <pc:docMk/>
            <pc:sldMk cId="526020649" sldId="2201"/>
            <ac:spMk id="38" creationId="{0E15D843-821D-496E-9A06-D6C6FAAC07FF}"/>
          </ac:spMkLst>
        </pc:spChg>
        <pc:spChg chg="del">
          <ac:chgData name="Aurelien Domont" userId="6da7715ce44349b3" providerId="LiveId" clId="{484DD64F-11B8-41CE-8137-F22080D59C6C}" dt="2021-07-23T05:45:42.518" v="1734" actId="478"/>
          <ac:spMkLst>
            <pc:docMk/>
            <pc:sldMk cId="526020649" sldId="2201"/>
            <ac:spMk id="39" creationId="{A571E059-9603-41C6-ABD0-AD8036E2B8EB}"/>
          </ac:spMkLst>
        </pc:spChg>
        <pc:spChg chg="del">
          <ac:chgData name="Aurelien Domont" userId="6da7715ce44349b3" providerId="LiveId" clId="{484DD64F-11B8-41CE-8137-F22080D59C6C}" dt="2021-07-23T05:45:42.518" v="1734" actId="478"/>
          <ac:spMkLst>
            <pc:docMk/>
            <pc:sldMk cId="526020649" sldId="2201"/>
            <ac:spMk id="40" creationId="{8C4BB92A-74BF-4E3E-8E05-643E31EB0035}"/>
          </ac:spMkLst>
        </pc:spChg>
        <pc:spChg chg="add mod">
          <ac:chgData name="Aurelien Domont" userId="6da7715ce44349b3" providerId="LiveId" clId="{484DD64F-11B8-41CE-8137-F22080D59C6C}" dt="2021-07-23T05:45:42.827" v="1735"/>
          <ac:spMkLst>
            <pc:docMk/>
            <pc:sldMk cId="526020649" sldId="2201"/>
            <ac:spMk id="41" creationId="{2A6E4D7B-1C06-48E4-8F1A-6028D7C993AA}"/>
          </ac:spMkLst>
        </pc:spChg>
        <pc:spChg chg="add mod">
          <ac:chgData name="Aurelien Domont" userId="6da7715ce44349b3" providerId="LiveId" clId="{484DD64F-11B8-41CE-8137-F22080D59C6C}" dt="2021-07-23T05:45:42.827" v="1735"/>
          <ac:spMkLst>
            <pc:docMk/>
            <pc:sldMk cId="526020649" sldId="2201"/>
            <ac:spMk id="42" creationId="{20BB60F2-55BA-4E54-AF92-95738B4CF3C9}"/>
          </ac:spMkLst>
        </pc:spChg>
        <pc:spChg chg="add mod">
          <ac:chgData name="Aurelien Domont" userId="6da7715ce44349b3" providerId="LiveId" clId="{484DD64F-11B8-41CE-8137-F22080D59C6C}" dt="2021-07-23T05:45:42.827" v="1735"/>
          <ac:spMkLst>
            <pc:docMk/>
            <pc:sldMk cId="526020649" sldId="2201"/>
            <ac:spMk id="43" creationId="{5B61FC80-7FD8-4A30-9C81-C1CE40893DAB}"/>
          </ac:spMkLst>
        </pc:spChg>
        <pc:spChg chg="add mod">
          <ac:chgData name="Aurelien Domont" userId="6da7715ce44349b3" providerId="LiveId" clId="{484DD64F-11B8-41CE-8137-F22080D59C6C}" dt="2021-07-23T05:45:42.827" v="1735"/>
          <ac:spMkLst>
            <pc:docMk/>
            <pc:sldMk cId="526020649" sldId="2201"/>
            <ac:spMk id="44" creationId="{40658F0A-43C6-492D-A6A1-CA2175DA3B18}"/>
          </ac:spMkLst>
        </pc:spChg>
        <pc:spChg chg="add mod">
          <ac:chgData name="Aurelien Domont" userId="6da7715ce44349b3" providerId="LiveId" clId="{484DD64F-11B8-41CE-8137-F22080D59C6C}" dt="2021-07-23T05:45:42.827" v="1735"/>
          <ac:spMkLst>
            <pc:docMk/>
            <pc:sldMk cId="526020649" sldId="2201"/>
            <ac:spMk id="45" creationId="{81772B3B-1A14-4A9C-9AA8-CEEC8BBF4BFF}"/>
          </ac:spMkLst>
        </pc:spChg>
        <pc:spChg chg="add mod">
          <ac:chgData name="Aurelien Domont" userId="6da7715ce44349b3" providerId="LiveId" clId="{484DD64F-11B8-41CE-8137-F22080D59C6C}" dt="2021-07-23T05:45:42.827" v="1735"/>
          <ac:spMkLst>
            <pc:docMk/>
            <pc:sldMk cId="526020649" sldId="2201"/>
            <ac:spMk id="46" creationId="{6FB2536D-1689-46C6-B50D-EE240A8783A9}"/>
          </ac:spMkLst>
        </pc:spChg>
        <pc:spChg chg="add mod">
          <ac:chgData name="Aurelien Domont" userId="6da7715ce44349b3" providerId="LiveId" clId="{484DD64F-11B8-41CE-8137-F22080D59C6C}" dt="2021-07-23T05:45:42.827" v="1735"/>
          <ac:spMkLst>
            <pc:docMk/>
            <pc:sldMk cId="526020649" sldId="2201"/>
            <ac:spMk id="47" creationId="{D5C37398-B497-4264-993E-8B5DBD7A6C3D}"/>
          </ac:spMkLst>
        </pc:spChg>
        <pc:spChg chg="add mod">
          <ac:chgData name="Aurelien Domont" userId="6da7715ce44349b3" providerId="LiveId" clId="{484DD64F-11B8-41CE-8137-F22080D59C6C}" dt="2021-07-23T05:45:42.827" v="1735"/>
          <ac:spMkLst>
            <pc:docMk/>
            <pc:sldMk cId="526020649" sldId="2201"/>
            <ac:spMk id="48" creationId="{46A76752-A275-450D-85D5-DBC6462721C6}"/>
          </ac:spMkLst>
        </pc:spChg>
        <pc:spChg chg="add mod">
          <ac:chgData name="Aurelien Domont" userId="6da7715ce44349b3" providerId="LiveId" clId="{484DD64F-11B8-41CE-8137-F22080D59C6C}" dt="2021-07-23T05:45:42.827" v="1735"/>
          <ac:spMkLst>
            <pc:docMk/>
            <pc:sldMk cId="526020649" sldId="2201"/>
            <ac:spMk id="49" creationId="{29A5215A-8492-4B16-B04F-C8CD7F9D0D3A}"/>
          </ac:spMkLst>
        </pc:spChg>
      </pc:sldChg>
      <pc:sldChg chg="add del">
        <pc:chgData name="Aurelien Domont" userId="6da7715ce44349b3" providerId="LiveId" clId="{484DD64F-11B8-41CE-8137-F22080D59C6C}" dt="2021-07-23T04:37:52.232" v="1178" actId="47"/>
        <pc:sldMkLst>
          <pc:docMk/>
          <pc:sldMk cId="1762886633" sldId="2201"/>
        </pc:sldMkLst>
      </pc:sldChg>
      <pc:sldChg chg="addSp delSp modSp add mod">
        <pc:chgData name="Aurelien Domont" userId="6da7715ce44349b3" providerId="LiveId" clId="{484DD64F-11B8-41CE-8137-F22080D59C6C}" dt="2021-07-23T05:46:13.703" v="1737"/>
        <pc:sldMkLst>
          <pc:docMk/>
          <pc:sldMk cId="750087135" sldId="2202"/>
        </pc:sldMkLst>
        <pc:spChg chg="mod">
          <ac:chgData name="Aurelien Domont" userId="6da7715ce44349b3" providerId="LiveId" clId="{484DD64F-11B8-41CE-8137-F22080D59C6C}" dt="2021-07-23T04:40:01.889" v="1232" actId="108"/>
          <ac:spMkLst>
            <pc:docMk/>
            <pc:sldMk cId="750087135" sldId="2202"/>
            <ac:spMk id="6" creationId="{80C2FA24-C3FF-4F99-8694-BA262AB8070A}"/>
          </ac:spMkLst>
        </pc:spChg>
        <pc:spChg chg="mod">
          <ac:chgData name="Aurelien Domont" userId="6da7715ce44349b3" providerId="LiveId" clId="{484DD64F-11B8-41CE-8137-F22080D59C6C}" dt="2021-07-23T04:39:58.542" v="1231" actId="108"/>
          <ac:spMkLst>
            <pc:docMk/>
            <pc:sldMk cId="750087135" sldId="2202"/>
            <ac:spMk id="7" creationId="{AA474FA7-23F8-48D3-A4A1-46C7E7EF8CBF}"/>
          </ac:spMkLst>
        </pc:spChg>
        <pc:spChg chg="mod">
          <ac:chgData name="Aurelien Domont" userId="6da7715ce44349b3" providerId="LiveId" clId="{484DD64F-11B8-41CE-8137-F22080D59C6C}" dt="2021-07-23T04:39:44.771" v="1230" actId="20577"/>
          <ac:spMkLst>
            <pc:docMk/>
            <pc:sldMk cId="750087135" sldId="2202"/>
            <ac:spMk id="16" creationId="{6C2BB713-9637-4B9B-938F-E9768876782A}"/>
          </ac:spMkLst>
        </pc:spChg>
        <pc:spChg chg="del">
          <ac:chgData name="Aurelien Domont" userId="6da7715ce44349b3" providerId="LiveId" clId="{484DD64F-11B8-41CE-8137-F22080D59C6C}" dt="2021-07-23T05:46:13.230" v="1736" actId="478"/>
          <ac:spMkLst>
            <pc:docMk/>
            <pc:sldMk cId="750087135" sldId="2202"/>
            <ac:spMk id="21" creationId="{F2437C52-010C-4EBF-BBCE-0E50591FB98A}"/>
          </ac:spMkLst>
        </pc:spChg>
        <pc:spChg chg="del">
          <ac:chgData name="Aurelien Domont" userId="6da7715ce44349b3" providerId="LiveId" clId="{484DD64F-11B8-41CE-8137-F22080D59C6C}" dt="2021-07-23T05:46:13.230" v="1736" actId="478"/>
          <ac:spMkLst>
            <pc:docMk/>
            <pc:sldMk cId="750087135" sldId="2202"/>
            <ac:spMk id="22" creationId="{56D41D08-58DE-4B01-AFB6-B3B5DA2F554F}"/>
          </ac:spMkLst>
        </pc:spChg>
        <pc:spChg chg="del">
          <ac:chgData name="Aurelien Domont" userId="6da7715ce44349b3" providerId="LiveId" clId="{484DD64F-11B8-41CE-8137-F22080D59C6C}" dt="2021-07-23T05:46:13.230" v="1736" actId="478"/>
          <ac:spMkLst>
            <pc:docMk/>
            <pc:sldMk cId="750087135" sldId="2202"/>
            <ac:spMk id="23" creationId="{EA6679B0-9960-4EF1-8A84-788EE5B4064E}"/>
          </ac:spMkLst>
        </pc:spChg>
        <pc:spChg chg="del">
          <ac:chgData name="Aurelien Domont" userId="6da7715ce44349b3" providerId="LiveId" clId="{484DD64F-11B8-41CE-8137-F22080D59C6C}" dt="2021-07-23T05:46:13.230" v="1736" actId="478"/>
          <ac:spMkLst>
            <pc:docMk/>
            <pc:sldMk cId="750087135" sldId="2202"/>
            <ac:spMk id="28" creationId="{3BB8DC63-D8AC-44B7-AD6B-3344E0157ED9}"/>
          </ac:spMkLst>
        </pc:spChg>
        <pc:spChg chg="del">
          <ac:chgData name="Aurelien Domont" userId="6da7715ce44349b3" providerId="LiveId" clId="{484DD64F-11B8-41CE-8137-F22080D59C6C}" dt="2021-07-23T05:46:13.230" v="1736" actId="478"/>
          <ac:spMkLst>
            <pc:docMk/>
            <pc:sldMk cId="750087135" sldId="2202"/>
            <ac:spMk id="29" creationId="{3FAD4126-4F73-43D3-8CAA-EDADF7C21270}"/>
          </ac:spMkLst>
        </pc:spChg>
        <pc:spChg chg="del">
          <ac:chgData name="Aurelien Domont" userId="6da7715ce44349b3" providerId="LiveId" clId="{484DD64F-11B8-41CE-8137-F22080D59C6C}" dt="2021-07-23T05:46:13.230" v="1736" actId="478"/>
          <ac:spMkLst>
            <pc:docMk/>
            <pc:sldMk cId="750087135" sldId="2202"/>
            <ac:spMk id="30" creationId="{DF3BA851-E92A-44AA-8DFF-1F3C447EF430}"/>
          </ac:spMkLst>
        </pc:spChg>
        <pc:spChg chg="del">
          <ac:chgData name="Aurelien Domont" userId="6da7715ce44349b3" providerId="LiveId" clId="{484DD64F-11B8-41CE-8137-F22080D59C6C}" dt="2021-07-23T05:46:13.230" v="1736" actId="478"/>
          <ac:spMkLst>
            <pc:docMk/>
            <pc:sldMk cId="750087135" sldId="2202"/>
            <ac:spMk id="38" creationId="{0E15D843-821D-496E-9A06-D6C6FAAC07FF}"/>
          </ac:spMkLst>
        </pc:spChg>
        <pc:spChg chg="del">
          <ac:chgData name="Aurelien Domont" userId="6da7715ce44349b3" providerId="LiveId" clId="{484DD64F-11B8-41CE-8137-F22080D59C6C}" dt="2021-07-23T05:46:13.230" v="1736" actId="478"/>
          <ac:spMkLst>
            <pc:docMk/>
            <pc:sldMk cId="750087135" sldId="2202"/>
            <ac:spMk id="39" creationId="{A571E059-9603-41C6-ABD0-AD8036E2B8EB}"/>
          </ac:spMkLst>
        </pc:spChg>
        <pc:spChg chg="del">
          <ac:chgData name="Aurelien Domont" userId="6da7715ce44349b3" providerId="LiveId" clId="{484DD64F-11B8-41CE-8137-F22080D59C6C}" dt="2021-07-23T05:46:13.230" v="1736" actId="478"/>
          <ac:spMkLst>
            <pc:docMk/>
            <pc:sldMk cId="750087135" sldId="2202"/>
            <ac:spMk id="40" creationId="{8C4BB92A-74BF-4E3E-8E05-643E31EB0035}"/>
          </ac:spMkLst>
        </pc:spChg>
        <pc:spChg chg="add mod">
          <ac:chgData name="Aurelien Domont" userId="6da7715ce44349b3" providerId="LiveId" clId="{484DD64F-11B8-41CE-8137-F22080D59C6C}" dt="2021-07-23T05:46:13.703" v="1737"/>
          <ac:spMkLst>
            <pc:docMk/>
            <pc:sldMk cId="750087135" sldId="2202"/>
            <ac:spMk id="41" creationId="{69FAB97F-DE5B-4C2D-8A9F-25E48FA01F20}"/>
          </ac:spMkLst>
        </pc:spChg>
        <pc:spChg chg="add mod">
          <ac:chgData name="Aurelien Domont" userId="6da7715ce44349b3" providerId="LiveId" clId="{484DD64F-11B8-41CE-8137-F22080D59C6C}" dt="2021-07-23T05:46:13.703" v="1737"/>
          <ac:spMkLst>
            <pc:docMk/>
            <pc:sldMk cId="750087135" sldId="2202"/>
            <ac:spMk id="42" creationId="{35AEA703-0695-4FA6-B377-89F0AA47F780}"/>
          </ac:spMkLst>
        </pc:spChg>
        <pc:spChg chg="add mod">
          <ac:chgData name="Aurelien Domont" userId="6da7715ce44349b3" providerId="LiveId" clId="{484DD64F-11B8-41CE-8137-F22080D59C6C}" dt="2021-07-23T05:46:13.703" v="1737"/>
          <ac:spMkLst>
            <pc:docMk/>
            <pc:sldMk cId="750087135" sldId="2202"/>
            <ac:spMk id="43" creationId="{DE906AFB-951A-469E-B0E1-74784B47250C}"/>
          </ac:spMkLst>
        </pc:spChg>
        <pc:spChg chg="add mod">
          <ac:chgData name="Aurelien Domont" userId="6da7715ce44349b3" providerId="LiveId" clId="{484DD64F-11B8-41CE-8137-F22080D59C6C}" dt="2021-07-23T05:46:13.703" v="1737"/>
          <ac:spMkLst>
            <pc:docMk/>
            <pc:sldMk cId="750087135" sldId="2202"/>
            <ac:spMk id="44" creationId="{727AABA0-49DD-4275-AA00-F9FADC082D5A}"/>
          </ac:spMkLst>
        </pc:spChg>
        <pc:spChg chg="add mod">
          <ac:chgData name="Aurelien Domont" userId="6da7715ce44349b3" providerId="LiveId" clId="{484DD64F-11B8-41CE-8137-F22080D59C6C}" dt="2021-07-23T05:46:13.703" v="1737"/>
          <ac:spMkLst>
            <pc:docMk/>
            <pc:sldMk cId="750087135" sldId="2202"/>
            <ac:spMk id="45" creationId="{381C3961-C14F-44BD-9884-CFE86028E651}"/>
          </ac:spMkLst>
        </pc:spChg>
        <pc:spChg chg="add mod">
          <ac:chgData name="Aurelien Domont" userId="6da7715ce44349b3" providerId="LiveId" clId="{484DD64F-11B8-41CE-8137-F22080D59C6C}" dt="2021-07-23T05:46:13.703" v="1737"/>
          <ac:spMkLst>
            <pc:docMk/>
            <pc:sldMk cId="750087135" sldId="2202"/>
            <ac:spMk id="46" creationId="{B351FE10-219E-4988-A70E-71535F6DC742}"/>
          </ac:spMkLst>
        </pc:spChg>
        <pc:spChg chg="add mod">
          <ac:chgData name="Aurelien Domont" userId="6da7715ce44349b3" providerId="LiveId" clId="{484DD64F-11B8-41CE-8137-F22080D59C6C}" dt="2021-07-23T05:46:13.703" v="1737"/>
          <ac:spMkLst>
            <pc:docMk/>
            <pc:sldMk cId="750087135" sldId="2202"/>
            <ac:spMk id="47" creationId="{2104DCB7-D511-4A38-9390-268496914429}"/>
          </ac:spMkLst>
        </pc:spChg>
        <pc:spChg chg="add mod">
          <ac:chgData name="Aurelien Domont" userId="6da7715ce44349b3" providerId="LiveId" clId="{484DD64F-11B8-41CE-8137-F22080D59C6C}" dt="2021-07-23T05:46:13.703" v="1737"/>
          <ac:spMkLst>
            <pc:docMk/>
            <pc:sldMk cId="750087135" sldId="2202"/>
            <ac:spMk id="48" creationId="{8D70FB0A-38E1-413F-891A-7341892C48C5}"/>
          </ac:spMkLst>
        </pc:spChg>
        <pc:spChg chg="add mod">
          <ac:chgData name="Aurelien Domont" userId="6da7715ce44349b3" providerId="LiveId" clId="{484DD64F-11B8-41CE-8137-F22080D59C6C}" dt="2021-07-23T05:46:13.703" v="1737"/>
          <ac:spMkLst>
            <pc:docMk/>
            <pc:sldMk cId="750087135" sldId="2202"/>
            <ac:spMk id="49" creationId="{2ACFEC94-FA86-4D6E-B9AB-B38911366A4B}"/>
          </ac:spMkLst>
        </pc:spChg>
      </pc:sldChg>
      <pc:sldChg chg="addSp delSp modSp add mod">
        <pc:chgData name="Aurelien Domont" userId="6da7715ce44349b3" providerId="LiveId" clId="{484DD64F-11B8-41CE-8137-F22080D59C6C}" dt="2021-07-23T05:46:23.806" v="1739"/>
        <pc:sldMkLst>
          <pc:docMk/>
          <pc:sldMk cId="4234697142" sldId="2203"/>
        </pc:sldMkLst>
        <pc:spChg chg="mod">
          <ac:chgData name="Aurelien Domont" userId="6da7715ce44349b3" providerId="LiveId" clId="{484DD64F-11B8-41CE-8137-F22080D59C6C}" dt="2021-07-23T04:40:28.089" v="1240" actId="108"/>
          <ac:spMkLst>
            <pc:docMk/>
            <pc:sldMk cId="4234697142" sldId="2203"/>
            <ac:spMk id="7" creationId="{AA474FA7-23F8-48D3-A4A1-46C7E7EF8CBF}"/>
          </ac:spMkLst>
        </pc:spChg>
        <pc:spChg chg="mod">
          <ac:chgData name="Aurelien Domont" userId="6da7715ce44349b3" providerId="LiveId" clId="{484DD64F-11B8-41CE-8137-F22080D59C6C}" dt="2021-07-23T04:40:24.766" v="1239" actId="108"/>
          <ac:spMkLst>
            <pc:docMk/>
            <pc:sldMk cId="4234697142" sldId="2203"/>
            <ac:spMk id="8" creationId="{44D82846-5412-4854-9CE9-6BD4A4D3F201}"/>
          </ac:spMkLst>
        </pc:spChg>
        <pc:spChg chg="mod">
          <ac:chgData name="Aurelien Domont" userId="6da7715ce44349b3" providerId="LiveId" clId="{484DD64F-11B8-41CE-8137-F22080D59C6C}" dt="2021-07-23T04:40:21.560" v="1238" actId="20577"/>
          <ac:spMkLst>
            <pc:docMk/>
            <pc:sldMk cId="4234697142" sldId="2203"/>
            <ac:spMk id="16" creationId="{6C2BB713-9637-4B9B-938F-E9768876782A}"/>
          </ac:spMkLst>
        </pc:spChg>
        <pc:spChg chg="del">
          <ac:chgData name="Aurelien Domont" userId="6da7715ce44349b3" providerId="LiveId" clId="{484DD64F-11B8-41CE-8137-F22080D59C6C}" dt="2021-07-23T05:46:23.513" v="1738" actId="478"/>
          <ac:spMkLst>
            <pc:docMk/>
            <pc:sldMk cId="4234697142" sldId="2203"/>
            <ac:spMk id="21" creationId="{F2437C52-010C-4EBF-BBCE-0E50591FB98A}"/>
          </ac:spMkLst>
        </pc:spChg>
        <pc:spChg chg="del">
          <ac:chgData name="Aurelien Domont" userId="6da7715ce44349b3" providerId="LiveId" clId="{484DD64F-11B8-41CE-8137-F22080D59C6C}" dt="2021-07-23T05:46:23.513" v="1738" actId="478"/>
          <ac:spMkLst>
            <pc:docMk/>
            <pc:sldMk cId="4234697142" sldId="2203"/>
            <ac:spMk id="22" creationId="{56D41D08-58DE-4B01-AFB6-B3B5DA2F554F}"/>
          </ac:spMkLst>
        </pc:spChg>
        <pc:spChg chg="del">
          <ac:chgData name="Aurelien Domont" userId="6da7715ce44349b3" providerId="LiveId" clId="{484DD64F-11B8-41CE-8137-F22080D59C6C}" dt="2021-07-23T05:46:23.513" v="1738" actId="478"/>
          <ac:spMkLst>
            <pc:docMk/>
            <pc:sldMk cId="4234697142" sldId="2203"/>
            <ac:spMk id="23" creationId="{EA6679B0-9960-4EF1-8A84-788EE5B4064E}"/>
          </ac:spMkLst>
        </pc:spChg>
        <pc:spChg chg="del">
          <ac:chgData name="Aurelien Domont" userId="6da7715ce44349b3" providerId="LiveId" clId="{484DD64F-11B8-41CE-8137-F22080D59C6C}" dt="2021-07-23T05:46:23.513" v="1738" actId="478"/>
          <ac:spMkLst>
            <pc:docMk/>
            <pc:sldMk cId="4234697142" sldId="2203"/>
            <ac:spMk id="28" creationId="{3BB8DC63-D8AC-44B7-AD6B-3344E0157ED9}"/>
          </ac:spMkLst>
        </pc:spChg>
        <pc:spChg chg="del">
          <ac:chgData name="Aurelien Domont" userId="6da7715ce44349b3" providerId="LiveId" clId="{484DD64F-11B8-41CE-8137-F22080D59C6C}" dt="2021-07-23T05:46:23.513" v="1738" actId="478"/>
          <ac:spMkLst>
            <pc:docMk/>
            <pc:sldMk cId="4234697142" sldId="2203"/>
            <ac:spMk id="29" creationId="{3FAD4126-4F73-43D3-8CAA-EDADF7C21270}"/>
          </ac:spMkLst>
        </pc:spChg>
        <pc:spChg chg="del">
          <ac:chgData name="Aurelien Domont" userId="6da7715ce44349b3" providerId="LiveId" clId="{484DD64F-11B8-41CE-8137-F22080D59C6C}" dt="2021-07-23T05:46:23.513" v="1738" actId="478"/>
          <ac:spMkLst>
            <pc:docMk/>
            <pc:sldMk cId="4234697142" sldId="2203"/>
            <ac:spMk id="30" creationId="{DF3BA851-E92A-44AA-8DFF-1F3C447EF430}"/>
          </ac:spMkLst>
        </pc:spChg>
        <pc:spChg chg="del">
          <ac:chgData name="Aurelien Domont" userId="6da7715ce44349b3" providerId="LiveId" clId="{484DD64F-11B8-41CE-8137-F22080D59C6C}" dt="2021-07-23T05:46:23.513" v="1738" actId="478"/>
          <ac:spMkLst>
            <pc:docMk/>
            <pc:sldMk cId="4234697142" sldId="2203"/>
            <ac:spMk id="38" creationId="{0E15D843-821D-496E-9A06-D6C6FAAC07FF}"/>
          </ac:spMkLst>
        </pc:spChg>
        <pc:spChg chg="del">
          <ac:chgData name="Aurelien Domont" userId="6da7715ce44349b3" providerId="LiveId" clId="{484DD64F-11B8-41CE-8137-F22080D59C6C}" dt="2021-07-23T05:46:23.513" v="1738" actId="478"/>
          <ac:spMkLst>
            <pc:docMk/>
            <pc:sldMk cId="4234697142" sldId="2203"/>
            <ac:spMk id="39" creationId="{A571E059-9603-41C6-ABD0-AD8036E2B8EB}"/>
          </ac:spMkLst>
        </pc:spChg>
        <pc:spChg chg="del">
          <ac:chgData name="Aurelien Domont" userId="6da7715ce44349b3" providerId="LiveId" clId="{484DD64F-11B8-41CE-8137-F22080D59C6C}" dt="2021-07-23T05:46:23.513" v="1738" actId="478"/>
          <ac:spMkLst>
            <pc:docMk/>
            <pc:sldMk cId="4234697142" sldId="2203"/>
            <ac:spMk id="40" creationId="{8C4BB92A-74BF-4E3E-8E05-643E31EB0035}"/>
          </ac:spMkLst>
        </pc:spChg>
        <pc:spChg chg="add mod">
          <ac:chgData name="Aurelien Domont" userId="6da7715ce44349b3" providerId="LiveId" clId="{484DD64F-11B8-41CE-8137-F22080D59C6C}" dt="2021-07-23T05:46:23.806" v="1739"/>
          <ac:spMkLst>
            <pc:docMk/>
            <pc:sldMk cId="4234697142" sldId="2203"/>
            <ac:spMk id="41" creationId="{5643C44C-FB03-452C-891C-D28A6186009A}"/>
          </ac:spMkLst>
        </pc:spChg>
        <pc:spChg chg="add mod">
          <ac:chgData name="Aurelien Domont" userId="6da7715ce44349b3" providerId="LiveId" clId="{484DD64F-11B8-41CE-8137-F22080D59C6C}" dt="2021-07-23T05:46:23.806" v="1739"/>
          <ac:spMkLst>
            <pc:docMk/>
            <pc:sldMk cId="4234697142" sldId="2203"/>
            <ac:spMk id="42" creationId="{C1F2B71E-DE50-4B9A-AB78-400DCB80E7A2}"/>
          </ac:spMkLst>
        </pc:spChg>
        <pc:spChg chg="add mod">
          <ac:chgData name="Aurelien Domont" userId="6da7715ce44349b3" providerId="LiveId" clId="{484DD64F-11B8-41CE-8137-F22080D59C6C}" dt="2021-07-23T05:46:23.806" v="1739"/>
          <ac:spMkLst>
            <pc:docMk/>
            <pc:sldMk cId="4234697142" sldId="2203"/>
            <ac:spMk id="43" creationId="{C49F8ACC-97F8-4AF6-B1F7-C7496C3E84CF}"/>
          </ac:spMkLst>
        </pc:spChg>
        <pc:spChg chg="add mod">
          <ac:chgData name="Aurelien Domont" userId="6da7715ce44349b3" providerId="LiveId" clId="{484DD64F-11B8-41CE-8137-F22080D59C6C}" dt="2021-07-23T05:46:23.806" v="1739"/>
          <ac:spMkLst>
            <pc:docMk/>
            <pc:sldMk cId="4234697142" sldId="2203"/>
            <ac:spMk id="44" creationId="{4AAEDCA6-6935-42E9-995F-5B2BB75C8093}"/>
          </ac:spMkLst>
        </pc:spChg>
        <pc:spChg chg="add mod">
          <ac:chgData name="Aurelien Domont" userId="6da7715ce44349b3" providerId="LiveId" clId="{484DD64F-11B8-41CE-8137-F22080D59C6C}" dt="2021-07-23T05:46:23.806" v="1739"/>
          <ac:spMkLst>
            <pc:docMk/>
            <pc:sldMk cId="4234697142" sldId="2203"/>
            <ac:spMk id="45" creationId="{647AC9B6-EB70-4E7B-94D7-C995711A791B}"/>
          </ac:spMkLst>
        </pc:spChg>
        <pc:spChg chg="add mod">
          <ac:chgData name="Aurelien Domont" userId="6da7715ce44349b3" providerId="LiveId" clId="{484DD64F-11B8-41CE-8137-F22080D59C6C}" dt="2021-07-23T05:46:23.806" v="1739"/>
          <ac:spMkLst>
            <pc:docMk/>
            <pc:sldMk cId="4234697142" sldId="2203"/>
            <ac:spMk id="46" creationId="{F99B3518-70AC-4897-AC9A-1AEED3986257}"/>
          </ac:spMkLst>
        </pc:spChg>
        <pc:spChg chg="add mod">
          <ac:chgData name="Aurelien Domont" userId="6da7715ce44349b3" providerId="LiveId" clId="{484DD64F-11B8-41CE-8137-F22080D59C6C}" dt="2021-07-23T05:46:23.806" v="1739"/>
          <ac:spMkLst>
            <pc:docMk/>
            <pc:sldMk cId="4234697142" sldId="2203"/>
            <ac:spMk id="47" creationId="{7BFC03B7-AC43-4564-9794-3CF4136472FB}"/>
          </ac:spMkLst>
        </pc:spChg>
        <pc:spChg chg="add mod">
          <ac:chgData name="Aurelien Domont" userId="6da7715ce44349b3" providerId="LiveId" clId="{484DD64F-11B8-41CE-8137-F22080D59C6C}" dt="2021-07-23T05:46:23.806" v="1739"/>
          <ac:spMkLst>
            <pc:docMk/>
            <pc:sldMk cId="4234697142" sldId="2203"/>
            <ac:spMk id="48" creationId="{4DAB2410-E14F-4F06-880B-4D2D7F4298EF}"/>
          </ac:spMkLst>
        </pc:spChg>
        <pc:spChg chg="add mod">
          <ac:chgData name="Aurelien Domont" userId="6da7715ce44349b3" providerId="LiveId" clId="{484DD64F-11B8-41CE-8137-F22080D59C6C}" dt="2021-07-23T05:46:23.806" v="1739"/>
          <ac:spMkLst>
            <pc:docMk/>
            <pc:sldMk cId="4234697142" sldId="2203"/>
            <ac:spMk id="49" creationId="{F15404F5-B68C-4E16-93F1-8585B375D750}"/>
          </ac:spMkLst>
        </pc:spChg>
      </pc:sldChg>
      <pc:sldChg chg="addSp delSp modSp add mod">
        <pc:chgData name="Aurelien Domont" userId="6da7715ce44349b3" providerId="LiveId" clId="{484DD64F-11B8-41CE-8137-F22080D59C6C}" dt="2021-07-23T05:53:32.113" v="1746" actId="113"/>
        <pc:sldMkLst>
          <pc:docMk/>
          <pc:sldMk cId="224053391" sldId="2204"/>
        </pc:sldMkLst>
        <pc:spChg chg="mod">
          <ac:chgData name="Aurelien Domont" userId="6da7715ce44349b3" providerId="LiveId" clId="{484DD64F-11B8-41CE-8137-F22080D59C6C}" dt="2021-07-23T05:53:32.113" v="1746" actId="113"/>
          <ac:spMkLst>
            <pc:docMk/>
            <pc:sldMk cId="224053391" sldId="2204"/>
            <ac:spMk id="2" creationId="{49C9F90D-3606-495B-9201-34A27BF7A42D}"/>
          </ac:spMkLst>
        </pc:spChg>
        <pc:spChg chg="mod">
          <ac:chgData name="Aurelien Domont" userId="6da7715ce44349b3" providerId="LiveId" clId="{484DD64F-11B8-41CE-8137-F22080D59C6C}" dt="2021-07-23T04:42:01.869" v="1264" actId="108"/>
          <ac:spMkLst>
            <pc:docMk/>
            <pc:sldMk cId="224053391" sldId="2204"/>
            <ac:spMk id="8" creationId="{44D82846-5412-4854-9CE9-6BD4A4D3F201}"/>
          </ac:spMkLst>
        </pc:spChg>
        <pc:spChg chg="mod">
          <ac:chgData name="Aurelien Domont" userId="6da7715ce44349b3" providerId="LiveId" clId="{484DD64F-11B8-41CE-8137-F22080D59C6C}" dt="2021-07-23T04:41:50.072" v="1263"/>
          <ac:spMkLst>
            <pc:docMk/>
            <pc:sldMk cId="224053391" sldId="2204"/>
            <ac:spMk id="16" creationId="{6C2BB713-9637-4B9B-938F-E9768876782A}"/>
          </ac:spMkLst>
        </pc:spChg>
        <pc:spChg chg="del">
          <ac:chgData name="Aurelien Domont" userId="6da7715ce44349b3" providerId="LiveId" clId="{484DD64F-11B8-41CE-8137-F22080D59C6C}" dt="2021-07-23T05:46:36.091" v="1740" actId="478"/>
          <ac:spMkLst>
            <pc:docMk/>
            <pc:sldMk cId="224053391" sldId="2204"/>
            <ac:spMk id="21" creationId="{F2437C52-010C-4EBF-BBCE-0E50591FB98A}"/>
          </ac:spMkLst>
        </pc:spChg>
        <pc:spChg chg="del">
          <ac:chgData name="Aurelien Domont" userId="6da7715ce44349b3" providerId="LiveId" clId="{484DD64F-11B8-41CE-8137-F22080D59C6C}" dt="2021-07-23T05:46:36.091" v="1740" actId="478"/>
          <ac:spMkLst>
            <pc:docMk/>
            <pc:sldMk cId="224053391" sldId="2204"/>
            <ac:spMk id="22" creationId="{56D41D08-58DE-4B01-AFB6-B3B5DA2F554F}"/>
          </ac:spMkLst>
        </pc:spChg>
        <pc:spChg chg="del">
          <ac:chgData name="Aurelien Domont" userId="6da7715ce44349b3" providerId="LiveId" clId="{484DD64F-11B8-41CE-8137-F22080D59C6C}" dt="2021-07-23T05:46:36.091" v="1740" actId="478"/>
          <ac:spMkLst>
            <pc:docMk/>
            <pc:sldMk cId="224053391" sldId="2204"/>
            <ac:spMk id="23" creationId="{EA6679B0-9960-4EF1-8A84-788EE5B4064E}"/>
          </ac:spMkLst>
        </pc:spChg>
        <pc:spChg chg="del">
          <ac:chgData name="Aurelien Domont" userId="6da7715ce44349b3" providerId="LiveId" clId="{484DD64F-11B8-41CE-8137-F22080D59C6C}" dt="2021-07-23T05:46:36.091" v="1740" actId="478"/>
          <ac:spMkLst>
            <pc:docMk/>
            <pc:sldMk cId="224053391" sldId="2204"/>
            <ac:spMk id="28" creationId="{3BB8DC63-D8AC-44B7-AD6B-3344E0157ED9}"/>
          </ac:spMkLst>
        </pc:spChg>
        <pc:spChg chg="del">
          <ac:chgData name="Aurelien Domont" userId="6da7715ce44349b3" providerId="LiveId" clId="{484DD64F-11B8-41CE-8137-F22080D59C6C}" dt="2021-07-23T05:46:36.091" v="1740" actId="478"/>
          <ac:spMkLst>
            <pc:docMk/>
            <pc:sldMk cId="224053391" sldId="2204"/>
            <ac:spMk id="29" creationId="{3FAD4126-4F73-43D3-8CAA-EDADF7C21270}"/>
          </ac:spMkLst>
        </pc:spChg>
        <pc:spChg chg="del">
          <ac:chgData name="Aurelien Domont" userId="6da7715ce44349b3" providerId="LiveId" clId="{484DD64F-11B8-41CE-8137-F22080D59C6C}" dt="2021-07-23T05:46:36.091" v="1740" actId="478"/>
          <ac:spMkLst>
            <pc:docMk/>
            <pc:sldMk cId="224053391" sldId="2204"/>
            <ac:spMk id="30" creationId="{DF3BA851-E92A-44AA-8DFF-1F3C447EF430}"/>
          </ac:spMkLst>
        </pc:spChg>
        <pc:spChg chg="del">
          <ac:chgData name="Aurelien Domont" userId="6da7715ce44349b3" providerId="LiveId" clId="{484DD64F-11B8-41CE-8137-F22080D59C6C}" dt="2021-07-23T05:46:36.091" v="1740" actId="478"/>
          <ac:spMkLst>
            <pc:docMk/>
            <pc:sldMk cId="224053391" sldId="2204"/>
            <ac:spMk id="38" creationId="{0E15D843-821D-496E-9A06-D6C6FAAC07FF}"/>
          </ac:spMkLst>
        </pc:spChg>
        <pc:spChg chg="del">
          <ac:chgData name="Aurelien Domont" userId="6da7715ce44349b3" providerId="LiveId" clId="{484DD64F-11B8-41CE-8137-F22080D59C6C}" dt="2021-07-23T05:46:36.091" v="1740" actId="478"/>
          <ac:spMkLst>
            <pc:docMk/>
            <pc:sldMk cId="224053391" sldId="2204"/>
            <ac:spMk id="39" creationId="{A571E059-9603-41C6-ABD0-AD8036E2B8EB}"/>
          </ac:spMkLst>
        </pc:spChg>
        <pc:spChg chg="del">
          <ac:chgData name="Aurelien Domont" userId="6da7715ce44349b3" providerId="LiveId" clId="{484DD64F-11B8-41CE-8137-F22080D59C6C}" dt="2021-07-23T05:46:36.091" v="1740" actId="478"/>
          <ac:spMkLst>
            <pc:docMk/>
            <pc:sldMk cId="224053391" sldId="2204"/>
            <ac:spMk id="40" creationId="{8C4BB92A-74BF-4E3E-8E05-643E31EB0035}"/>
          </ac:spMkLst>
        </pc:spChg>
        <pc:spChg chg="add mod">
          <ac:chgData name="Aurelien Domont" userId="6da7715ce44349b3" providerId="LiveId" clId="{484DD64F-11B8-41CE-8137-F22080D59C6C}" dt="2021-07-23T05:46:36.326" v="1741"/>
          <ac:spMkLst>
            <pc:docMk/>
            <pc:sldMk cId="224053391" sldId="2204"/>
            <ac:spMk id="41" creationId="{6A6FD7C7-B66B-4814-AEFA-E831F6AFBCFB}"/>
          </ac:spMkLst>
        </pc:spChg>
        <pc:spChg chg="add mod">
          <ac:chgData name="Aurelien Domont" userId="6da7715ce44349b3" providerId="LiveId" clId="{484DD64F-11B8-41CE-8137-F22080D59C6C}" dt="2021-07-23T05:46:36.326" v="1741"/>
          <ac:spMkLst>
            <pc:docMk/>
            <pc:sldMk cId="224053391" sldId="2204"/>
            <ac:spMk id="42" creationId="{3CA3BEFF-31F9-4BAC-B207-ADBC195A51BF}"/>
          </ac:spMkLst>
        </pc:spChg>
        <pc:spChg chg="add mod">
          <ac:chgData name="Aurelien Domont" userId="6da7715ce44349b3" providerId="LiveId" clId="{484DD64F-11B8-41CE-8137-F22080D59C6C}" dt="2021-07-23T05:46:36.326" v="1741"/>
          <ac:spMkLst>
            <pc:docMk/>
            <pc:sldMk cId="224053391" sldId="2204"/>
            <ac:spMk id="43" creationId="{31BECA40-439A-41F4-BCA4-1CED419F63B8}"/>
          </ac:spMkLst>
        </pc:spChg>
        <pc:spChg chg="add mod">
          <ac:chgData name="Aurelien Domont" userId="6da7715ce44349b3" providerId="LiveId" clId="{484DD64F-11B8-41CE-8137-F22080D59C6C}" dt="2021-07-23T05:46:36.326" v="1741"/>
          <ac:spMkLst>
            <pc:docMk/>
            <pc:sldMk cId="224053391" sldId="2204"/>
            <ac:spMk id="44" creationId="{FE27825B-8D55-4EB8-A387-53CF80EE8AF6}"/>
          </ac:spMkLst>
        </pc:spChg>
        <pc:spChg chg="add mod">
          <ac:chgData name="Aurelien Domont" userId="6da7715ce44349b3" providerId="LiveId" clId="{484DD64F-11B8-41CE-8137-F22080D59C6C}" dt="2021-07-23T05:46:36.326" v="1741"/>
          <ac:spMkLst>
            <pc:docMk/>
            <pc:sldMk cId="224053391" sldId="2204"/>
            <ac:spMk id="45" creationId="{7C7F5C6A-ACC0-4286-B420-B043C0C66C94}"/>
          </ac:spMkLst>
        </pc:spChg>
        <pc:spChg chg="add mod">
          <ac:chgData name="Aurelien Domont" userId="6da7715ce44349b3" providerId="LiveId" clId="{484DD64F-11B8-41CE-8137-F22080D59C6C}" dt="2021-07-23T05:46:36.326" v="1741"/>
          <ac:spMkLst>
            <pc:docMk/>
            <pc:sldMk cId="224053391" sldId="2204"/>
            <ac:spMk id="46" creationId="{8134BEB1-2573-4BC4-96B9-DCA58D93FE6F}"/>
          </ac:spMkLst>
        </pc:spChg>
        <pc:spChg chg="add mod">
          <ac:chgData name="Aurelien Domont" userId="6da7715ce44349b3" providerId="LiveId" clId="{484DD64F-11B8-41CE-8137-F22080D59C6C}" dt="2021-07-23T05:46:36.326" v="1741"/>
          <ac:spMkLst>
            <pc:docMk/>
            <pc:sldMk cId="224053391" sldId="2204"/>
            <ac:spMk id="47" creationId="{50DBA83F-09D5-4D72-B51A-25E4D66C8FEE}"/>
          </ac:spMkLst>
        </pc:spChg>
        <pc:spChg chg="add mod">
          <ac:chgData name="Aurelien Domont" userId="6da7715ce44349b3" providerId="LiveId" clId="{484DD64F-11B8-41CE-8137-F22080D59C6C}" dt="2021-07-23T05:46:36.326" v="1741"/>
          <ac:spMkLst>
            <pc:docMk/>
            <pc:sldMk cId="224053391" sldId="2204"/>
            <ac:spMk id="48" creationId="{FB59E5D9-E2B9-443A-95CA-E26E76B6F98B}"/>
          </ac:spMkLst>
        </pc:spChg>
        <pc:spChg chg="add mod">
          <ac:chgData name="Aurelien Domont" userId="6da7715ce44349b3" providerId="LiveId" clId="{484DD64F-11B8-41CE-8137-F22080D59C6C}" dt="2021-07-23T05:46:36.326" v="1741"/>
          <ac:spMkLst>
            <pc:docMk/>
            <pc:sldMk cId="224053391" sldId="2204"/>
            <ac:spMk id="49" creationId="{33B3359C-432C-4545-9255-53E06496A40E}"/>
          </ac:spMkLst>
        </pc:spChg>
      </pc:sldChg>
    </pc:docChg>
  </pc:docChgLst>
  <pc:docChgLst>
    <pc:chgData name="Aurelien Domont" userId="6da7715ce44349b3" providerId="LiveId" clId="{4B4C3012-157D-4E70-9450-C4952F9A74AA}"/>
    <pc:docChg chg="undo custSel addSld delSld modSld">
      <pc:chgData name="Aurelien Domont" userId="6da7715ce44349b3" providerId="LiveId" clId="{4B4C3012-157D-4E70-9450-C4952F9A74AA}" dt="2021-07-20T00:29:00.949" v="631" actId="47"/>
      <pc:docMkLst>
        <pc:docMk/>
      </pc:docMkLst>
      <pc:sldChg chg="modSp mod">
        <pc:chgData name="Aurelien Domont" userId="6da7715ce44349b3" providerId="LiveId" clId="{4B4C3012-157D-4E70-9450-C4952F9A74AA}" dt="2021-07-12T01:42:03.218" v="594" actId="20577"/>
        <pc:sldMkLst>
          <pc:docMk/>
          <pc:sldMk cId="2853806433" sldId="1600"/>
        </pc:sldMkLst>
        <pc:spChg chg="mod">
          <ac:chgData name="Aurelien Domont" userId="6da7715ce44349b3" providerId="LiveId" clId="{4B4C3012-157D-4E70-9450-C4952F9A74AA}" dt="2021-07-12T01:42:03.218" v="594" actId="20577"/>
          <ac:spMkLst>
            <pc:docMk/>
            <pc:sldMk cId="2853806433" sldId="1600"/>
            <ac:spMk id="2" creationId="{406113FD-AA7D-4249-90D7-70AF85BE48E1}"/>
          </ac:spMkLst>
        </pc:spChg>
      </pc:sldChg>
      <pc:sldChg chg="modSp add del mod">
        <pc:chgData name="Aurelien Domont" userId="6da7715ce44349b3" providerId="LiveId" clId="{4B4C3012-157D-4E70-9450-C4952F9A74AA}" dt="2021-07-12T01:22:42.869" v="581" actId="47"/>
        <pc:sldMkLst>
          <pc:docMk/>
          <pc:sldMk cId="2069390891" sldId="1763"/>
        </pc:sldMkLst>
        <pc:spChg chg="mod">
          <ac:chgData name="Aurelien Domont" userId="6da7715ce44349b3" providerId="LiveId" clId="{4B4C3012-157D-4E70-9450-C4952F9A74AA}" dt="2021-07-12T01:21:50.041" v="555" actId="403"/>
          <ac:spMkLst>
            <pc:docMk/>
            <pc:sldMk cId="2069390891" sldId="1763"/>
            <ac:spMk id="10" creationId="{16072BC7-027B-4FA2-AAE0-7E3D674C24B4}"/>
          </ac:spMkLst>
        </pc:spChg>
        <pc:spChg chg="mod">
          <ac:chgData name="Aurelien Domont" userId="6da7715ce44349b3" providerId="LiveId" clId="{4B4C3012-157D-4E70-9450-C4952F9A74AA}" dt="2021-07-12T01:21:59.919" v="580" actId="1035"/>
          <ac:spMkLst>
            <pc:docMk/>
            <pc:sldMk cId="2069390891" sldId="1763"/>
            <ac:spMk id="11" creationId="{89F91B17-DF76-41EF-BAC2-4E1F9B978D53}"/>
          </ac:spMkLst>
        </pc:spChg>
      </pc:sldChg>
      <pc:sldChg chg="add del">
        <pc:chgData name="Aurelien Domont" userId="6da7715ce44349b3" providerId="LiveId" clId="{4B4C3012-157D-4E70-9450-C4952F9A74AA}" dt="2021-07-09T05:14:58.434" v="535"/>
        <pc:sldMkLst>
          <pc:docMk/>
          <pc:sldMk cId="235018652" sldId="1927"/>
        </pc:sldMkLst>
      </pc:sldChg>
      <pc:sldChg chg="add del">
        <pc:chgData name="Aurelien Domont" userId="6da7715ce44349b3" providerId="LiveId" clId="{4B4C3012-157D-4E70-9450-C4952F9A74AA}" dt="2021-07-09T05:14:58.434" v="535"/>
        <pc:sldMkLst>
          <pc:docMk/>
          <pc:sldMk cId="802743741" sldId="1929"/>
        </pc:sldMkLst>
      </pc:sldChg>
      <pc:sldChg chg="add del">
        <pc:chgData name="Aurelien Domont" userId="6da7715ce44349b3" providerId="LiveId" clId="{4B4C3012-157D-4E70-9450-C4952F9A74AA}" dt="2021-07-09T05:14:58.434" v="535"/>
        <pc:sldMkLst>
          <pc:docMk/>
          <pc:sldMk cId="784211076" sldId="1931"/>
        </pc:sldMkLst>
      </pc:sldChg>
      <pc:sldChg chg="addSp delSp modSp mod">
        <pc:chgData name="Aurelien Domont" userId="6da7715ce44349b3" providerId="LiveId" clId="{4B4C3012-157D-4E70-9450-C4952F9A74AA}" dt="2021-07-20T00:26:45.640" v="595" actId="20577"/>
        <pc:sldMkLst>
          <pc:docMk/>
          <pc:sldMk cId="1073937120" sldId="2160"/>
        </pc:sldMkLst>
        <pc:spChg chg="add mod">
          <ac:chgData name="Aurelien Domont" userId="6da7715ce44349b3" providerId="LiveId" clId="{4B4C3012-157D-4E70-9450-C4952F9A74AA}" dt="2021-07-09T05:04:19.515" v="529"/>
          <ac:spMkLst>
            <pc:docMk/>
            <pc:sldMk cId="1073937120" sldId="2160"/>
            <ac:spMk id="26" creationId="{51E7AD63-D05E-440F-B518-E42303202DF0}"/>
          </ac:spMkLst>
        </pc:spChg>
        <pc:spChg chg="add mod">
          <ac:chgData name="Aurelien Domont" userId="6da7715ce44349b3" providerId="LiveId" clId="{4B4C3012-157D-4E70-9450-C4952F9A74AA}" dt="2021-07-09T05:04:19.515" v="529"/>
          <ac:spMkLst>
            <pc:docMk/>
            <pc:sldMk cId="1073937120" sldId="2160"/>
            <ac:spMk id="27" creationId="{389B6A88-DF79-4470-B957-67678D2E59E3}"/>
          </ac:spMkLst>
        </pc:spChg>
        <pc:spChg chg="add mod">
          <ac:chgData name="Aurelien Domont" userId="6da7715ce44349b3" providerId="LiveId" clId="{4B4C3012-157D-4E70-9450-C4952F9A74AA}" dt="2021-07-09T05:04:19.515" v="529"/>
          <ac:spMkLst>
            <pc:docMk/>
            <pc:sldMk cId="1073937120" sldId="2160"/>
            <ac:spMk id="28" creationId="{074D8FB3-5C99-41C5-8B3A-2154BE2A5650}"/>
          </ac:spMkLst>
        </pc:spChg>
        <pc:spChg chg="add mod">
          <ac:chgData name="Aurelien Domont" userId="6da7715ce44349b3" providerId="LiveId" clId="{4B4C3012-157D-4E70-9450-C4952F9A74AA}" dt="2021-07-09T05:04:19.515" v="529"/>
          <ac:spMkLst>
            <pc:docMk/>
            <pc:sldMk cId="1073937120" sldId="2160"/>
            <ac:spMk id="29" creationId="{5931362B-A46C-4DD5-B513-AEEEFA22128D}"/>
          </ac:spMkLst>
        </pc:spChg>
        <pc:spChg chg="add mod">
          <ac:chgData name="Aurelien Domont" userId="6da7715ce44349b3" providerId="LiveId" clId="{4B4C3012-157D-4E70-9450-C4952F9A74AA}" dt="2021-07-09T05:04:19.515" v="529"/>
          <ac:spMkLst>
            <pc:docMk/>
            <pc:sldMk cId="1073937120" sldId="2160"/>
            <ac:spMk id="30" creationId="{41E077D9-A5A3-42BF-8B50-40D03F9671FF}"/>
          </ac:spMkLst>
        </pc:spChg>
        <pc:spChg chg="add mod">
          <ac:chgData name="Aurelien Domont" userId="6da7715ce44349b3" providerId="LiveId" clId="{4B4C3012-157D-4E70-9450-C4952F9A74AA}" dt="2021-07-09T05:04:19.515" v="529"/>
          <ac:spMkLst>
            <pc:docMk/>
            <pc:sldMk cId="1073937120" sldId="2160"/>
            <ac:spMk id="32" creationId="{AE184A87-2CA0-44AE-A84B-18A40382DC26}"/>
          </ac:spMkLst>
        </pc:spChg>
        <pc:spChg chg="mod">
          <ac:chgData name="Aurelien Domont" userId="6da7715ce44349b3" providerId="LiveId" clId="{4B4C3012-157D-4E70-9450-C4952F9A74AA}" dt="2021-07-20T00:26:45.640" v="595" actId="20577"/>
          <ac:spMkLst>
            <pc:docMk/>
            <pc:sldMk cId="1073937120" sldId="2160"/>
            <ac:spMk id="51" creationId="{7E31ED7F-C9D6-48C3-B1F3-EC53DABCBEF6}"/>
          </ac:spMkLst>
        </pc:spChg>
        <pc:spChg chg="add mod">
          <ac:chgData name="Aurelien Domont" userId="6da7715ce44349b3" providerId="LiveId" clId="{4B4C3012-157D-4E70-9450-C4952F9A74AA}" dt="2021-07-09T05:04:19.515" v="529"/>
          <ac:spMkLst>
            <pc:docMk/>
            <pc:sldMk cId="1073937120" sldId="2160"/>
            <ac:spMk id="52" creationId="{CAA32041-7F25-42ED-B37F-F714D85B693C}"/>
          </ac:spMkLst>
        </pc:spChg>
        <pc:spChg chg="add mod">
          <ac:chgData name="Aurelien Domont" userId="6da7715ce44349b3" providerId="LiveId" clId="{4B4C3012-157D-4E70-9450-C4952F9A74AA}" dt="2021-07-09T05:04:19.515" v="529"/>
          <ac:spMkLst>
            <pc:docMk/>
            <pc:sldMk cId="1073937120" sldId="2160"/>
            <ac:spMk id="53" creationId="{64072F56-A6E2-4D15-86BF-2D0667154CDA}"/>
          </ac:spMkLst>
        </pc:spChg>
        <pc:spChg chg="add mod">
          <ac:chgData name="Aurelien Domont" userId="6da7715ce44349b3" providerId="LiveId" clId="{4B4C3012-157D-4E70-9450-C4952F9A74AA}" dt="2021-07-09T05:04:19.515" v="529"/>
          <ac:spMkLst>
            <pc:docMk/>
            <pc:sldMk cId="1073937120" sldId="2160"/>
            <ac:spMk id="54" creationId="{6EB76EF7-6CA5-4B8C-9956-B38FC542729F}"/>
          </ac:spMkLst>
        </pc:spChg>
        <pc:grpChg chg="del">
          <ac:chgData name="Aurelien Domont" userId="6da7715ce44349b3" providerId="LiveId" clId="{4B4C3012-157D-4E70-9450-C4952F9A74AA}" dt="2021-07-09T05:04:19.221" v="528" actId="478"/>
          <ac:grpSpMkLst>
            <pc:docMk/>
            <pc:sldMk cId="1073937120" sldId="2160"/>
            <ac:grpSpMk id="4" creationId="{BD5EFEE5-15B1-4D1C-9CCE-C42E69F4F8C9}"/>
          </ac:grpSpMkLst>
        </pc:grpChg>
        <pc:picChg chg="add mod">
          <ac:chgData name="Aurelien Domont" userId="6da7715ce44349b3" providerId="LiveId" clId="{4B4C3012-157D-4E70-9450-C4952F9A74AA}" dt="2021-07-09T05:04:19.515" v="529"/>
          <ac:picMkLst>
            <pc:docMk/>
            <pc:sldMk cId="1073937120" sldId="2160"/>
            <ac:picMk id="55" creationId="{5AF42744-0A7A-4FE3-AD6A-B20B356CB535}"/>
          </ac:picMkLst>
        </pc:picChg>
        <pc:picChg chg="add mod">
          <ac:chgData name="Aurelien Domont" userId="6da7715ce44349b3" providerId="LiveId" clId="{4B4C3012-157D-4E70-9450-C4952F9A74AA}" dt="2021-07-09T05:04:19.515" v="529"/>
          <ac:picMkLst>
            <pc:docMk/>
            <pc:sldMk cId="1073937120" sldId="2160"/>
            <ac:picMk id="56" creationId="{A20042D1-018A-4793-8CD6-975DC39FEE26}"/>
          </ac:picMkLst>
        </pc:picChg>
        <pc:picChg chg="add mod">
          <ac:chgData name="Aurelien Domont" userId="6da7715ce44349b3" providerId="LiveId" clId="{4B4C3012-157D-4E70-9450-C4952F9A74AA}" dt="2021-07-09T05:04:19.515" v="529"/>
          <ac:picMkLst>
            <pc:docMk/>
            <pc:sldMk cId="1073937120" sldId="2160"/>
            <ac:picMk id="57" creationId="{47BADDA9-B58C-43E9-BFAD-DA557AB61D10}"/>
          </ac:picMkLst>
        </pc:picChg>
        <pc:picChg chg="add mod">
          <ac:chgData name="Aurelien Domont" userId="6da7715ce44349b3" providerId="LiveId" clId="{4B4C3012-157D-4E70-9450-C4952F9A74AA}" dt="2021-07-09T05:04:19.515" v="529"/>
          <ac:picMkLst>
            <pc:docMk/>
            <pc:sldMk cId="1073937120" sldId="2160"/>
            <ac:picMk id="58" creationId="{E798BA5B-09AD-4C90-8607-68C307E9019A}"/>
          </ac:picMkLst>
        </pc:picChg>
        <pc:picChg chg="add mod">
          <ac:chgData name="Aurelien Domont" userId="6da7715ce44349b3" providerId="LiveId" clId="{4B4C3012-157D-4E70-9450-C4952F9A74AA}" dt="2021-07-09T05:04:19.515" v="529"/>
          <ac:picMkLst>
            <pc:docMk/>
            <pc:sldMk cId="1073937120" sldId="2160"/>
            <ac:picMk id="59" creationId="{3D2EBE42-E787-4633-8D77-210E92CCF312}"/>
          </ac:picMkLst>
        </pc:picChg>
        <pc:picChg chg="add mod">
          <ac:chgData name="Aurelien Domont" userId="6da7715ce44349b3" providerId="LiveId" clId="{4B4C3012-157D-4E70-9450-C4952F9A74AA}" dt="2021-07-09T05:04:19.515" v="529"/>
          <ac:picMkLst>
            <pc:docMk/>
            <pc:sldMk cId="1073937120" sldId="2160"/>
            <ac:picMk id="60" creationId="{CA08537E-3207-47A0-8F35-E8D043CF0D93}"/>
          </ac:picMkLst>
        </pc:picChg>
        <pc:picChg chg="add mod">
          <ac:chgData name="Aurelien Domont" userId="6da7715ce44349b3" providerId="LiveId" clId="{4B4C3012-157D-4E70-9450-C4952F9A74AA}" dt="2021-07-09T05:04:19.515" v="529"/>
          <ac:picMkLst>
            <pc:docMk/>
            <pc:sldMk cId="1073937120" sldId="2160"/>
            <ac:picMk id="61" creationId="{2F9CFA8F-70C5-4FED-9A51-DC5BDA0787AA}"/>
          </ac:picMkLst>
        </pc:picChg>
        <pc:picChg chg="add mod">
          <ac:chgData name="Aurelien Domont" userId="6da7715ce44349b3" providerId="LiveId" clId="{4B4C3012-157D-4E70-9450-C4952F9A74AA}" dt="2021-07-09T05:04:19.515" v="529"/>
          <ac:picMkLst>
            <pc:docMk/>
            <pc:sldMk cId="1073937120" sldId="2160"/>
            <ac:picMk id="62" creationId="{615CB01F-A41A-4817-8303-5EEB26521D3A}"/>
          </ac:picMkLst>
        </pc:picChg>
        <pc:picChg chg="add mod">
          <ac:chgData name="Aurelien Domont" userId="6da7715ce44349b3" providerId="LiveId" clId="{4B4C3012-157D-4E70-9450-C4952F9A74AA}" dt="2021-07-09T05:04:19.515" v="529"/>
          <ac:picMkLst>
            <pc:docMk/>
            <pc:sldMk cId="1073937120" sldId="2160"/>
            <ac:picMk id="63" creationId="{D678C573-E4B9-437A-B8C0-F98C1FBE72C0}"/>
          </ac:picMkLst>
        </pc:picChg>
      </pc:sldChg>
      <pc:sldChg chg="modSp mod">
        <pc:chgData name="Aurelien Domont" userId="6da7715ce44349b3" providerId="LiveId" clId="{4B4C3012-157D-4E70-9450-C4952F9A74AA}" dt="2021-07-09T04:52:23.935" v="527" actId="404"/>
        <pc:sldMkLst>
          <pc:docMk/>
          <pc:sldMk cId="3272444503" sldId="2162"/>
        </pc:sldMkLst>
        <pc:spChg chg="mod">
          <ac:chgData name="Aurelien Domont" userId="6da7715ce44349b3" providerId="LiveId" clId="{4B4C3012-157D-4E70-9450-C4952F9A74AA}" dt="2021-07-09T04:52:23.935" v="527" actId="404"/>
          <ac:spMkLst>
            <pc:docMk/>
            <pc:sldMk cId="3272444503" sldId="2162"/>
            <ac:spMk id="16" creationId="{6C2BB713-9637-4B9B-938F-E9768876782A}"/>
          </ac:spMkLst>
        </pc:spChg>
        <pc:spChg chg="mod">
          <ac:chgData name="Aurelien Domont" userId="6da7715ce44349b3" providerId="LiveId" clId="{4B4C3012-157D-4E70-9450-C4952F9A74AA}" dt="2021-07-09T03:29:03.401" v="49"/>
          <ac:spMkLst>
            <pc:docMk/>
            <pc:sldMk cId="3272444503" sldId="2162"/>
            <ac:spMk id="34" creationId="{2B936149-E2A6-4141-A333-C5E1855245B1}"/>
          </ac:spMkLst>
        </pc:spChg>
      </pc:sldChg>
      <pc:sldChg chg="modSp mod">
        <pc:chgData name="Aurelien Domont" userId="6da7715ce44349b3" providerId="LiveId" clId="{4B4C3012-157D-4E70-9450-C4952F9A74AA}" dt="2021-07-09T05:06:07.112" v="530"/>
        <pc:sldMkLst>
          <pc:docMk/>
          <pc:sldMk cId="3193088531" sldId="2164"/>
        </pc:sldMkLst>
        <pc:spChg chg="mod">
          <ac:chgData name="Aurelien Domont" userId="6da7715ce44349b3" providerId="LiveId" clId="{4B4C3012-157D-4E70-9450-C4952F9A74AA}" dt="2021-07-09T03:29:03.401" v="49"/>
          <ac:spMkLst>
            <pc:docMk/>
            <pc:sldMk cId="3193088531" sldId="2164"/>
            <ac:spMk id="10" creationId="{F6F130AE-016B-49E7-B056-02422308B35C}"/>
          </ac:spMkLst>
        </pc:spChg>
        <pc:spChg chg="mod">
          <ac:chgData name="Aurelien Domont" userId="6da7715ce44349b3" providerId="LiveId" clId="{4B4C3012-157D-4E70-9450-C4952F9A74AA}" dt="2021-07-09T05:06:07.112" v="530"/>
          <ac:spMkLst>
            <pc:docMk/>
            <pc:sldMk cId="3193088531" sldId="2164"/>
            <ac:spMk id="16" creationId="{6C2BB713-9637-4B9B-938F-E9768876782A}"/>
          </ac:spMkLst>
        </pc:spChg>
      </pc:sldChg>
      <pc:sldChg chg="del">
        <pc:chgData name="Aurelien Domont" userId="6da7715ce44349b3" providerId="LiveId" clId="{4B4C3012-157D-4E70-9450-C4952F9A74AA}" dt="2021-07-20T00:29:00.949" v="631" actId="47"/>
        <pc:sldMkLst>
          <pc:docMk/>
          <pc:sldMk cId="2400249224" sldId="2165"/>
        </pc:sldMkLst>
      </pc:sldChg>
      <pc:sldChg chg="modSp mod">
        <pc:chgData name="Aurelien Domont" userId="6da7715ce44349b3" providerId="LiveId" clId="{4B4C3012-157D-4E70-9450-C4952F9A74AA}" dt="2021-07-09T05:07:52.798" v="531" actId="20577"/>
        <pc:sldMkLst>
          <pc:docMk/>
          <pc:sldMk cId="2369505737" sldId="2167"/>
        </pc:sldMkLst>
        <pc:spChg chg="mod">
          <ac:chgData name="Aurelien Domont" userId="6da7715ce44349b3" providerId="LiveId" clId="{4B4C3012-157D-4E70-9450-C4952F9A74AA}" dt="2021-07-09T03:28:26.059" v="48" actId="6549"/>
          <ac:spMkLst>
            <pc:docMk/>
            <pc:sldMk cId="2369505737" sldId="2167"/>
            <ac:spMk id="10" creationId="{B4598AEF-78F8-475E-AC7D-E8372096BAB2}"/>
          </ac:spMkLst>
        </pc:spChg>
        <pc:spChg chg="mod">
          <ac:chgData name="Aurelien Domont" userId="6da7715ce44349b3" providerId="LiveId" clId="{4B4C3012-157D-4E70-9450-C4952F9A74AA}" dt="2021-07-09T05:07:52.798" v="531" actId="20577"/>
          <ac:spMkLst>
            <pc:docMk/>
            <pc:sldMk cId="2369505737" sldId="2167"/>
            <ac:spMk id="16" creationId="{6C2BB713-9637-4B9B-938F-E9768876782A}"/>
          </ac:spMkLst>
        </pc:spChg>
      </pc:sldChg>
      <pc:sldChg chg="addSp delSp modSp mod">
        <pc:chgData name="Aurelien Domont" userId="6da7715ce44349b3" providerId="LiveId" clId="{4B4C3012-157D-4E70-9450-C4952F9A74AA}" dt="2021-07-09T05:23:13.038" v="539"/>
        <pc:sldMkLst>
          <pc:docMk/>
          <pc:sldMk cId="4178836903" sldId="2169"/>
        </pc:sldMkLst>
        <pc:spChg chg="add mod">
          <ac:chgData name="Aurelien Domont" userId="6da7715ce44349b3" providerId="LiveId" clId="{4B4C3012-157D-4E70-9450-C4952F9A74AA}" dt="2021-07-09T05:23:06.603" v="536"/>
          <ac:spMkLst>
            <pc:docMk/>
            <pc:sldMk cId="4178836903" sldId="2169"/>
            <ac:spMk id="12" creationId="{E7675798-47BC-4250-BA24-0E2AC4A10A86}"/>
          </ac:spMkLst>
        </pc:spChg>
        <pc:spChg chg="add mod">
          <ac:chgData name="Aurelien Domont" userId="6da7715ce44349b3" providerId="LiveId" clId="{4B4C3012-157D-4E70-9450-C4952F9A74AA}" dt="2021-07-09T05:23:13.038" v="539"/>
          <ac:spMkLst>
            <pc:docMk/>
            <pc:sldMk cId="4178836903" sldId="2169"/>
            <ac:spMk id="15" creationId="{9D051C05-62A5-4FB5-846C-31987D33AA9E}"/>
          </ac:spMkLst>
        </pc:spChg>
        <pc:spChg chg="add mod">
          <ac:chgData name="Aurelien Domont" userId="6da7715ce44349b3" providerId="LiveId" clId="{4B4C3012-157D-4E70-9450-C4952F9A74AA}" dt="2021-07-09T05:23:09.408" v="537"/>
          <ac:spMkLst>
            <pc:docMk/>
            <pc:sldMk cId="4178836903" sldId="2169"/>
            <ac:spMk id="17" creationId="{142BE8BF-9256-475D-900B-55FCC0CE6DB5}"/>
          </ac:spMkLst>
        </pc:spChg>
        <pc:spChg chg="add del mod">
          <ac:chgData name="Aurelien Domont" userId="6da7715ce44349b3" providerId="LiveId" clId="{4B4C3012-157D-4E70-9450-C4952F9A74AA}" dt="2021-07-09T03:46:05.495" v="223" actId="478"/>
          <ac:spMkLst>
            <pc:docMk/>
            <pc:sldMk cId="4178836903" sldId="2169"/>
            <ac:spMk id="18" creationId="{E12AE6E6-31E1-4A14-87D6-554577C39F2D}"/>
          </ac:spMkLst>
        </pc:spChg>
        <pc:spChg chg="add mod">
          <ac:chgData name="Aurelien Domont" userId="6da7715ce44349b3" providerId="LiveId" clId="{4B4C3012-157D-4E70-9450-C4952F9A74AA}" dt="2021-07-09T05:23:11.059" v="538"/>
          <ac:spMkLst>
            <pc:docMk/>
            <pc:sldMk cId="4178836903" sldId="2169"/>
            <ac:spMk id="19" creationId="{B9017FA6-F0E0-4269-9C6B-53FA5BEF3E64}"/>
          </ac:spMkLst>
        </pc:spChg>
        <pc:picChg chg="mod">
          <ac:chgData name="Aurelien Domont" userId="6da7715ce44349b3" providerId="LiveId" clId="{4B4C3012-157D-4E70-9450-C4952F9A74AA}" dt="2021-07-09T03:43:30.991" v="113" actId="14100"/>
          <ac:picMkLst>
            <pc:docMk/>
            <pc:sldMk cId="4178836903" sldId="2169"/>
            <ac:picMk id="2" creationId="{84E5CC93-D5AA-458E-BB87-714F1E53178E}"/>
          </ac:picMkLst>
        </pc:picChg>
        <pc:picChg chg="mod">
          <ac:chgData name="Aurelien Domont" userId="6da7715ce44349b3" providerId="LiveId" clId="{4B4C3012-157D-4E70-9450-C4952F9A74AA}" dt="2021-07-09T03:43:30.991" v="113" actId="14100"/>
          <ac:picMkLst>
            <pc:docMk/>
            <pc:sldMk cId="4178836903" sldId="2169"/>
            <ac:picMk id="3" creationId="{097ECFA8-B152-4816-9DCE-7FB11FD32803}"/>
          </ac:picMkLst>
        </pc:picChg>
        <pc:picChg chg="mod">
          <ac:chgData name="Aurelien Domont" userId="6da7715ce44349b3" providerId="LiveId" clId="{4B4C3012-157D-4E70-9450-C4952F9A74AA}" dt="2021-07-09T03:43:38.206" v="123" actId="1036"/>
          <ac:picMkLst>
            <pc:docMk/>
            <pc:sldMk cId="4178836903" sldId="2169"/>
            <ac:picMk id="4" creationId="{71090539-4853-42C0-8BB5-619FDF372F84}"/>
          </ac:picMkLst>
        </pc:picChg>
        <pc:picChg chg="mod">
          <ac:chgData name="Aurelien Domont" userId="6da7715ce44349b3" providerId="LiveId" clId="{4B4C3012-157D-4E70-9450-C4952F9A74AA}" dt="2021-07-09T03:43:38.206" v="123" actId="1036"/>
          <ac:picMkLst>
            <pc:docMk/>
            <pc:sldMk cId="4178836903" sldId="2169"/>
            <ac:picMk id="11" creationId="{F7A9918B-B7CD-4643-8B6A-74AEBFA4B2C2}"/>
          </ac:picMkLst>
        </pc:picChg>
      </pc:sldChg>
      <pc:sldChg chg="add del">
        <pc:chgData name="Aurelien Domont" userId="6da7715ce44349b3" providerId="LiveId" clId="{4B4C3012-157D-4E70-9450-C4952F9A74AA}" dt="2021-07-09T05:14:58.434" v="535"/>
        <pc:sldMkLst>
          <pc:docMk/>
          <pc:sldMk cId="150556238" sldId="2178"/>
        </pc:sldMkLst>
      </pc:sldChg>
      <pc:sldChg chg="addSp delSp modSp add del">
        <pc:chgData name="Aurelien Domont" userId="6da7715ce44349b3" providerId="LiveId" clId="{4B4C3012-157D-4E70-9450-C4952F9A74AA}" dt="2021-07-09T05:14:58.434" v="535"/>
        <pc:sldMkLst>
          <pc:docMk/>
          <pc:sldMk cId="1447101754" sldId="2185"/>
        </pc:sldMkLst>
        <pc:spChg chg="mod">
          <ac:chgData name="Aurelien Domont" userId="6da7715ce44349b3" providerId="LiveId" clId="{4B4C3012-157D-4E70-9450-C4952F9A74AA}" dt="2021-07-09T05:14:43.935" v="533"/>
          <ac:spMkLst>
            <pc:docMk/>
            <pc:sldMk cId="1447101754" sldId="2185"/>
            <ac:spMk id="20" creationId="{500E19B8-4760-43E2-B0C3-8FD34131B73C}"/>
          </ac:spMkLst>
        </pc:spChg>
        <pc:spChg chg="mod">
          <ac:chgData name="Aurelien Domont" userId="6da7715ce44349b3" providerId="LiveId" clId="{4B4C3012-157D-4E70-9450-C4952F9A74AA}" dt="2021-07-09T05:14:43.935" v="533"/>
          <ac:spMkLst>
            <pc:docMk/>
            <pc:sldMk cId="1447101754" sldId="2185"/>
            <ac:spMk id="25" creationId="{B5DA6C01-D894-48F7-BA18-57CB6E1CF65F}"/>
          </ac:spMkLst>
        </pc:spChg>
        <pc:grpChg chg="add del mod">
          <ac:chgData name="Aurelien Domont" userId="6da7715ce44349b3" providerId="LiveId" clId="{4B4C3012-157D-4E70-9450-C4952F9A74AA}" dt="2021-07-09T05:14:56.697" v="534"/>
          <ac:grpSpMkLst>
            <pc:docMk/>
            <pc:sldMk cId="1447101754" sldId="2185"/>
            <ac:grpSpMk id="19" creationId="{09608659-59A9-427D-BFBD-4E8147C07B18}"/>
          </ac:grpSpMkLst>
        </pc:grpChg>
        <pc:cxnChg chg="mod">
          <ac:chgData name="Aurelien Domont" userId="6da7715ce44349b3" providerId="LiveId" clId="{4B4C3012-157D-4E70-9450-C4952F9A74AA}" dt="2021-07-09T05:14:43.935" v="533"/>
          <ac:cxnSpMkLst>
            <pc:docMk/>
            <pc:sldMk cId="1447101754" sldId="2185"/>
            <ac:cxnSpMk id="26" creationId="{C7DE88C2-30F2-47D9-A1E7-0733BBDED017}"/>
          </ac:cxnSpMkLst>
        </pc:cxnChg>
        <pc:cxnChg chg="mod">
          <ac:chgData name="Aurelien Domont" userId="6da7715ce44349b3" providerId="LiveId" clId="{4B4C3012-157D-4E70-9450-C4952F9A74AA}" dt="2021-07-09T05:14:43.935" v="533"/>
          <ac:cxnSpMkLst>
            <pc:docMk/>
            <pc:sldMk cId="1447101754" sldId="2185"/>
            <ac:cxnSpMk id="27" creationId="{C6929354-02D7-4E62-BF12-6CCA108382AE}"/>
          </ac:cxnSpMkLst>
        </pc:cxnChg>
      </pc:sldChg>
      <pc:sldChg chg="modSp">
        <pc:chgData name="Aurelien Domont" userId="6da7715ce44349b3" providerId="LiveId" clId="{4B4C3012-157D-4E70-9450-C4952F9A74AA}" dt="2021-07-09T03:29:03.401" v="49"/>
        <pc:sldMkLst>
          <pc:docMk/>
          <pc:sldMk cId="4258618140" sldId="2187"/>
        </pc:sldMkLst>
        <pc:spChg chg="mod">
          <ac:chgData name="Aurelien Domont" userId="6da7715ce44349b3" providerId="LiveId" clId="{4B4C3012-157D-4E70-9450-C4952F9A74AA}" dt="2021-07-09T03:29:03.401" v="49"/>
          <ac:spMkLst>
            <pc:docMk/>
            <pc:sldMk cId="4258618140" sldId="2187"/>
            <ac:spMk id="37" creationId="{4C7EFCC8-043E-481C-9578-CB71BB412AE5}"/>
          </ac:spMkLst>
        </pc:spChg>
        <pc:spChg chg="mod">
          <ac:chgData name="Aurelien Domont" userId="6da7715ce44349b3" providerId="LiveId" clId="{4B4C3012-157D-4E70-9450-C4952F9A74AA}" dt="2021-07-09T03:29:03.401" v="49"/>
          <ac:spMkLst>
            <pc:docMk/>
            <pc:sldMk cId="4258618140" sldId="2187"/>
            <ac:spMk id="41" creationId="{72366D1D-DF2B-48D3-BEAB-6BC2B5054885}"/>
          </ac:spMkLst>
        </pc:spChg>
      </pc:sldChg>
      <pc:sldChg chg="modSp">
        <pc:chgData name="Aurelien Domont" userId="6da7715ce44349b3" providerId="LiveId" clId="{4B4C3012-157D-4E70-9450-C4952F9A74AA}" dt="2021-07-09T03:29:03.401" v="49"/>
        <pc:sldMkLst>
          <pc:docMk/>
          <pc:sldMk cId="1390113814" sldId="2188"/>
        </pc:sldMkLst>
        <pc:spChg chg="mod">
          <ac:chgData name="Aurelien Domont" userId="6da7715ce44349b3" providerId="LiveId" clId="{4B4C3012-157D-4E70-9450-C4952F9A74AA}" dt="2021-07-09T03:29:03.401" v="49"/>
          <ac:spMkLst>
            <pc:docMk/>
            <pc:sldMk cId="1390113814" sldId="2188"/>
            <ac:spMk id="10" creationId="{B4598AEF-78F8-475E-AC7D-E8372096BAB2}"/>
          </ac:spMkLst>
        </pc:spChg>
      </pc:sldChg>
      <pc:sldChg chg="modSp">
        <pc:chgData name="Aurelien Domont" userId="6da7715ce44349b3" providerId="LiveId" clId="{4B4C3012-157D-4E70-9450-C4952F9A74AA}" dt="2021-07-09T03:29:03.401" v="49"/>
        <pc:sldMkLst>
          <pc:docMk/>
          <pc:sldMk cId="1002747840" sldId="2189"/>
        </pc:sldMkLst>
        <pc:spChg chg="mod">
          <ac:chgData name="Aurelien Domont" userId="6da7715ce44349b3" providerId="LiveId" clId="{4B4C3012-157D-4E70-9450-C4952F9A74AA}" dt="2021-07-09T03:29:03.401" v="49"/>
          <ac:spMkLst>
            <pc:docMk/>
            <pc:sldMk cId="1002747840" sldId="2189"/>
            <ac:spMk id="10" creationId="{B4598AEF-78F8-475E-AC7D-E8372096BAB2}"/>
          </ac:spMkLst>
        </pc:spChg>
      </pc:sldChg>
      <pc:sldChg chg="addSp delSp modSp mod">
        <pc:chgData name="Aurelien Domont" userId="6da7715ce44349b3" providerId="LiveId" clId="{4B4C3012-157D-4E70-9450-C4952F9A74AA}" dt="2021-07-09T05:23:23.628" v="543"/>
        <pc:sldMkLst>
          <pc:docMk/>
          <pc:sldMk cId="2349979947" sldId="2190"/>
        </pc:sldMkLst>
        <pc:spChg chg="add mod">
          <ac:chgData name="Aurelien Domont" userId="6da7715ce44349b3" providerId="LiveId" clId="{4B4C3012-157D-4E70-9450-C4952F9A74AA}" dt="2021-07-09T05:23:16.945" v="540"/>
          <ac:spMkLst>
            <pc:docMk/>
            <pc:sldMk cId="2349979947" sldId="2190"/>
            <ac:spMk id="22" creationId="{F4DAF654-340D-4B75-B8E9-38BAB8DB34FD}"/>
          </ac:spMkLst>
        </pc:spChg>
        <pc:spChg chg="add mod">
          <ac:chgData name="Aurelien Domont" userId="6da7715ce44349b3" providerId="LiveId" clId="{4B4C3012-157D-4E70-9450-C4952F9A74AA}" dt="2021-07-09T05:23:23.628" v="543"/>
          <ac:spMkLst>
            <pc:docMk/>
            <pc:sldMk cId="2349979947" sldId="2190"/>
            <ac:spMk id="23" creationId="{5992F7C2-C90A-496E-BD21-743F05885307}"/>
          </ac:spMkLst>
        </pc:spChg>
        <pc:spChg chg="add mod">
          <ac:chgData name="Aurelien Domont" userId="6da7715ce44349b3" providerId="LiveId" clId="{4B4C3012-157D-4E70-9450-C4952F9A74AA}" dt="2021-07-09T05:23:18.667" v="541"/>
          <ac:spMkLst>
            <pc:docMk/>
            <pc:sldMk cId="2349979947" sldId="2190"/>
            <ac:spMk id="24" creationId="{045700D2-8228-44CB-B976-038E65CAE418}"/>
          </ac:spMkLst>
        </pc:spChg>
        <pc:spChg chg="add mod">
          <ac:chgData name="Aurelien Domont" userId="6da7715ce44349b3" providerId="LiveId" clId="{4B4C3012-157D-4E70-9450-C4952F9A74AA}" dt="2021-07-09T05:23:19.995" v="542"/>
          <ac:spMkLst>
            <pc:docMk/>
            <pc:sldMk cId="2349979947" sldId="2190"/>
            <ac:spMk id="25" creationId="{A903233A-54AD-46D4-850C-64259B5EB4D8}"/>
          </ac:spMkLst>
        </pc:spChg>
        <pc:picChg chg="del">
          <ac:chgData name="Aurelien Domont" userId="6da7715ce44349b3" providerId="LiveId" clId="{4B4C3012-157D-4E70-9450-C4952F9A74AA}" dt="2021-07-09T03:48:32.086" v="239" actId="478"/>
          <ac:picMkLst>
            <pc:docMk/>
            <pc:sldMk cId="2349979947" sldId="2190"/>
            <ac:picMk id="12" creationId="{FE9B9E94-357E-4B04-9B76-B64A2AD3319C}"/>
          </ac:picMkLst>
        </pc:picChg>
        <pc:picChg chg="del">
          <ac:chgData name="Aurelien Domont" userId="6da7715ce44349b3" providerId="LiveId" clId="{4B4C3012-157D-4E70-9450-C4952F9A74AA}" dt="2021-07-09T03:48:32.086" v="239" actId="478"/>
          <ac:picMkLst>
            <pc:docMk/>
            <pc:sldMk cId="2349979947" sldId="2190"/>
            <ac:picMk id="14" creationId="{4D3A6F3A-8786-441E-90A3-61E8C8D72553}"/>
          </ac:picMkLst>
        </pc:picChg>
        <pc:picChg chg="del">
          <ac:chgData name="Aurelien Domont" userId="6da7715ce44349b3" providerId="LiveId" clId="{4B4C3012-157D-4E70-9450-C4952F9A74AA}" dt="2021-07-09T03:48:32.086" v="239" actId="478"/>
          <ac:picMkLst>
            <pc:docMk/>
            <pc:sldMk cId="2349979947" sldId="2190"/>
            <ac:picMk id="15" creationId="{659A23D5-65DD-4CEA-855D-90A0B5E2BE2A}"/>
          </ac:picMkLst>
        </pc:picChg>
        <pc:picChg chg="del">
          <ac:chgData name="Aurelien Domont" userId="6da7715ce44349b3" providerId="LiveId" clId="{4B4C3012-157D-4E70-9450-C4952F9A74AA}" dt="2021-07-09T03:48:32.086" v="239" actId="478"/>
          <ac:picMkLst>
            <pc:docMk/>
            <pc:sldMk cId="2349979947" sldId="2190"/>
            <ac:picMk id="17" creationId="{3A1116B0-8834-4AD7-B5A9-FC56ADD00397}"/>
          </ac:picMkLst>
        </pc:picChg>
        <pc:picChg chg="add del mod">
          <ac:chgData name="Aurelien Domont" userId="6da7715ce44349b3" providerId="LiveId" clId="{4B4C3012-157D-4E70-9450-C4952F9A74AA}" dt="2021-07-09T03:49:54.017" v="266" actId="478"/>
          <ac:picMkLst>
            <pc:docMk/>
            <pc:sldMk cId="2349979947" sldId="2190"/>
            <ac:picMk id="18" creationId="{C3BA0179-4EC8-4CB0-B9F3-382CC0868B43}"/>
          </ac:picMkLst>
        </pc:picChg>
        <pc:picChg chg="add del mod">
          <ac:chgData name="Aurelien Domont" userId="6da7715ce44349b3" providerId="LiveId" clId="{4B4C3012-157D-4E70-9450-C4952F9A74AA}" dt="2021-07-09T03:49:54.017" v="266" actId="478"/>
          <ac:picMkLst>
            <pc:docMk/>
            <pc:sldMk cId="2349979947" sldId="2190"/>
            <ac:picMk id="19" creationId="{FC4CA3FB-F8B5-4BCC-9CC3-4C31D96FC49F}"/>
          </ac:picMkLst>
        </pc:picChg>
        <pc:picChg chg="add del mod">
          <ac:chgData name="Aurelien Domont" userId="6da7715ce44349b3" providerId="LiveId" clId="{4B4C3012-157D-4E70-9450-C4952F9A74AA}" dt="2021-07-09T03:49:54.017" v="266" actId="478"/>
          <ac:picMkLst>
            <pc:docMk/>
            <pc:sldMk cId="2349979947" sldId="2190"/>
            <ac:picMk id="20" creationId="{6F5B41ED-29E9-43E5-A152-8BD1390D618D}"/>
          </ac:picMkLst>
        </pc:picChg>
        <pc:picChg chg="add del mod">
          <ac:chgData name="Aurelien Domont" userId="6da7715ce44349b3" providerId="LiveId" clId="{4B4C3012-157D-4E70-9450-C4952F9A74AA}" dt="2021-07-09T03:49:54.017" v="266" actId="478"/>
          <ac:picMkLst>
            <pc:docMk/>
            <pc:sldMk cId="2349979947" sldId="2190"/>
            <ac:picMk id="21" creationId="{F022D1B4-33F9-4D0F-B431-47A0A627DD59}"/>
          </ac:picMkLst>
        </pc:picChg>
        <pc:picChg chg="add del mod">
          <ac:chgData name="Aurelien Domont" userId="6da7715ce44349b3" providerId="LiveId" clId="{4B4C3012-157D-4E70-9450-C4952F9A74AA}" dt="2021-07-09T03:49:13.878" v="250"/>
          <ac:picMkLst>
            <pc:docMk/>
            <pc:sldMk cId="2349979947" sldId="2190"/>
            <ac:picMk id="26" creationId="{38407265-3265-4C18-8AA6-70950F7316F0}"/>
          </ac:picMkLst>
        </pc:picChg>
        <pc:picChg chg="add del mod">
          <ac:chgData name="Aurelien Domont" userId="6da7715ce44349b3" providerId="LiveId" clId="{4B4C3012-157D-4E70-9450-C4952F9A74AA}" dt="2021-07-09T03:49:13.878" v="250"/>
          <ac:picMkLst>
            <pc:docMk/>
            <pc:sldMk cId="2349979947" sldId="2190"/>
            <ac:picMk id="27" creationId="{B30E59E1-CE9C-4FDB-9671-22383CA60698}"/>
          </ac:picMkLst>
        </pc:picChg>
        <pc:picChg chg="add del mod">
          <ac:chgData name="Aurelien Domont" userId="6da7715ce44349b3" providerId="LiveId" clId="{4B4C3012-157D-4E70-9450-C4952F9A74AA}" dt="2021-07-09T03:49:13.878" v="250"/>
          <ac:picMkLst>
            <pc:docMk/>
            <pc:sldMk cId="2349979947" sldId="2190"/>
            <ac:picMk id="28" creationId="{2C6FAC14-187B-4417-95BE-79C063CA384A}"/>
          </ac:picMkLst>
        </pc:picChg>
        <pc:picChg chg="add del mod">
          <ac:chgData name="Aurelien Domont" userId="6da7715ce44349b3" providerId="LiveId" clId="{4B4C3012-157D-4E70-9450-C4952F9A74AA}" dt="2021-07-09T03:49:13.878" v="250"/>
          <ac:picMkLst>
            <pc:docMk/>
            <pc:sldMk cId="2349979947" sldId="2190"/>
            <ac:picMk id="29" creationId="{623787E6-7A4B-4B4C-8813-D49ABF4096F6}"/>
          </ac:picMkLst>
        </pc:picChg>
        <pc:picChg chg="add mod ord">
          <ac:chgData name="Aurelien Domont" userId="6da7715ce44349b3" providerId="LiveId" clId="{4B4C3012-157D-4E70-9450-C4952F9A74AA}" dt="2021-07-09T03:49:50.441" v="265" actId="167"/>
          <ac:picMkLst>
            <pc:docMk/>
            <pc:sldMk cId="2349979947" sldId="2190"/>
            <ac:picMk id="30" creationId="{7BE26EE6-02D0-4299-8D40-D5FE747FC6EC}"/>
          </ac:picMkLst>
        </pc:picChg>
        <pc:picChg chg="add mod ord">
          <ac:chgData name="Aurelien Domont" userId="6da7715ce44349b3" providerId="LiveId" clId="{4B4C3012-157D-4E70-9450-C4952F9A74AA}" dt="2021-07-09T03:49:50.441" v="265" actId="167"/>
          <ac:picMkLst>
            <pc:docMk/>
            <pc:sldMk cId="2349979947" sldId="2190"/>
            <ac:picMk id="31" creationId="{01772D02-2A23-4F53-A80C-CFCBAA14DE60}"/>
          </ac:picMkLst>
        </pc:picChg>
        <pc:picChg chg="add mod ord">
          <ac:chgData name="Aurelien Domont" userId="6da7715ce44349b3" providerId="LiveId" clId="{4B4C3012-157D-4E70-9450-C4952F9A74AA}" dt="2021-07-09T03:49:50.441" v="265" actId="167"/>
          <ac:picMkLst>
            <pc:docMk/>
            <pc:sldMk cId="2349979947" sldId="2190"/>
            <ac:picMk id="32" creationId="{736A7551-1054-4CFB-A286-4083A79078E0}"/>
          </ac:picMkLst>
        </pc:picChg>
        <pc:picChg chg="add mod ord">
          <ac:chgData name="Aurelien Domont" userId="6da7715ce44349b3" providerId="LiveId" clId="{4B4C3012-157D-4E70-9450-C4952F9A74AA}" dt="2021-07-09T03:49:50.441" v="265" actId="167"/>
          <ac:picMkLst>
            <pc:docMk/>
            <pc:sldMk cId="2349979947" sldId="2190"/>
            <ac:picMk id="33" creationId="{3886DD78-4C41-40C9-8DAB-58415E8DB15A}"/>
          </ac:picMkLst>
        </pc:picChg>
      </pc:sldChg>
      <pc:sldChg chg="addSp delSp modSp mod">
        <pc:chgData name="Aurelien Domont" userId="6da7715ce44349b3" providerId="LiveId" clId="{4B4C3012-157D-4E70-9450-C4952F9A74AA}" dt="2021-07-09T05:23:34.675" v="547"/>
        <pc:sldMkLst>
          <pc:docMk/>
          <pc:sldMk cId="3340324934" sldId="2191"/>
        </pc:sldMkLst>
        <pc:spChg chg="add mod">
          <ac:chgData name="Aurelien Domont" userId="6da7715ce44349b3" providerId="LiveId" clId="{4B4C3012-157D-4E70-9450-C4952F9A74AA}" dt="2021-07-09T05:23:30.543" v="545"/>
          <ac:spMkLst>
            <pc:docMk/>
            <pc:sldMk cId="3340324934" sldId="2191"/>
            <ac:spMk id="21" creationId="{75061E4F-FB3F-4F06-9960-64F132A3A8D1}"/>
          </ac:spMkLst>
        </pc:spChg>
        <pc:spChg chg="add mod">
          <ac:chgData name="Aurelien Domont" userId="6da7715ce44349b3" providerId="LiveId" clId="{4B4C3012-157D-4E70-9450-C4952F9A74AA}" dt="2021-07-09T05:23:28.577" v="544"/>
          <ac:spMkLst>
            <pc:docMk/>
            <pc:sldMk cId="3340324934" sldId="2191"/>
            <ac:spMk id="22" creationId="{BE5FBC9B-6CEF-4DA9-9F52-9FA051FC5284}"/>
          </ac:spMkLst>
        </pc:spChg>
        <pc:spChg chg="add mod">
          <ac:chgData name="Aurelien Domont" userId="6da7715ce44349b3" providerId="LiveId" clId="{4B4C3012-157D-4E70-9450-C4952F9A74AA}" dt="2021-07-09T05:23:32.034" v="546"/>
          <ac:spMkLst>
            <pc:docMk/>
            <pc:sldMk cId="3340324934" sldId="2191"/>
            <ac:spMk id="23" creationId="{F4285113-78D1-43EE-BCA0-447610636AE3}"/>
          </ac:spMkLst>
        </pc:spChg>
        <pc:spChg chg="add mod">
          <ac:chgData name="Aurelien Domont" userId="6da7715ce44349b3" providerId="LiveId" clId="{4B4C3012-157D-4E70-9450-C4952F9A74AA}" dt="2021-07-09T05:23:34.675" v="547"/>
          <ac:spMkLst>
            <pc:docMk/>
            <pc:sldMk cId="3340324934" sldId="2191"/>
            <ac:spMk id="24" creationId="{E8D393BA-0F9C-45C6-9A09-6B2652E3655F}"/>
          </ac:spMkLst>
        </pc:spChg>
        <pc:picChg chg="del">
          <ac:chgData name="Aurelien Domont" userId="6da7715ce44349b3" providerId="LiveId" clId="{4B4C3012-157D-4E70-9450-C4952F9A74AA}" dt="2021-07-09T03:52:34.244" v="376" actId="478"/>
          <ac:picMkLst>
            <pc:docMk/>
            <pc:sldMk cId="3340324934" sldId="2191"/>
            <ac:picMk id="3" creationId="{15370C7C-145F-4349-AE96-1E50E9582145}"/>
          </ac:picMkLst>
        </pc:picChg>
        <pc:picChg chg="del mod">
          <ac:chgData name="Aurelien Domont" userId="6da7715ce44349b3" providerId="LiveId" clId="{4B4C3012-157D-4E70-9450-C4952F9A74AA}" dt="2021-07-09T03:52:34.244" v="376" actId="478"/>
          <ac:picMkLst>
            <pc:docMk/>
            <pc:sldMk cId="3340324934" sldId="2191"/>
            <ac:picMk id="11" creationId="{25D5DDB8-F1BB-4113-A087-0C0A746C7EB2}"/>
          </ac:picMkLst>
        </pc:picChg>
        <pc:picChg chg="add del mod">
          <ac:chgData name="Aurelien Domont" userId="6da7715ce44349b3" providerId="LiveId" clId="{4B4C3012-157D-4E70-9450-C4952F9A74AA}" dt="2021-07-09T03:54:01.047" v="464" actId="478"/>
          <ac:picMkLst>
            <pc:docMk/>
            <pc:sldMk cId="3340324934" sldId="2191"/>
            <ac:picMk id="14" creationId="{1B8F1F4A-CAB8-4B44-9253-6CE8E4FA1118}"/>
          </ac:picMkLst>
        </pc:picChg>
        <pc:picChg chg="add del mod">
          <ac:chgData name="Aurelien Domont" userId="6da7715ce44349b3" providerId="LiveId" clId="{4B4C3012-157D-4E70-9450-C4952F9A74AA}" dt="2021-07-09T03:54:01.047" v="464" actId="478"/>
          <ac:picMkLst>
            <pc:docMk/>
            <pc:sldMk cId="3340324934" sldId="2191"/>
            <ac:picMk id="15" creationId="{5FE44C92-7319-41CC-B6B3-2E206B3A9A9D}"/>
          </ac:picMkLst>
        </pc:picChg>
        <pc:picChg chg="add del mod">
          <ac:chgData name="Aurelien Domont" userId="6da7715ce44349b3" providerId="LiveId" clId="{4B4C3012-157D-4E70-9450-C4952F9A74AA}" dt="2021-07-09T03:54:01.047" v="464" actId="478"/>
          <ac:picMkLst>
            <pc:docMk/>
            <pc:sldMk cId="3340324934" sldId="2191"/>
            <ac:picMk id="17" creationId="{46323CE5-9CDD-4223-969E-B50F5D2DBB38}"/>
          </ac:picMkLst>
        </pc:picChg>
        <pc:picChg chg="add del mod">
          <ac:chgData name="Aurelien Domont" userId="6da7715ce44349b3" providerId="LiveId" clId="{4B4C3012-157D-4E70-9450-C4952F9A74AA}" dt="2021-07-09T03:54:01.047" v="464" actId="478"/>
          <ac:picMkLst>
            <pc:docMk/>
            <pc:sldMk cId="3340324934" sldId="2191"/>
            <ac:picMk id="18" creationId="{2B4EEF77-CFFE-4C4A-9E35-B54C15B65443}"/>
          </ac:picMkLst>
        </pc:picChg>
        <pc:picChg chg="del">
          <ac:chgData name="Aurelien Domont" userId="6da7715ce44349b3" providerId="LiveId" clId="{4B4C3012-157D-4E70-9450-C4952F9A74AA}" dt="2021-07-09T03:52:34.244" v="376" actId="478"/>
          <ac:picMkLst>
            <pc:docMk/>
            <pc:sldMk cId="3340324934" sldId="2191"/>
            <ac:picMk id="19" creationId="{510380BB-04DC-414E-AEA0-0A102EFB8B64}"/>
          </ac:picMkLst>
        </pc:picChg>
        <pc:picChg chg="del">
          <ac:chgData name="Aurelien Domont" userId="6da7715ce44349b3" providerId="LiveId" clId="{4B4C3012-157D-4E70-9450-C4952F9A74AA}" dt="2021-07-09T03:52:34.244" v="376" actId="478"/>
          <ac:picMkLst>
            <pc:docMk/>
            <pc:sldMk cId="3340324934" sldId="2191"/>
            <ac:picMk id="20" creationId="{6A38595B-0C20-4D15-AA90-C5B669693A38}"/>
          </ac:picMkLst>
        </pc:picChg>
        <pc:picChg chg="add mod ord">
          <ac:chgData name="Aurelien Domont" userId="6da7715ce44349b3" providerId="LiveId" clId="{4B4C3012-157D-4E70-9450-C4952F9A74AA}" dt="2021-07-09T03:53:57.632" v="463" actId="167"/>
          <ac:picMkLst>
            <pc:docMk/>
            <pc:sldMk cId="3340324934" sldId="2191"/>
            <ac:picMk id="25" creationId="{991C0F3F-DC96-4D75-A8E5-1828A799E29D}"/>
          </ac:picMkLst>
        </pc:picChg>
        <pc:picChg chg="add mod ord">
          <ac:chgData name="Aurelien Domont" userId="6da7715ce44349b3" providerId="LiveId" clId="{4B4C3012-157D-4E70-9450-C4952F9A74AA}" dt="2021-07-09T03:53:57.632" v="463" actId="167"/>
          <ac:picMkLst>
            <pc:docMk/>
            <pc:sldMk cId="3340324934" sldId="2191"/>
            <ac:picMk id="26" creationId="{6AAE44A4-591A-4C94-9FB2-433CDDFA6C03}"/>
          </ac:picMkLst>
        </pc:picChg>
        <pc:picChg chg="add mod ord">
          <ac:chgData name="Aurelien Domont" userId="6da7715ce44349b3" providerId="LiveId" clId="{4B4C3012-157D-4E70-9450-C4952F9A74AA}" dt="2021-07-09T03:53:57.632" v="463" actId="167"/>
          <ac:picMkLst>
            <pc:docMk/>
            <pc:sldMk cId="3340324934" sldId="2191"/>
            <ac:picMk id="27" creationId="{4C96D69A-8109-4F2B-8848-F0AC20DB52D1}"/>
          </ac:picMkLst>
        </pc:picChg>
        <pc:picChg chg="add mod ord">
          <ac:chgData name="Aurelien Domont" userId="6da7715ce44349b3" providerId="LiveId" clId="{4B4C3012-157D-4E70-9450-C4952F9A74AA}" dt="2021-07-09T03:53:57.632" v="463" actId="167"/>
          <ac:picMkLst>
            <pc:docMk/>
            <pc:sldMk cId="3340324934" sldId="2191"/>
            <ac:picMk id="28" creationId="{EDB39F5E-6638-42AD-AAA7-9ED4C622426E}"/>
          </ac:picMkLst>
        </pc:picChg>
      </pc:sldChg>
      <pc:sldChg chg="addSp delSp modSp add mod">
        <pc:chgData name="Aurelien Domont" userId="6da7715ce44349b3" providerId="LiveId" clId="{4B4C3012-157D-4E70-9450-C4952F9A74AA}" dt="2021-07-20T00:28:38.336" v="630" actId="20577"/>
        <pc:sldMkLst>
          <pc:docMk/>
          <pc:sldMk cId="1209091634" sldId="2192"/>
        </pc:sldMkLst>
        <pc:spChg chg="del">
          <ac:chgData name="Aurelien Domont" userId="6da7715ce44349b3" providerId="LiveId" clId="{4B4C3012-157D-4E70-9450-C4952F9A74AA}" dt="2021-07-20T00:27:02.310" v="597" actId="478"/>
          <ac:spMkLst>
            <pc:docMk/>
            <pc:sldMk cId="1209091634" sldId="2192"/>
            <ac:spMk id="11" creationId="{C945D0E4-EB22-47D2-A223-70BD240B1835}"/>
          </ac:spMkLst>
        </pc:spChg>
        <pc:spChg chg="del">
          <ac:chgData name="Aurelien Domont" userId="6da7715ce44349b3" providerId="LiveId" clId="{4B4C3012-157D-4E70-9450-C4952F9A74AA}" dt="2021-07-20T00:27:02.310" v="597" actId="478"/>
          <ac:spMkLst>
            <pc:docMk/>
            <pc:sldMk cId="1209091634" sldId="2192"/>
            <ac:spMk id="12" creationId="{823B4944-65C4-4BB1-9DFE-E40E286EE30D}"/>
          </ac:spMkLst>
        </pc:spChg>
        <pc:spChg chg="del">
          <ac:chgData name="Aurelien Domont" userId="6da7715ce44349b3" providerId="LiveId" clId="{4B4C3012-157D-4E70-9450-C4952F9A74AA}" dt="2021-07-20T00:27:02.310" v="597" actId="478"/>
          <ac:spMkLst>
            <pc:docMk/>
            <pc:sldMk cId="1209091634" sldId="2192"/>
            <ac:spMk id="18" creationId="{88429D78-7296-4BC5-B009-22D19FB81666}"/>
          </ac:spMkLst>
        </pc:spChg>
        <pc:spChg chg="del">
          <ac:chgData name="Aurelien Domont" userId="6da7715ce44349b3" providerId="LiveId" clId="{4B4C3012-157D-4E70-9450-C4952F9A74AA}" dt="2021-07-20T00:27:02.310" v="597" actId="478"/>
          <ac:spMkLst>
            <pc:docMk/>
            <pc:sldMk cId="1209091634" sldId="2192"/>
            <ac:spMk id="19" creationId="{D1342AC6-4D4C-4458-9891-9AB7B9818B31}"/>
          </ac:spMkLst>
        </pc:spChg>
        <pc:spChg chg="del">
          <ac:chgData name="Aurelien Domont" userId="6da7715ce44349b3" providerId="LiveId" clId="{4B4C3012-157D-4E70-9450-C4952F9A74AA}" dt="2021-07-20T00:27:02.310" v="597" actId="478"/>
          <ac:spMkLst>
            <pc:docMk/>
            <pc:sldMk cId="1209091634" sldId="2192"/>
            <ac:spMk id="20" creationId="{0C424759-6A53-4EB2-8AFA-918C5FBE1D15}"/>
          </ac:spMkLst>
        </pc:spChg>
        <pc:spChg chg="del">
          <ac:chgData name="Aurelien Domont" userId="6da7715ce44349b3" providerId="LiveId" clId="{4B4C3012-157D-4E70-9450-C4952F9A74AA}" dt="2021-07-20T00:27:02.310" v="597" actId="478"/>
          <ac:spMkLst>
            <pc:docMk/>
            <pc:sldMk cId="1209091634" sldId="2192"/>
            <ac:spMk id="22" creationId="{2F78B30E-DA97-4E69-8F7E-6B67C7C7ACEC}"/>
          </ac:spMkLst>
        </pc:spChg>
        <pc:spChg chg="del">
          <ac:chgData name="Aurelien Domont" userId="6da7715ce44349b3" providerId="LiveId" clId="{4B4C3012-157D-4E70-9450-C4952F9A74AA}" dt="2021-07-20T00:27:02.310" v="597" actId="478"/>
          <ac:spMkLst>
            <pc:docMk/>
            <pc:sldMk cId="1209091634" sldId="2192"/>
            <ac:spMk id="23" creationId="{1EA029EC-6818-49F2-B572-01B2F5F20DEB}"/>
          </ac:spMkLst>
        </pc:spChg>
        <pc:spChg chg="del">
          <ac:chgData name="Aurelien Domont" userId="6da7715ce44349b3" providerId="LiveId" clId="{4B4C3012-157D-4E70-9450-C4952F9A74AA}" dt="2021-07-20T00:27:02.310" v="597" actId="478"/>
          <ac:spMkLst>
            <pc:docMk/>
            <pc:sldMk cId="1209091634" sldId="2192"/>
            <ac:spMk id="24" creationId="{C5DC413F-6B65-4481-B60E-C6DBB128152C}"/>
          </ac:spMkLst>
        </pc:spChg>
        <pc:spChg chg="add mod">
          <ac:chgData name="Aurelien Domont" userId="6da7715ce44349b3" providerId="LiveId" clId="{4B4C3012-157D-4E70-9450-C4952F9A74AA}" dt="2021-07-20T00:27:25.873" v="598"/>
          <ac:spMkLst>
            <pc:docMk/>
            <pc:sldMk cId="1209091634" sldId="2192"/>
            <ac:spMk id="27" creationId="{022F9676-1CDA-4501-AB55-94D67867C319}"/>
          </ac:spMkLst>
        </pc:spChg>
        <pc:spChg chg="del">
          <ac:chgData name="Aurelien Domont" userId="6da7715ce44349b3" providerId="LiveId" clId="{4B4C3012-157D-4E70-9450-C4952F9A74AA}" dt="2021-07-20T00:27:02.310" v="597" actId="478"/>
          <ac:spMkLst>
            <pc:docMk/>
            <pc:sldMk cId="1209091634" sldId="2192"/>
            <ac:spMk id="29" creationId="{29DBF3F6-943A-4401-86EA-08968460D530}"/>
          </ac:spMkLst>
        </pc:spChg>
        <pc:spChg chg="del">
          <ac:chgData name="Aurelien Domont" userId="6da7715ce44349b3" providerId="LiveId" clId="{4B4C3012-157D-4E70-9450-C4952F9A74AA}" dt="2021-07-20T00:27:02.310" v="597" actId="478"/>
          <ac:spMkLst>
            <pc:docMk/>
            <pc:sldMk cId="1209091634" sldId="2192"/>
            <ac:spMk id="30" creationId="{C38C2946-25FF-4699-86AA-50F5DEBCFD04}"/>
          </ac:spMkLst>
        </pc:spChg>
        <pc:spChg chg="add mod">
          <ac:chgData name="Aurelien Domont" userId="6da7715ce44349b3" providerId="LiveId" clId="{4B4C3012-157D-4E70-9450-C4952F9A74AA}" dt="2021-07-20T00:27:25.873" v="598"/>
          <ac:spMkLst>
            <pc:docMk/>
            <pc:sldMk cId="1209091634" sldId="2192"/>
            <ac:spMk id="34" creationId="{7E571953-6197-4747-BD0F-640FF96CDD1D}"/>
          </ac:spMkLst>
        </pc:spChg>
        <pc:spChg chg="add mod">
          <ac:chgData name="Aurelien Domont" userId="6da7715ce44349b3" providerId="LiveId" clId="{4B4C3012-157D-4E70-9450-C4952F9A74AA}" dt="2021-07-20T00:27:25.873" v="598"/>
          <ac:spMkLst>
            <pc:docMk/>
            <pc:sldMk cId="1209091634" sldId="2192"/>
            <ac:spMk id="35" creationId="{4A99C3F6-A408-4486-A9F9-59002C595D07}"/>
          </ac:spMkLst>
        </pc:spChg>
        <pc:spChg chg="add mod">
          <ac:chgData name="Aurelien Domont" userId="6da7715ce44349b3" providerId="LiveId" clId="{4B4C3012-157D-4E70-9450-C4952F9A74AA}" dt="2021-07-20T00:27:25.873" v="598"/>
          <ac:spMkLst>
            <pc:docMk/>
            <pc:sldMk cId="1209091634" sldId="2192"/>
            <ac:spMk id="36" creationId="{5D53319E-0468-4B4B-98E5-3E07127703C8}"/>
          </ac:spMkLst>
        </pc:spChg>
        <pc:spChg chg="del">
          <ac:chgData name="Aurelien Domont" userId="6da7715ce44349b3" providerId="LiveId" clId="{4B4C3012-157D-4E70-9450-C4952F9A74AA}" dt="2021-07-20T00:27:02.310" v="597" actId="478"/>
          <ac:spMkLst>
            <pc:docMk/>
            <pc:sldMk cId="1209091634" sldId="2192"/>
            <ac:spMk id="37" creationId="{E090C855-9260-479C-B65C-3952652E8DF4}"/>
          </ac:spMkLst>
        </pc:spChg>
        <pc:spChg chg="add mod">
          <ac:chgData name="Aurelien Domont" userId="6da7715ce44349b3" providerId="LiveId" clId="{4B4C3012-157D-4E70-9450-C4952F9A74AA}" dt="2021-07-20T00:27:25.873" v="598"/>
          <ac:spMkLst>
            <pc:docMk/>
            <pc:sldMk cId="1209091634" sldId="2192"/>
            <ac:spMk id="38" creationId="{B6B72380-C6BC-4134-9D0C-56D5EA500C68}"/>
          </ac:spMkLst>
        </pc:spChg>
        <pc:spChg chg="add mod">
          <ac:chgData name="Aurelien Domont" userId="6da7715ce44349b3" providerId="LiveId" clId="{4B4C3012-157D-4E70-9450-C4952F9A74AA}" dt="2021-07-20T00:28:20.067" v="629" actId="1038"/>
          <ac:spMkLst>
            <pc:docMk/>
            <pc:sldMk cId="1209091634" sldId="2192"/>
            <ac:spMk id="39" creationId="{2D9D59B7-B461-45F8-BF85-083779934B0A}"/>
          </ac:spMkLst>
        </pc:spChg>
        <pc:spChg chg="add mod">
          <ac:chgData name="Aurelien Domont" userId="6da7715ce44349b3" providerId="LiveId" clId="{4B4C3012-157D-4E70-9450-C4952F9A74AA}" dt="2021-07-20T00:27:59.763" v="613"/>
          <ac:spMkLst>
            <pc:docMk/>
            <pc:sldMk cId="1209091634" sldId="2192"/>
            <ac:spMk id="40" creationId="{FEDB459F-A4B8-4765-B92A-8FA0C8E5F993}"/>
          </ac:spMkLst>
        </pc:spChg>
        <pc:spChg chg="add mod">
          <ac:chgData name="Aurelien Domont" userId="6da7715ce44349b3" providerId="LiveId" clId="{4B4C3012-157D-4E70-9450-C4952F9A74AA}" dt="2021-07-20T00:28:05.074" v="614"/>
          <ac:spMkLst>
            <pc:docMk/>
            <pc:sldMk cId="1209091634" sldId="2192"/>
            <ac:spMk id="41" creationId="{728AF1DC-F738-487E-B414-3D2103CF27C5}"/>
          </ac:spMkLst>
        </pc:spChg>
        <pc:spChg chg="add mod">
          <ac:chgData name="Aurelien Domont" userId="6da7715ce44349b3" providerId="LiveId" clId="{4B4C3012-157D-4E70-9450-C4952F9A74AA}" dt="2021-07-20T00:28:09.364" v="615"/>
          <ac:spMkLst>
            <pc:docMk/>
            <pc:sldMk cId="1209091634" sldId="2192"/>
            <ac:spMk id="42" creationId="{144BC78D-497F-4A02-8EDB-65B763F21D95}"/>
          </ac:spMkLst>
        </pc:spChg>
        <pc:spChg chg="add mod">
          <ac:chgData name="Aurelien Domont" userId="6da7715ce44349b3" providerId="LiveId" clId="{4B4C3012-157D-4E70-9450-C4952F9A74AA}" dt="2021-07-20T00:27:33.298" v="605" actId="6549"/>
          <ac:spMkLst>
            <pc:docMk/>
            <pc:sldMk cId="1209091634" sldId="2192"/>
            <ac:spMk id="45" creationId="{66C5F612-5A89-4C48-BDA9-92B6DBF678F8}"/>
          </ac:spMkLst>
        </pc:spChg>
        <pc:spChg chg="add mod">
          <ac:chgData name="Aurelien Domont" userId="6da7715ce44349b3" providerId="LiveId" clId="{4B4C3012-157D-4E70-9450-C4952F9A74AA}" dt="2021-07-20T00:27:37.181" v="610" actId="20577"/>
          <ac:spMkLst>
            <pc:docMk/>
            <pc:sldMk cId="1209091634" sldId="2192"/>
            <ac:spMk id="46" creationId="{5EDAE2A3-62C3-43E6-BBF2-1A1A1EBD0B6E}"/>
          </ac:spMkLst>
        </pc:spChg>
        <pc:spChg chg="add mod">
          <ac:chgData name="Aurelien Domont" userId="6da7715ce44349b3" providerId="LiveId" clId="{4B4C3012-157D-4E70-9450-C4952F9A74AA}" dt="2021-07-20T00:27:25.873" v="598"/>
          <ac:spMkLst>
            <pc:docMk/>
            <pc:sldMk cId="1209091634" sldId="2192"/>
            <ac:spMk id="47" creationId="{8CD051DA-5632-4D12-9C75-ED64000E9143}"/>
          </ac:spMkLst>
        </pc:spChg>
        <pc:spChg chg="add mod">
          <ac:chgData name="Aurelien Domont" userId="6da7715ce44349b3" providerId="LiveId" clId="{4B4C3012-157D-4E70-9450-C4952F9A74AA}" dt="2021-07-20T00:27:25.873" v="598"/>
          <ac:spMkLst>
            <pc:docMk/>
            <pc:sldMk cId="1209091634" sldId="2192"/>
            <ac:spMk id="48" creationId="{76C9DD00-67A5-4365-A8E4-8BE79F30DFD3}"/>
          </ac:spMkLst>
        </pc:spChg>
        <pc:spChg chg="add mod">
          <ac:chgData name="Aurelien Domont" userId="6da7715ce44349b3" providerId="LiveId" clId="{4B4C3012-157D-4E70-9450-C4952F9A74AA}" dt="2021-07-20T00:27:25.873" v="598"/>
          <ac:spMkLst>
            <pc:docMk/>
            <pc:sldMk cId="1209091634" sldId="2192"/>
            <ac:spMk id="49" creationId="{357A4FF3-34B5-4549-BAFF-E8D4357C8F42}"/>
          </ac:spMkLst>
        </pc:spChg>
        <pc:spChg chg="add mod">
          <ac:chgData name="Aurelien Domont" userId="6da7715ce44349b3" providerId="LiveId" clId="{4B4C3012-157D-4E70-9450-C4952F9A74AA}" dt="2021-07-20T00:27:25.873" v="598"/>
          <ac:spMkLst>
            <pc:docMk/>
            <pc:sldMk cId="1209091634" sldId="2192"/>
            <ac:spMk id="50" creationId="{9F7306CF-551A-43F0-88F1-076DA251C3BE}"/>
          </ac:spMkLst>
        </pc:spChg>
        <pc:spChg chg="del">
          <ac:chgData name="Aurelien Domont" userId="6da7715ce44349b3" providerId="LiveId" clId="{4B4C3012-157D-4E70-9450-C4952F9A74AA}" dt="2021-07-20T00:27:02.310" v="597" actId="478"/>
          <ac:spMkLst>
            <pc:docMk/>
            <pc:sldMk cId="1209091634" sldId="2192"/>
            <ac:spMk id="51" creationId="{89C21646-4673-48FC-8467-4C1C08EEAC56}"/>
          </ac:spMkLst>
        </pc:spChg>
        <pc:spChg chg="add mod">
          <ac:chgData name="Aurelien Domont" userId="6da7715ce44349b3" providerId="LiveId" clId="{4B4C3012-157D-4E70-9450-C4952F9A74AA}" dt="2021-07-20T00:27:25.873" v="598"/>
          <ac:spMkLst>
            <pc:docMk/>
            <pc:sldMk cId="1209091634" sldId="2192"/>
            <ac:spMk id="52" creationId="{82F73540-0B81-4EC5-9FE2-004B8ABC7144}"/>
          </ac:spMkLst>
        </pc:spChg>
        <pc:spChg chg="add mod">
          <ac:chgData name="Aurelien Domont" userId="6da7715ce44349b3" providerId="LiveId" clId="{4B4C3012-157D-4E70-9450-C4952F9A74AA}" dt="2021-07-20T00:28:38.336" v="630" actId="20577"/>
          <ac:spMkLst>
            <pc:docMk/>
            <pc:sldMk cId="1209091634" sldId="2192"/>
            <ac:spMk id="53" creationId="{CED486D3-E0D9-4427-96B3-325C56C98857}"/>
          </ac:spMkLst>
        </pc:spChg>
        <pc:spChg chg="del">
          <ac:chgData name="Aurelien Domont" userId="6da7715ce44349b3" providerId="LiveId" clId="{4B4C3012-157D-4E70-9450-C4952F9A74AA}" dt="2021-07-20T00:27:02.310" v="597" actId="478"/>
          <ac:spMkLst>
            <pc:docMk/>
            <pc:sldMk cId="1209091634" sldId="2192"/>
            <ac:spMk id="54" creationId="{207750B2-0729-4BB5-BFF3-873815BFFE7B}"/>
          </ac:spMkLst>
        </pc:spChg>
        <pc:spChg chg="del">
          <ac:chgData name="Aurelien Domont" userId="6da7715ce44349b3" providerId="LiveId" clId="{4B4C3012-157D-4E70-9450-C4952F9A74AA}" dt="2021-07-20T00:27:02.310" v="597" actId="478"/>
          <ac:spMkLst>
            <pc:docMk/>
            <pc:sldMk cId="1209091634" sldId="2192"/>
            <ac:spMk id="55" creationId="{D510DCA3-5B46-483C-A161-635432637180}"/>
          </ac:spMkLst>
        </pc:spChg>
        <pc:spChg chg="del">
          <ac:chgData name="Aurelien Domont" userId="6da7715ce44349b3" providerId="LiveId" clId="{4B4C3012-157D-4E70-9450-C4952F9A74AA}" dt="2021-07-20T00:27:02.310" v="597" actId="478"/>
          <ac:spMkLst>
            <pc:docMk/>
            <pc:sldMk cId="1209091634" sldId="2192"/>
            <ac:spMk id="56" creationId="{149F8417-C82B-4D73-84CD-1D791D410559}"/>
          </ac:spMkLst>
        </pc:spChg>
        <pc:spChg chg="del">
          <ac:chgData name="Aurelien Domont" userId="6da7715ce44349b3" providerId="LiveId" clId="{4B4C3012-157D-4E70-9450-C4952F9A74AA}" dt="2021-07-20T00:27:02.310" v="597" actId="478"/>
          <ac:spMkLst>
            <pc:docMk/>
            <pc:sldMk cId="1209091634" sldId="2192"/>
            <ac:spMk id="57" creationId="{6881C0D3-7F7F-4F87-A07A-1B0585F319D1}"/>
          </ac:spMkLst>
        </pc:spChg>
        <pc:spChg chg="add del mod">
          <ac:chgData name="Aurelien Domont" userId="6da7715ce44349b3" providerId="LiveId" clId="{4B4C3012-157D-4E70-9450-C4952F9A74AA}" dt="2021-07-20T00:28:12.647" v="616" actId="478"/>
          <ac:spMkLst>
            <pc:docMk/>
            <pc:sldMk cId="1209091634" sldId="2192"/>
            <ac:spMk id="59" creationId="{13BB2EED-BBA0-45C8-9F27-80B0B9A2AEDF}"/>
          </ac:spMkLst>
        </pc:spChg>
        <pc:spChg chg="add del mod">
          <ac:chgData name="Aurelien Domont" userId="6da7715ce44349b3" providerId="LiveId" clId="{4B4C3012-157D-4E70-9450-C4952F9A74AA}" dt="2021-07-20T00:28:12.647" v="616" actId="478"/>
          <ac:spMkLst>
            <pc:docMk/>
            <pc:sldMk cId="1209091634" sldId="2192"/>
            <ac:spMk id="60" creationId="{843562F2-3B78-4C12-847B-1AF94F2709FA}"/>
          </ac:spMkLst>
        </pc:spChg>
        <pc:spChg chg="add del mod">
          <ac:chgData name="Aurelien Domont" userId="6da7715ce44349b3" providerId="LiveId" clId="{4B4C3012-157D-4E70-9450-C4952F9A74AA}" dt="2021-07-20T00:28:12.647" v="616" actId="478"/>
          <ac:spMkLst>
            <pc:docMk/>
            <pc:sldMk cId="1209091634" sldId="2192"/>
            <ac:spMk id="61" creationId="{259A57A1-1598-4FD3-B94D-0AEAFA275358}"/>
          </ac:spMkLst>
        </pc:spChg>
        <pc:picChg chg="del">
          <ac:chgData name="Aurelien Domont" userId="6da7715ce44349b3" providerId="LiveId" clId="{4B4C3012-157D-4E70-9450-C4952F9A74AA}" dt="2021-07-20T00:27:02.310" v="597" actId="478"/>
          <ac:picMkLst>
            <pc:docMk/>
            <pc:sldMk cId="1209091634" sldId="2192"/>
            <ac:picMk id="3" creationId="{71758693-EE1D-4F29-A184-12C0424C4705}"/>
          </ac:picMkLst>
        </pc:picChg>
        <pc:picChg chg="del">
          <ac:chgData name="Aurelien Domont" userId="6da7715ce44349b3" providerId="LiveId" clId="{4B4C3012-157D-4E70-9450-C4952F9A74AA}" dt="2021-07-20T00:27:02.310" v="597" actId="478"/>
          <ac:picMkLst>
            <pc:docMk/>
            <pc:sldMk cId="1209091634" sldId="2192"/>
            <ac:picMk id="14" creationId="{74CA0334-E7F2-4E00-8F48-A0C54D7E9AC0}"/>
          </ac:picMkLst>
        </pc:picChg>
        <pc:picChg chg="del">
          <ac:chgData name="Aurelien Domont" userId="6da7715ce44349b3" providerId="LiveId" clId="{4B4C3012-157D-4E70-9450-C4952F9A74AA}" dt="2021-07-20T00:27:02.310" v="597" actId="478"/>
          <ac:picMkLst>
            <pc:docMk/>
            <pc:sldMk cId="1209091634" sldId="2192"/>
            <ac:picMk id="15" creationId="{70E9EE01-614F-4CDA-95D1-0894D8A6384F}"/>
          </ac:picMkLst>
        </pc:picChg>
        <pc:picChg chg="del">
          <ac:chgData name="Aurelien Domont" userId="6da7715ce44349b3" providerId="LiveId" clId="{4B4C3012-157D-4E70-9450-C4952F9A74AA}" dt="2021-07-20T00:27:02.310" v="597" actId="478"/>
          <ac:picMkLst>
            <pc:docMk/>
            <pc:sldMk cId="1209091634" sldId="2192"/>
            <ac:picMk id="17" creationId="{2D239190-B59B-474E-8796-CC98D3CA8AC1}"/>
          </ac:picMkLst>
        </pc:picChg>
        <pc:picChg chg="add mod">
          <ac:chgData name="Aurelien Domont" userId="6da7715ce44349b3" providerId="LiveId" clId="{4B4C3012-157D-4E70-9450-C4952F9A74AA}" dt="2021-07-20T00:27:25.873" v="598"/>
          <ac:picMkLst>
            <pc:docMk/>
            <pc:sldMk cId="1209091634" sldId="2192"/>
            <ac:picMk id="28" creationId="{FF355F01-F007-4C24-AA95-9E4FE7DF0ACD}"/>
          </ac:picMkLst>
        </pc:picChg>
        <pc:picChg chg="add mod">
          <ac:chgData name="Aurelien Domont" userId="6da7715ce44349b3" providerId="LiveId" clId="{4B4C3012-157D-4E70-9450-C4952F9A74AA}" dt="2021-07-20T00:27:25.873" v="598"/>
          <ac:picMkLst>
            <pc:docMk/>
            <pc:sldMk cId="1209091634" sldId="2192"/>
            <ac:picMk id="31" creationId="{89979A0A-C018-44ED-8A86-BF1A8BB599EB}"/>
          </ac:picMkLst>
        </pc:picChg>
        <pc:picChg chg="add mod">
          <ac:chgData name="Aurelien Domont" userId="6da7715ce44349b3" providerId="LiveId" clId="{4B4C3012-157D-4E70-9450-C4952F9A74AA}" dt="2021-07-20T00:27:25.873" v="598"/>
          <ac:picMkLst>
            <pc:docMk/>
            <pc:sldMk cId="1209091634" sldId="2192"/>
            <ac:picMk id="32" creationId="{1E632C31-E784-4327-B032-5A1C8A2B01A8}"/>
          </ac:picMkLst>
        </pc:picChg>
        <pc:picChg chg="add mod">
          <ac:chgData name="Aurelien Domont" userId="6da7715ce44349b3" providerId="LiveId" clId="{4B4C3012-157D-4E70-9450-C4952F9A74AA}" dt="2021-07-20T00:27:25.873" v="598"/>
          <ac:picMkLst>
            <pc:docMk/>
            <pc:sldMk cId="1209091634" sldId="2192"/>
            <ac:picMk id="33" creationId="{E020A810-A41E-42A1-9544-5550D5B20660}"/>
          </ac:picMkLst>
        </pc:picChg>
        <pc:picChg chg="add mod">
          <ac:chgData name="Aurelien Domont" userId="6da7715ce44349b3" providerId="LiveId" clId="{4B4C3012-157D-4E70-9450-C4952F9A74AA}" dt="2021-07-20T00:27:25.873" v="598"/>
          <ac:picMkLst>
            <pc:docMk/>
            <pc:sldMk cId="1209091634" sldId="2192"/>
            <ac:picMk id="43" creationId="{250E8DD8-D2B2-4AA9-8FCB-518B8D2D5850}"/>
          </ac:picMkLst>
        </pc:picChg>
        <pc:picChg chg="add mod">
          <ac:chgData name="Aurelien Domont" userId="6da7715ce44349b3" providerId="LiveId" clId="{4B4C3012-157D-4E70-9450-C4952F9A74AA}" dt="2021-07-20T00:27:25.873" v="598"/>
          <ac:picMkLst>
            <pc:docMk/>
            <pc:sldMk cId="1209091634" sldId="2192"/>
            <ac:picMk id="44" creationId="{713EEF7A-E025-4053-86B3-ABF91302CF16}"/>
          </ac:picMkLst>
        </pc:picChg>
        <pc:picChg chg="add mod">
          <ac:chgData name="Aurelien Domont" userId="6da7715ce44349b3" providerId="LiveId" clId="{4B4C3012-157D-4E70-9450-C4952F9A74AA}" dt="2021-07-20T00:27:25.873" v="598"/>
          <ac:picMkLst>
            <pc:docMk/>
            <pc:sldMk cId="1209091634" sldId="2192"/>
            <ac:picMk id="58" creationId="{CCE5CC6E-6411-4A67-AF69-17311BDEEB5E}"/>
          </ac:picMkLst>
        </pc:picChg>
        <pc:picChg chg="del">
          <ac:chgData name="Aurelien Domont" userId="6da7715ce44349b3" providerId="LiveId" clId="{4B4C3012-157D-4E70-9450-C4952F9A74AA}" dt="2021-07-20T00:27:02.310" v="597" actId="478"/>
          <ac:picMkLst>
            <pc:docMk/>
            <pc:sldMk cId="1209091634" sldId="2192"/>
            <ac:picMk id="3074" creationId="{0AC0D32F-D87D-4B83-8BFC-E6D05DAEC117}"/>
          </ac:picMkLst>
        </pc:picChg>
        <pc:picChg chg="del">
          <ac:chgData name="Aurelien Domont" userId="6da7715ce44349b3" providerId="LiveId" clId="{4B4C3012-157D-4E70-9450-C4952F9A74AA}" dt="2021-07-20T00:27:02.310" v="597" actId="478"/>
          <ac:picMkLst>
            <pc:docMk/>
            <pc:sldMk cId="1209091634" sldId="2192"/>
            <ac:picMk id="3078" creationId="{C3956BAD-05A7-4E7C-B3FC-6E893538FA78}"/>
          </ac:picMkLst>
        </pc:picChg>
      </pc:sldChg>
      <pc:sldChg chg="add del">
        <pc:chgData name="Aurelien Domont" userId="6da7715ce44349b3" providerId="LiveId" clId="{4B4C3012-157D-4E70-9450-C4952F9A74AA}" dt="2021-07-09T03:54:44.127" v="526" actId="47"/>
        <pc:sldMkLst>
          <pc:docMk/>
          <pc:sldMk cId="1278776622" sldId="2192"/>
        </pc:sldMkLst>
      </pc:sldChg>
      <pc:sldChg chg="add del">
        <pc:chgData name="Aurelien Domont" userId="6da7715ce44349b3" providerId="LiveId" clId="{4B4C3012-157D-4E70-9450-C4952F9A74AA}" dt="2021-07-09T03:52:13.186" v="373" actId="47"/>
        <pc:sldMkLst>
          <pc:docMk/>
          <pc:sldMk cId="2696631081" sldId="2192"/>
        </pc:sldMkLst>
      </pc:sldChg>
      <pc:sldMasterChg chg="delSldLayout">
        <pc:chgData name="Aurelien Domont" userId="6da7715ce44349b3" providerId="LiveId" clId="{4B4C3012-157D-4E70-9450-C4952F9A74AA}" dt="2021-07-12T01:22:42.869" v="581" actId="47"/>
        <pc:sldMasterMkLst>
          <pc:docMk/>
          <pc:sldMasterMk cId="3928899566" sldId="2147483746"/>
        </pc:sldMasterMkLst>
        <pc:sldLayoutChg chg="del">
          <pc:chgData name="Aurelien Domont" userId="6da7715ce44349b3" providerId="LiveId" clId="{4B4C3012-157D-4E70-9450-C4952F9A74AA}" dt="2021-07-12T01:22:42.869" v="581" actId="47"/>
          <pc:sldLayoutMkLst>
            <pc:docMk/>
            <pc:sldMasterMk cId="3928899566" sldId="2147483746"/>
            <pc:sldLayoutMk cId="1194144568" sldId="2147483748"/>
          </pc:sldLayoutMkLst>
        </pc:sldLayoutChg>
      </pc:sldMaster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AFF9B0D5-CA7D-40FB-964A-23276295459E}"/>
    <pc:docChg chg="undo redo custSel addSld delSld modSld sldOrd">
      <pc:chgData name="Aurelien Domont" userId="6da7715ce44349b3" providerId="LiveId" clId="{AFF9B0D5-CA7D-40FB-964A-23276295459E}" dt="2021-07-06T05:45:33.756" v="7160" actId="47"/>
      <pc:docMkLst>
        <pc:docMk/>
      </pc:docMkLst>
      <pc:sldChg chg="modSp mod">
        <pc:chgData name="Aurelien Domont" userId="6da7715ce44349b3" providerId="LiveId" clId="{AFF9B0D5-CA7D-40FB-964A-23276295459E}" dt="2021-06-30T06:11:44.300" v="156" actId="1036"/>
        <pc:sldMkLst>
          <pc:docMk/>
          <pc:sldMk cId="3131901387" sldId="256"/>
        </pc:sldMkLst>
        <pc:spChg chg="mod">
          <ac:chgData name="Aurelien Domont" userId="6da7715ce44349b3" providerId="LiveId" clId="{AFF9B0D5-CA7D-40FB-964A-23276295459E}" dt="2021-06-30T05:56:33.821" v="7" actId="20577"/>
          <ac:spMkLst>
            <pc:docMk/>
            <pc:sldMk cId="3131901387" sldId="256"/>
            <ac:spMk id="2" creationId="{5261080C-C60C-4746-B6B1-A9A4FFA86785}"/>
          </ac:spMkLst>
        </pc:spChg>
        <pc:spChg chg="mod">
          <ac:chgData name="Aurelien Domont" userId="6da7715ce44349b3" providerId="LiveId" clId="{AFF9B0D5-CA7D-40FB-964A-23276295459E}" dt="2021-06-30T06:11:44.300" v="156" actId="1036"/>
          <ac:spMkLst>
            <pc:docMk/>
            <pc:sldMk cId="3131901387" sldId="256"/>
            <ac:spMk id="16" creationId="{2436D48A-FAB5-4E4C-AB97-233E7A3795E6}"/>
          </ac:spMkLst>
        </pc:spChg>
      </pc:sldChg>
      <pc:sldChg chg="add">
        <pc:chgData name="Aurelien Domont" userId="6da7715ce44349b3" providerId="LiveId" clId="{AFF9B0D5-CA7D-40FB-964A-23276295459E}" dt="2021-07-06T03:29:06.794" v="6239"/>
        <pc:sldMkLst>
          <pc:docMk/>
          <pc:sldMk cId="3072119178" sldId="1488"/>
        </pc:sldMkLst>
      </pc:sldChg>
      <pc:sldChg chg="add">
        <pc:chgData name="Aurelien Domont" userId="6da7715ce44349b3" providerId="LiveId" clId="{AFF9B0D5-CA7D-40FB-964A-23276295459E}" dt="2021-07-06T03:29:06.794" v="6239"/>
        <pc:sldMkLst>
          <pc:docMk/>
          <pc:sldMk cId="926313830" sldId="1489"/>
        </pc:sldMkLst>
      </pc:sldChg>
      <pc:sldChg chg="add">
        <pc:chgData name="Aurelien Domont" userId="6da7715ce44349b3" providerId="LiveId" clId="{AFF9B0D5-CA7D-40FB-964A-23276295459E}" dt="2021-07-06T03:29:06.794" v="6239"/>
        <pc:sldMkLst>
          <pc:docMk/>
          <pc:sldMk cId="3370215172" sldId="1490"/>
        </pc:sldMkLst>
      </pc:sldChg>
      <pc:sldChg chg="delSp add mod">
        <pc:chgData name="Aurelien Domont" userId="6da7715ce44349b3" providerId="LiveId" clId="{AFF9B0D5-CA7D-40FB-964A-23276295459E}" dt="2021-07-06T03:40:44.994" v="6305" actId="478"/>
        <pc:sldMkLst>
          <pc:docMk/>
          <pc:sldMk cId="388158782" sldId="1514"/>
        </pc:sldMkLst>
        <pc:spChg chg="del">
          <ac:chgData name="Aurelien Domont" userId="6da7715ce44349b3" providerId="LiveId" clId="{AFF9B0D5-CA7D-40FB-964A-23276295459E}" dt="2021-07-06T03:40:44.994" v="6305" actId="478"/>
          <ac:spMkLst>
            <pc:docMk/>
            <pc:sldMk cId="388158782" sldId="1514"/>
            <ac:spMk id="2" creationId="{212698CA-525D-4C2D-9189-5F72AC48FE69}"/>
          </ac:spMkLst>
        </pc:spChg>
      </pc:sldChg>
      <pc:sldChg chg="delSp add mod">
        <pc:chgData name="Aurelien Domont" userId="6da7715ce44349b3" providerId="LiveId" clId="{AFF9B0D5-CA7D-40FB-964A-23276295459E}" dt="2021-07-06T03:40:55.616" v="6309" actId="478"/>
        <pc:sldMkLst>
          <pc:docMk/>
          <pc:sldMk cId="2270541995" sldId="1519"/>
        </pc:sldMkLst>
        <pc:spChg chg="del">
          <ac:chgData name="Aurelien Domont" userId="6da7715ce44349b3" providerId="LiveId" clId="{AFF9B0D5-CA7D-40FB-964A-23276295459E}" dt="2021-07-06T03:40:55.616" v="6309" actId="478"/>
          <ac:spMkLst>
            <pc:docMk/>
            <pc:sldMk cId="2270541995" sldId="1519"/>
            <ac:spMk id="20" creationId="{2180E81B-773A-41E2-B5E9-ED6F14F6562A}"/>
          </ac:spMkLst>
        </pc:spChg>
      </pc:sldChg>
      <pc:sldChg chg="delSp add mod">
        <pc:chgData name="Aurelien Domont" userId="6da7715ce44349b3" providerId="LiveId" clId="{AFF9B0D5-CA7D-40FB-964A-23276295459E}" dt="2021-07-06T03:40:41.352" v="6304" actId="478"/>
        <pc:sldMkLst>
          <pc:docMk/>
          <pc:sldMk cId="112122695" sldId="1521"/>
        </pc:sldMkLst>
        <pc:spChg chg="del">
          <ac:chgData name="Aurelien Domont" userId="6da7715ce44349b3" providerId="LiveId" clId="{AFF9B0D5-CA7D-40FB-964A-23276295459E}" dt="2021-07-06T03:40:41.352" v="6304" actId="478"/>
          <ac:spMkLst>
            <pc:docMk/>
            <pc:sldMk cId="112122695" sldId="1521"/>
            <ac:spMk id="9" creationId="{2617BC3D-6D60-4D40-8CB3-9F2918741106}"/>
          </ac:spMkLst>
        </pc:spChg>
      </pc:sldChg>
      <pc:sldChg chg="delSp add mod">
        <pc:chgData name="Aurelien Domont" userId="6da7715ce44349b3" providerId="LiveId" clId="{AFF9B0D5-CA7D-40FB-964A-23276295459E}" dt="2021-07-06T03:40:47.380" v="6306" actId="478"/>
        <pc:sldMkLst>
          <pc:docMk/>
          <pc:sldMk cId="3014473461" sldId="1527"/>
        </pc:sldMkLst>
        <pc:spChg chg="del">
          <ac:chgData name="Aurelien Domont" userId="6da7715ce44349b3" providerId="LiveId" clId="{AFF9B0D5-CA7D-40FB-964A-23276295459E}" dt="2021-07-06T03:40:47.380" v="6306" actId="478"/>
          <ac:spMkLst>
            <pc:docMk/>
            <pc:sldMk cId="3014473461" sldId="1527"/>
            <ac:spMk id="14" creationId="{44AD6DED-2211-4435-A310-86FB6FD47D05}"/>
          </ac:spMkLst>
        </pc:spChg>
      </pc:sldChg>
      <pc:sldChg chg="delSp add mod">
        <pc:chgData name="Aurelien Domont" userId="6da7715ce44349b3" providerId="LiveId" clId="{AFF9B0D5-CA7D-40FB-964A-23276295459E}" dt="2021-07-06T03:40:49.742" v="6307" actId="478"/>
        <pc:sldMkLst>
          <pc:docMk/>
          <pc:sldMk cId="4130717619" sldId="1530"/>
        </pc:sldMkLst>
        <pc:spChg chg="del">
          <ac:chgData name="Aurelien Domont" userId="6da7715ce44349b3" providerId="LiveId" clId="{AFF9B0D5-CA7D-40FB-964A-23276295459E}" dt="2021-07-06T03:40:49.742" v="6307" actId="478"/>
          <ac:spMkLst>
            <pc:docMk/>
            <pc:sldMk cId="4130717619" sldId="1530"/>
            <ac:spMk id="34" creationId="{194B2D88-1AE6-4ACA-83A8-96444B90AE3C}"/>
          </ac:spMkLst>
        </pc:spChg>
      </pc:sldChg>
      <pc:sldChg chg="add">
        <pc:chgData name="Aurelien Domont" userId="6da7715ce44349b3" providerId="LiveId" clId="{AFF9B0D5-CA7D-40FB-964A-23276295459E}" dt="2021-07-06T03:47:03.351" v="6356"/>
        <pc:sldMkLst>
          <pc:docMk/>
          <pc:sldMk cId="1754585881" sldId="1598"/>
        </pc:sldMkLst>
      </pc:sldChg>
      <pc:sldChg chg="add del">
        <pc:chgData name="Aurelien Domont" userId="6da7715ce44349b3" providerId="LiveId" clId="{AFF9B0D5-CA7D-40FB-964A-23276295459E}" dt="2021-07-06T03:59:24.275" v="6368" actId="47"/>
        <pc:sldMkLst>
          <pc:docMk/>
          <pc:sldMk cId="748962572" sldId="1599"/>
        </pc:sldMkLst>
      </pc:sldChg>
      <pc:sldChg chg="add">
        <pc:chgData name="Aurelien Domont" userId="6da7715ce44349b3" providerId="LiveId" clId="{AFF9B0D5-CA7D-40FB-964A-23276295459E}" dt="2021-07-06T03:47:03.351" v="6356"/>
        <pc:sldMkLst>
          <pc:docMk/>
          <pc:sldMk cId="2853806433" sldId="1600"/>
        </pc:sldMkLst>
      </pc:sldChg>
      <pc:sldChg chg="delSp add mod">
        <pc:chgData name="Aurelien Domont" userId="6da7715ce44349b3" providerId="LiveId" clId="{AFF9B0D5-CA7D-40FB-964A-23276295459E}" dt="2021-07-06T03:40:51.818" v="6308" actId="478"/>
        <pc:sldMkLst>
          <pc:docMk/>
          <pc:sldMk cId="2815671749" sldId="1601"/>
        </pc:sldMkLst>
        <pc:spChg chg="del">
          <ac:chgData name="Aurelien Domont" userId="6da7715ce44349b3" providerId="LiveId" clId="{AFF9B0D5-CA7D-40FB-964A-23276295459E}" dt="2021-07-06T03:40:51.818" v="6308" actId="478"/>
          <ac:spMkLst>
            <pc:docMk/>
            <pc:sldMk cId="2815671749" sldId="1601"/>
            <ac:spMk id="24" creationId="{4BCA7FD1-DB5E-4F8E-B0CC-4AE245CCA562}"/>
          </ac:spMkLst>
        </pc:spChg>
      </pc:sldChg>
      <pc:sldChg chg="addSp delSp modSp add mod">
        <pc:chgData name="Aurelien Domont" userId="6da7715ce44349b3" providerId="LiveId" clId="{AFF9B0D5-CA7D-40FB-964A-23276295459E}" dt="2021-07-06T05:44:42.038" v="7159"/>
        <pc:sldMkLst>
          <pc:docMk/>
          <pc:sldMk cId="1252826214" sldId="1711"/>
        </pc:sldMkLst>
        <pc:spChg chg="add del mod">
          <ac:chgData name="Aurelien Domont" userId="6da7715ce44349b3" providerId="LiveId" clId="{AFF9B0D5-CA7D-40FB-964A-23276295459E}" dt="2021-07-06T05:44:33.360" v="7158" actId="478"/>
          <ac:spMkLst>
            <pc:docMk/>
            <pc:sldMk cId="1252826214" sldId="1711"/>
            <ac:spMk id="4" creationId="{A0F996F7-F20A-47BA-B1AF-1C8B779CA79D}"/>
          </ac:spMkLst>
        </pc:spChg>
        <pc:spChg chg="add del mod">
          <ac:chgData name="Aurelien Domont" userId="6da7715ce44349b3" providerId="LiveId" clId="{AFF9B0D5-CA7D-40FB-964A-23276295459E}" dt="2021-07-06T05:15:06.168" v="6682" actId="478"/>
          <ac:spMkLst>
            <pc:docMk/>
            <pc:sldMk cId="1252826214" sldId="1711"/>
            <ac:spMk id="6" creationId="{067DEC11-2878-4496-BCB1-34143B3D39F6}"/>
          </ac:spMkLst>
        </pc:spChg>
        <pc:spChg chg="del mod">
          <ac:chgData name="Aurelien Domont" userId="6da7715ce44349b3" providerId="LiveId" clId="{AFF9B0D5-CA7D-40FB-964A-23276295459E}" dt="2021-07-06T05:16:43.228" v="6710" actId="478"/>
          <ac:spMkLst>
            <pc:docMk/>
            <pc:sldMk cId="1252826214" sldId="1711"/>
            <ac:spMk id="9" creationId="{71937F58-B9F0-481F-8FE4-CB6A95D57416}"/>
          </ac:spMkLst>
        </pc:spChg>
        <pc:spChg chg="add mod">
          <ac:chgData name="Aurelien Domont" userId="6da7715ce44349b3" providerId="LiveId" clId="{AFF9B0D5-CA7D-40FB-964A-23276295459E}" dt="2021-07-06T05:31:57.238" v="6993" actId="1036"/>
          <ac:spMkLst>
            <pc:docMk/>
            <pc:sldMk cId="1252826214" sldId="1711"/>
            <ac:spMk id="11" creationId="{1C1B8EC1-2923-4978-A61D-27E28146FFD1}"/>
          </ac:spMkLst>
        </pc:spChg>
        <pc:spChg chg="add del">
          <ac:chgData name="Aurelien Domont" userId="6da7715ce44349b3" providerId="LiveId" clId="{AFF9B0D5-CA7D-40FB-964A-23276295459E}" dt="2021-07-06T05:20:08.222" v="6825"/>
          <ac:spMkLst>
            <pc:docMk/>
            <pc:sldMk cId="1252826214" sldId="1711"/>
            <ac:spMk id="12" creationId="{6C7760B7-5B47-4B2B-B236-C6B87C8BA92C}"/>
          </ac:spMkLst>
        </pc:spChg>
        <pc:spChg chg="del">
          <ac:chgData name="Aurelien Domont" userId="6da7715ce44349b3" providerId="LiveId" clId="{AFF9B0D5-CA7D-40FB-964A-23276295459E}" dt="2021-07-06T05:44:31.280" v="7157" actId="478"/>
          <ac:spMkLst>
            <pc:docMk/>
            <pc:sldMk cId="1252826214" sldId="1711"/>
            <ac:spMk id="16" creationId="{6C2BB713-9637-4B9B-938F-E9768876782A}"/>
          </ac:spMkLst>
        </pc:spChg>
        <pc:spChg chg="mod">
          <ac:chgData name="Aurelien Domont" userId="6da7715ce44349b3" providerId="LiveId" clId="{AFF9B0D5-CA7D-40FB-964A-23276295459E}" dt="2021-07-06T05:23:47.431" v="6878" actId="14100"/>
          <ac:spMkLst>
            <pc:docMk/>
            <pc:sldMk cId="1252826214" sldId="1711"/>
            <ac:spMk id="25" creationId="{86A71970-E46B-4358-8BCC-1715EFB36D64}"/>
          </ac:spMkLst>
        </pc:spChg>
        <pc:spChg chg="del">
          <ac:chgData name="Aurelien Domont" userId="6da7715ce44349b3" providerId="LiveId" clId="{AFF9B0D5-CA7D-40FB-964A-23276295459E}" dt="2021-07-06T05:04:51.063" v="6543" actId="478"/>
          <ac:spMkLst>
            <pc:docMk/>
            <pc:sldMk cId="1252826214" sldId="1711"/>
            <ac:spMk id="26" creationId="{2D6AF8B1-5CD0-4EF5-8A94-99CDB8159F2E}"/>
          </ac:spMkLst>
        </pc:spChg>
        <pc:spChg chg="mod">
          <ac:chgData name="Aurelien Domont" userId="6da7715ce44349b3" providerId="LiveId" clId="{AFF9B0D5-CA7D-40FB-964A-23276295459E}" dt="2021-07-06T05:23:28.443" v="6876" actId="14100"/>
          <ac:spMkLst>
            <pc:docMk/>
            <pc:sldMk cId="1252826214" sldId="1711"/>
            <ac:spMk id="27" creationId="{2221734C-F2C9-4C4F-AF07-9C7EB749C560}"/>
          </ac:spMkLst>
        </pc:spChg>
        <pc:spChg chg="mod">
          <ac:chgData name="Aurelien Domont" userId="6da7715ce44349b3" providerId="LiveId" clId="{AFF9B0D5-CA7D-40FB-964A-23276295459E}" dt="2021-07-06T05:27:43.126" v="6976" actId="20577"/>
          <ac:spMkLst>
            <pc:docMk/>
            <pc:sldMk cId="1252826214" sldId="1711"/>
            <ac:spMk id="28" creationId="{9890D867-710A-4021-80A0-9EDD68F8268E}"/>
          </ac:spMkLst>
        </pc:spChg>
        <pc:spChg chg="del">
          <ac:chgData name="Aurelien Domont" userId="6da7715ce44349b3" providerId="LiveId" clId="{AFF9B0D5-CA7D-40FB-964A-23276295459E}" dt="2021-07-06T05:09:58.690" v="6602" actId="478"/>
          <ac:spMkLst>
            <pc:docMk/>
            <pc:sldMk cId="1252826214" sldId="1711"/>
            <ac:spMk id="29" creationId="{E4DF25B1-5908-47C1-9DE1-8B071152AB86}"/>
          </ac:spMkLst>
        </pc:spChg>
        <pc:spChg chg="del">
          <ac:chgData name="Aurelien Domont" userId="6da7715ce44349b3" providerId="LiveId" clId="{AFF9B0D5-CA7D-40FB-964A-23276295459E}" dt="2021-07-06T05:09:58.690" v="6602" actId="478"/>
          <ac:spMkLst>
            <pc:docMk/>
            <pc:sldMk cId="1252826214" sldId="1711"/>
            <ac:spMk id="30" creationId="{3E4A0BFB-23C7-4F96-9BBB-BDB5A22654B7}"/>
          </ac:spMkLst>
        </pc:spChg>
        <pc:spChg chg="del">
          <ac:chgData name="Aurelien Domont" userId="6da7715ce44349b3" providerId="LiveId" clId="{AFF9B0D5-CA7D-40FB-964A-23276295459E}" dt="2021-07-06T05:04:51.063" v="6543" actId="478"/>
          <ac:spMkLst>
            <pc:docMk/>
            <pc:sldMk cId="1252826214" sldId="1711"/>
            <ac:spMk id="31" creationId="{0E591EF6-7966-4517-B0EF-26C41FB1666B}"/>
          </ac:spMkLst>
        </pc:spChg>
        <pc:spChg chg="del">
          <ac:chgData name="Aurelien Domont" userId="6da7715ce44349b3" providerId="LiveId" clId="{AFF9B0D5-CA7D-40FB-964A-23276295459E}" dt="2021-07-06T05:04:51.063" v="6543" actId="478"/>
          <ac:spMkLst>
            <pc:docMk/>
            <pc:sldMk cId="1252826214" sldId="1711"/>
            <ac:spMk id="32" creationId="{FB523FCB-D7D5-4D2D-BF16-04E8085A46E6}"/>
          </ac:spMkLst>
        </pc:spChg>
        <pc:spChg chg="del">
          <ac:chgData name="Aurelien Domont" userId="6da7715ce44349b3" providerId="LiveId" clId="{AFF9B0D5-CA7D-40FB-964A-23276295459E}" dt="2021-07-06T05:04:51.063" v="6543" actId="478"/>
          <ac:spMkLst>
            <pc:docMk/>
            <pc:sldMk cId="1252826214" sldId="1711"/>
            <ac:spMk id="33" creationId="{42D0DD8F-30AB-4FAB-8025-D308C2977F2E}"/>
          </ac:spMkLst>
        </pc:spChg>
        <pc:spChg chg="mod">
          <ac:chgData name="Aurelien Domont" userId="6da7715ce44349b3" providerId="LiveId" clId="{AFF9B0D5-CA7D-40FB-964A-23276295459E}" dt="2021-07-06T05:23:54.440" v="6888" actId="1038"/>
          <ac:spMkLst>
            <pc:docMk/>
            <pc:sldMk cId="1252826214" sldId="1711"/>
            <ac:spMk id="34" creationId="{D73AA7D2-25BB-4811-9D38-82BD21C8478B}"/>
          </ac:spMkLst>
        </pc:spChg>
        <pc:spChg chg="del">
          <ac:chgData name="Aurelien Domont" userId="6da7715ce44349b3" providerId="LiveId" clId="{AFF9B0D5-CA7D-40FB-964A-23276295459E}" dt="2021-07-06T05:12:46.120" v="6667" actId="478"/>
          <ac:spMkLst>
            <pc:docMk/>
            <pc:sldMk cId="1252826214" sldId="1711"/>
            <ac:spMk id="35" creationId="{A0E19B17-F701-4258-8590-B311C8DDA595}"/>
          </ac:spMkLst>
        </pc:spChg>
        <pc:spChg chg="del mod">
          <ac:chgData name="Aurelien Domont" userId="6da7715ce44349b3" providerId="LiveId" clId="{AFF9B0D5-CA7D-40FB-964A-23276295459E}" dt="2021-07-06T05:12:45.357" v="6666" actId="478"/>
          <ac:spMkLst>
            <pc:docMk/>
            <pc:sldMk cId="1252826214" sldId="1711"/>
            <ac:spMk id="36" creationId="{2D29A82D-BC16-4480-BBD6-9098406BF29E}"/>
          </ac:spMkLst>
        </pc:spChg>
        <pc:spChg chg="mod">
          <ac:chgData name="Aurelien Domont" userId="6da7715ce44349b3" providerId="LiveId" clId="{AFF9B0D5-CA7D-40FB-964A-23276295459E}" dt="2021-07-06T05:23:47.431" v="6878" actId="14100"/>
          <ac:spMkLst>
            <pc:docMk/>
            <pc:sldMk cId="1252826214" sldId="1711"/>
            <ac:spMk id="37" creationId="{EF41B183-983A-424C-A811-31D7B9F3E067}"/>
          </ac:spMkLst>
        </pc:spChg>
        <pc:spChg chg="mod">
          <ac:chgData name="Aurelien Domont" userId="6da7715ce44349b3" providerId="LiveId" clId="{AFF9B0D5-CA7D-40FB-964A-23276295459E}" dt="2021-07-06T05:35:23.276" v="7039"/>
          <ac:spMkLst>
            <pc:docMk/>
            <pc:sldMk cId="1252826214" sldId="1711"/>
            <ac:spMk id="38" creationId="{A222A58B-1B90-4496-A948-F185A3E65D28}"/>
          </ac:spMkLst>
        </pc:spChg>
        <pc:spChg chg="mod">
          <ac:chgData name="Aurelien Domont" userId="6da7715ce44349b3" providerId="LiveId" clId="{AFF9B0D5-CA7D-40FB-964A-23276295459E}" dt="2021-07-06T05:32:21.329" v="6995" actId="14100"/>
          <ac:spMkLst>
            <pc:docMk/>
            <pc:sldMk cId="1252826214" sldId="1711"/>
            <ac:spMk id="39" creationId="{BDA9DBF3-656C-4C64-8120-5BCE657C516A}"/>
          </ac:spMkLst>
        </pc:spChg>
        <pc:spChg chg="mod">
          <ac:chgData name="Aurelien Domont" userId="6da7715ce44349b3" providerId="LiveId" clId="{AFF9B0D5-CA7D-40FB-964A-23276295459E}" dt="2021-07-06T05:27:19.743" v="6972" actId="108"/>
          <ac:spMkLst>
            <pc:docMk/>
            <pc:sldMk cId="1252826214" sldId="1711"/>
            <ac:spMk id="40" creationId="{573A5304-C348-4211-8C8D-05DBFC25C98C}"/>
          </ac:spMkLst>
        </pc:spChg>
        <pc:spChg chg="del">
          <ac:chgData name="Aurelien Domont" userId="6da7715ce44349b3" providerId="LiveId" clId="{AFF9B0D5-CA7D-40FB-964A-23276295459E}" dt="2021-07-06T05:17:45.622" v="6723" actId="478"/>
          <ac:spMkLst>
            <pc:docMk/>
            <pc:sldMk cId="1252826214" sldId="1711"/>
            <ac:spMk id="41" creationId="{93A28468-1D3A-41AA-A2BE-DB66EFC3CD98}"/>
          </ac:spMkLst>
        </pc:spChg>
        <pc:spChg chg="del">
          <ac:chgData name="Aurelien Domont" userId="6da7715ce44349b3" providerId="LiveId" clId="{AFF9B0D5-CA7D-40FB-964A-23276295459E}" dt="2021-07-06T05:17:40.607" v="6721" actId="478"/>
          <ac:spMkLst>
            <pc:docMk/>
            <pc:sldMk cId="1252826214" sldId="1711"/>
            <ac:spMk id="42" creationId="{C8F1F745-3329-4D1C-8C1D-2697F60182DB}"/>
          </ac:spMkLst>
        </pc:spChg>
        <pc:spChg chg="del">
          <ac:chgData name="Aurelien Domont" userId="6da7715ce44349b3" providerId="LiveId" clId="{AFF9B0D5-CA7D-40FB-964A-23276295459E}" dt="2021-07-06T05:17:40.607" v="6721" actId="478"/>
          <ac:spMkLst>
            <pc:docMk/>
            <pc:sldMk cId="1252826214" sldId="1711"/>
            <ac:spMk id="43" creationId="{CD6F8BD1-6E73-4D05-BCCD-9EB6F16B6E67}"/>
          </ac:spMkLst>
        </pc:spChg>
        <pc:spChg chg="del">
          <ac:chgData name="Aurelien Domont" userId="6da7715ce44349b3" providerId="LiveId" clId="{AFF9B0D5-CA7D-40FB-964A-23276295459E}" dt="2021-07-06T05:17:40.607" v="6721" actId="478"/>
          <ac:spMkLst>
            <pc:docMk/>
            <pc:sldMk cId="1252826214" sldId="1711"/>
            <ac:spMk id="44" creationId="{C2847E84-7377-4C55-9551-93BFBF6FEAA8}"/>
          </ac:spMkLst>
        </pc:spChg>
        <pc:spChg chg="del">
          <ac:chgData name="Aurelien Domont" userId="6da7715ce44349b3" providerId="LiveId" clId="{AFF9B0D5-CA7D-40FB-964A-23276295459E}" dt="2021-07-06T05:17:40.607" v="6721" actId="478"/>
          <ac:spMkLst>
            <pc:docMk/>
            <pc:sldMk cId="1252826214" sldId="1711"/>
            <ac:spMk id="45" creationId="{A5500D33-EA9D-48E4-9733-714824AB5451}"/>
          </ac:spMkLst>
        </pc:spChg>
        <pc:spChg chg="mod topLvl">
          <ac:chgData name="Aurelien Domont" userId="6da7715ce44349b3" providerId="LiveId" clId="{AFF9B0D5-CA7D-40FB-964A-23276295459E}" dt="2021-07-06T05:11:34.229" v="6642" actId="1036"/>
          <ac:spMkLst>
            <pc:docMk/>
            <pc:sldMk cId="1252826214" sldId="1711"/>
            <ac:spMk id="49" creationId="{98BBAC1A-48C3-457C-83C0-ADBB10236A62}"/>
          </ac:spMkLst>
        </pc:spChg>
        <pc:spChg chg="mod topLvl">
          <ac:chgData name="Aurelien Domont" userId="6da7715ce44349b3" providerId="LiveId" clId="{AFF9B0D5-CA7D-40FB-964A-23276295459E}" dt="2021-07-06T05:11:34.229" v="6642" actId="1036"/>
          <ac:spMkLst>
            <pc:docMk/>
            <pc:sldMk cId="1252826214" sldId="1711"/>
            <ac:spMk id="51" creationId="{9A288DA3-6576-4034-9768-3D54DD56A2F8}"/>
          </ac:spMkLst>
        </pc:spChg>
        <pc:spChg chg="mod topLvl">
          <ac:chgData name="Aurelien Domont" userId="6da7715ce44349b3" providerId="LiveId" clId="{AFF9B0D5-CA7D-40FB-964A-23276295459E}" dt="2021-07-06T05:11:34.229" v="6642" actId="1036"/>
          <ac:spMkLst>
            <pc:docMk/>
            <pc:sldMk cId="1252826214" sldId="1711"/>
            <ac:spMk id="52" creationId="{2C0ABCF5-75CC-4F90-A550-A281E4369D32}"/>
          </ac:spMkLst>
        </pc:spChg>
        <pc:spChg chg="mod topLvl">
          <ac:chgData name="Aurelien Domont" userId="6da7715ce44349b3" providerId="LiveId" clId="{AFF9B0D5-CA7D-40FB-964A-23276295459E}" dt="2021-07-06T05:11:34.229" v="6642" actId="1036"/>
          <ac:spMkLst>
            <pc:docMk/>
            <pc:sldMk cId="1252826214" sldId="1711"/>
            <ac:spMk id="53" creationId="{A35E12DA-6263-428E-ACD5-29E12DA389BF}"/>
          </ac:spMkLst>
        </pc:spChg>
        <pc:spChg chg="mod topLvl">
          <ac:chgData name="Aurelien Domont" userId="6da7715ce44349b3" providerId="LiveId" clId="{AFF9B0D5-CA7D-40FB-964A-23276295459E}" dt="2021-07-06T05:11:34.229" v="6642" actId="1036"/>
          <ac:spMkLst>
            <pc:docMk/>
            <pc:sldMk cId="1252826214" sldId="1711"/>
            <ac:spMk id="54" creationId="{CAAD048A-B585-48D8-9EFF-61437A944C8C}"/>
          </ac:spMkLst>
        </pc:spChg>
        <pc:spChg chg="mod topLvl">
          <ac:chgData name="Aurelien Domont" userId="6da7715ce44349b3" providerId="LiveId" clId="{AFF9B0D5-CA7D-40FB-964A-23276295459E}" dt="2021-07-06T05:11:34.229" v="6642" actId="1036"/>
          <ac:spMkLst>
            <pc:docMk/>
            <pc:sldMk cId="1252826214" sldId="1711"/>
            <ac:spMk id="55" creationId="{1C35F4BA-69DA-4CED-8ABA-DCEFCBF67578}"/>
          </ac:spMkLst>
        </pc:spChg>
        <pc:spChg chg="mod topLvl">
          <ac:chgData name="Aurelien Domont" userId="6da7715ce44349b3" providerId="LiveId" clId="{AFF9B0D5-CA7D-40FB-964A-23276295459E}" dt="2021-07-06T05:11:34.229" v="6642" actId="1036"/>
          <ac:spMkLst>
            <pc:docMk/>
            <pc:sldMk cId="1252826214" sldId="1711"/>
            <ac:spMk id="56" creationId="{32D9D994-5044-4621-9BA8-ADC26A400533}"/>
          </ac:spMkLst>
        </pc:spChg>
        <pc:spChg chg="mod topLvl">
          <ac:chgData name="Aurelien Domont" userId="6da7715ce44349b3" providerId="LiveId" clId="{AFF9B0D5-CA7D-40FB-964A-23276295459E}" dt="2021-07-06T05:11:34.229" v="6642" actId="1036"/>
          <ac:spMkLst>
            <pc:docMk/>
            <pc:sldMk cId="1252826214" sldId="1711"/>
            <ac:spMk id="58" creationId="{F68A2200-BED7-4D8E-9475-717F0757443E}"/>
          </ac:spMkLst>
        </pc:spChg>
        <pc:spChg chg="mod topLvl">
          <ac:chgData name="Aurelien Domont" userId="6da7715ce44349b3" providerId="LiveId" clId="{AFF9B0D5-CA7D-40FB-964A-23276295459E}" dt="2021-07-06T05:11:34.229" v="6642" actId="1036"/>
          <ac:spMkLst>
            <pc:docMk/>
            <pc:sldMk cId="1252826214" sldId="1711"/>
            <ac:spMk id="59" creationId="{B3613336-86C9-401F-B78E-9D46A34B7C80}"/>
          </ac:spMkLst>
        </pc:spChg>
        <pc:spChg chg="mod topLvl">
          <ac:chgData name="Aurelien Domont" userId="6da7715ce44349b3" providerId="LiveId" clId="{AFF9B0D5-CA7D-40FB-964A-23276295459E}" dt="2021-07-06T05:11:34.229" v="6642" actId="1036"/>
          <ac:spMkLst>
            <pc:docMk/>
            <pc:sldMk cId="1252826214" sldId="1711"/>
            <ac:spMk id="60" creationId="{B85D8F1C-56D7-4360-927B-5B7067E9BFF5}"/>
          </ac:spMkLst>
        </pc:spChg>
        <pc:spChg chg="mod topLvl">
          <ac:chgData name="Aurelien Domont" userId="6da7715ce44349b3" providerId="LiveId" clId="{AFF9B0D5-CA7D-40FB-964A-23276295459E}" dt="2021-07-06T05:11:34.229" v="6642" actId="1036"/>
          <ac:spMkLst>
            <pc:docMk/>
            <pc:sldMk cId="1252826214" sldId="1711"/>
            <ac:spMk id="62" creationId="{72EBD9EE-39F0-4737-B62A-C4E42C1C0F95}"/>
          </ac:spMkLst>
        </pc:spChg>
        <pc:spChg chg="mod topLvl">
          <ac:chgData name="Aurelien Domont" userId="6da7715ce44349b3" providerId="LiveId" clId="{AFF9B0D5-CA7D-40FB-964A-23276295459E}" dt="2021-07-06T05:11:34.229" v="6642" actId="1036"/>
          <ac:spMkLst>
            <pc:docMk/>
            <pc:sldMk cId="1252826214" sldId="1711"/>
            <ac:spMk id="63" creationId="{6A1D4621-CB0F-4600-999E-383FB5B7772B}"/>
          </ac:spMkLst>
        </pc:spChg>
        <pc:spChg chg="mod topLvl">
          <ac:chgData name="Aurelien Domont" userId="6da7715ce44349b3" providerId="LiveId" clId="{AFF9B0D5-CA7D-40FB-964A-23276295459E}" dt="2021-07-06T05:11:34.229" v="6642" actId="1036"/>
          <ac:spMkLst>
            <pc:docMk/>
            <pc:sldMk cId="1252826214" sldId="1711"/>
            <ac:spMk id="64" creationId="{45496A84-1710-4A3D-B2FE-F670417245AD}"/>
          </ac:spMkLst>
        </pc:spChg>
        <pc:spChg chg="mod topLvl">
          <ac:chgData name="Aurelien Domont" userId="6da7715ce44349b3" providerId="LiveId" clId="{AFF9B0D5-CA7D-40FB-964A-23276295459E}" dt="2021-07-06T05:11:34.229" v="6642" actId="1036"/>
          <ac:spMkLst>
            <pc:docMk/>
            <pc:sldMk cId="1252826214" sldId="1711"/>
            <ac:spMk id="66" creationId="{90B134E2-230D-4E83-9B2B-2B5C0A7635AE}"/>
          </ac:spMkLst>
        </pc:spChg>
        <pc:spChg chg="mod topLvl">
          <ac:chgData name="Aurelien Domont" userId="6da7715ce44349b3" providerId="LiveId" clId="{AFF9B0D5-CA7D-40FB-964A-23276295459E}" dt="2021-07-06T05:11:34.229" v="6642" actId="1036"/>
          <ac:spMkLst>
            <pc:docMk/>
            <pc:sldMk cId="1252826214" sldId="1711"/>
            <ac:spMk id="67" creationId="{42F516B0-83CB-401D-9D4F-5EFC00BB80FF}"/>
          </ac:spMkLst>
        </pc:spChg>
        <pc:spChg chg="mod topLvl">
          <ac:chgData name="Aurelien Domont" userId="6da7715ce44349b3" providerId="LiveId" clId="{AFF9B0D5-CA7D-40FB-964A-23276295459E}" dt="2021-07-06T05:11:34.229" v="6642" actId="1036"/>
          <ac:spMkLst>
            <pc:docMk/>
            <pc:sldMk cId="1252826214" sldId="1711"/>
            <ac:spMk id="68" creationId="{AEDBB3BA-B9B5-4529-80D6-07A47E3580D4}"/>
          </ac:spMkLst>
        </pc:spChg>
        <pc:spChg chg="mod topLvl">
          <ac:chgData name="Aurelien Domont" userId="6da7715ce44349b3" providerId="LiveId" clId="{AFF9B0D5-CA7D-40FB-964A-23276295459E}" dt="2021-07-06T05:11:34.229" v="6642" actId="1036"/>
          <ac:spMkLst>
            <pc:docMk/>
            <pc:sldMk cId="1252826214" sldId="1711"/>
            <ac:spMk id="69" creationId="{103CE0F2-1959-4FB4-9DEB-710314E74D8F}"/>
          </ac:spMkLst>
        </pc:spChg>
        <pc:spChg chg="mod topLvl">
          <ac:chgData name="Aurelien Domont" userId="6da7715ce44349b3" providerId="LiveId" clId="{AFF9B0D5-CA7D-40FB-964A-23276295459E}" dt="2021-07-06T05:11:34.229" v="6642" actId="1036"/>
          <ac:spMkLst>
            <pc:docMk/>
            <pc:sldMk cId="1252826214" sldId="1711"/>
            <ac:spMk id="70" creationId="{4F08ECD2-B0A3-418F-849F-235D1C7B0112}"/>
          </ac:spMkLst>
        </pc:spChg>
        <pc:spChg chg="mod topLvl">
          <ac:chgData name="Aurelien Domont" userId="6da7715ce44349b3" providerId="LiveId" clId="{AFF9B0D5-CA7D-40FB-964A-23276295459E}" dt="2021-07-06T05:11:34.229" v="6642" actId="1036"/>
          <ac:spMkLst>
            <pc:docMk/>
            <pc:sldMk cId="1252826214" sldId="1711"/>
            <ac:spMk id="71" creationId="{5E649382-9C23-4795-BBF9-46D64A38F33F}"/>
          </ac:spMkLst>
        </pc:spChg>
        <pc:spChg chg="mod topLvl">
          <ac:chgData name="Aurelien Domont" userId="6da7715ce44349b3" providerId="LiveId" clId="{AFF9B0D5-CA7D-40FB-964A-23276295459E}" dt="2021-07-06T05:11:34.229" v="6642" actId="1036"/>
          <ac:spMkLst>
            <pc:docMk/>
            <pc:sldMk cId="1252826214" sldId="1711"/>
            <ac:spMk id="73" creationId="{98ADAE93-D5E4-4A59-9C44-F3321359FCDF}"/>
          </ac:spMkLst>
        </pc:spChg>
        <pc:spChg chg="mod topLvl">
          <ac:chgData name="Aurelien Domont" userId="6da7715ce44349b3" providerId="LiveId" clId="{AFF9B0D5-CA7D-40FB-964A-23276295459E}" dt="2021-07-06T05:11:34.229" v="6642" actId="1036"/>
          <ac:spMkLst>
            <pc:docMk/>
            <pc:sldMk cId="1252826214" sldId="1711"/>
            <ac:spMk id="76" creationId="{EF511045-E73B-4CFF-885B-23ECD1E8C178}"/>
          </ac:spMkLst>
        </pc:spChg>
        <pc:spChg chg="mod topLvl">
          <ac:chgData name="Aurelien Domont" userId="6da7715ce44349b3" providerId="LiveId" clId="{AFF9B0D5-CA7D-40FB-964A-23276295459E}" dt="2021-07-06T05:11:34.229" v="6642" actId="1036"/>
          <ac:spMkLst>
            <pc:docMk/>
            <pc:sldMk cId="1252826214" sldId="1711"/>
            <ac:spMk id="77" creationId="{BF50E8F5-4960-4CF4-8383-AF42F855C8F0}"/>
          </ac:spMkLst>
        </pc:spChg>
        <pc:spChg chg="mod topLvl">
          <ac:chgData name="Aurelien Domont" userId="6da7715ce44349b3" providerId="LiveId" clId="{AFF9B0D5-CA7D-40FB-964A-23276295459E}" dt="2021-07-06T05:11:34.229" v="6642" actId="1036"/>
          <ac:spMkLst>
            <pc:docMk/>
            <pc:sldMk cId="1252826214" sldId="1711"/>
            <ac:spMk id="78" creationId="{EA39EB43-A228-4F10-9D52-7DCE445E0176}"/>
          </ac:spMkLst>
        </pc:spChg>
        <pc:spChg chg="mod topLvl">
          <ac:chgData name="Aurelien Domont" userId="6da7715ce44349b3" providerId="LiveId" clId="{AFF9B0D5-CA7D-40FB-964A-23276295459E}" dt="2021-07-06T05:11:34.229" v="6642" actId="1036"/>
          <ac:spMkLst>
            <pc:docMk/>
            <pc:sldMk cId="1252826214" sldId="1711"/>
            <ac:spMk id="79" creationId="{95BF0EB2-490C-4E4C-983D-DB8C80733A18}"/>
          </ac:spMkLst>
        </pc:spChg>
        <pc:spChg chg="mod topLvl">
          <ac:chgData name="Aurelien Domont" userId="6da7715ce44349b3" providerId="LiveId" clId="{AFF9B0D5-CA7D-40FB-964A-23276295459E}" dt="2021-07-06T05:11:34.229" v="6642" actId="1036"/>
          <ac:spMkLst>
            <pc:docMk/>
            <pc:sldMk cId="1252826214" sldId="1711"/>
            <ac:spMk id="80" creationId="{407A864B-2946-4460-8D74-618B9CA860C4}"/>
          </ac:spMkLst>
        </pc:spChg>
        <pc:spChg chg="mod topLvl">
          <ac:chgData name="Aurelien Domont" userId="6da7715ce44349b3" providerId="LiveId" clId="{AFF9B0D5-CA7D-40FB-964A-23276295459E}" dt="2021-07-06T05:11:34.229" v="6642" actId="1036"/>
          <ac:spMkLst>
            <pc:docMk/>
            <pc:sldMk cId="1252826214" sldId="1711"/>
            <ac:spMk id="81" creationId="{ADA77C41-C517-4C6A-92B8-8C800F9BABEE}"/>
          </ac:spMkLst>
        </pc:spChg>
        <pc:spChg chg="mod topLvl">
          <ac:chgData name="Aurelien Domont" userId="6da7715ce44349b3" providerId="LiveId" clId="{AFF9B0D5-CA7D-40FB-964A-23276295459E}" dt="2021-07-06T05:11:34.229" v="6642" actId="1036"/>
          <ac:spMkLst>
            <pc:docMk/>
            <pc:sldMk cId="1252826214" sldId="1711"/>
            <ac:spMk id="82" creationId="{FD1F4F0E-11F9-489B-AEEE-DCA1015253E2}"/>
          </ac:spMkLst>
        </pc:spChg>
        <pc:spChg chg="mod topLvl">
          <ac:chgData name="Aurelien Domont" userId="6da7715ce44349b3" providerId="LiveId" clId="{AFF9B0D5-CA7D-40FB-964A-23276295459E}" dt="2021-07-06T05:11:34.229" v="6642" actId="1036"/>
          <ac:spMkLst>
            <pc:docMk/>
            <pc:sldMk cId="1252826214" sldId="1711"/>
            <ac:spMk id="83" creationId="{691F974D-6BEA-413E-AFE8-2F8F695C9D1F}"/>
          </ac:spMkLst>
        </pc:spChg>
        <pc:spChg chg="mod topLvl">
          <ac:chgData name="Aurelien Domont" userId="6da7715ce44349b3" providerId="LiveId" clId="{AFF9B0D5-CA7D-40FB-964A-23276295459E}" dt="2021-07-06T05:11:34.229" v="6642" actId="1036"/>
          <ac:spMkLst>
            <pc:docMk/>
            <pc:sldMk cId="1252826214" sldId="1711"/>
            <ac:spMk id="84" creationId="{9A782A32-53DB-445E-8E52-7A8689503316}"/>
          </ac:spMkLst>
        </pc:spChg>
        <pc:spChg chg="mod topLvl">
          <ac:chgData name="Aurelien Domont" userId="6da7715ce44349b3" providerId="LiveId" clId="{AFF9B0D5-CA7D-40FB-964A-23276295459E}" dt="2021-07-06T05:11:34.229" v="6642" actId="1036"/>
          <ac:spMkLst>
            <pc:docMk/>
            <pc:sldMk cId="1252826214" sldId="1711"/>
            <ac:spMk id="85" creationId="{89889F1F-F5A9-4CDA-9661-2DABF92F0C98}"/>
          </ac:spMkLst>
        </pc:spChg>
        <pc:spChg chg="mod topLvl">
          <ac:chgData name="Aurelien Domont" userId="6da7715ce44349b3" providerId="LiveId" clId="{AFF9B0D5-CA7D-40FB-964A-23276295459E}" dt="2021-07-06T05:11:34.229" v="6642" actId="1036"/>
          <ac:spMkLst>
            <pc:docMk/>
            <pc:sldMk cId="1252826214" sldId="1711"/>
            <ac:spMk id="86" creationId="{4AB652D7-26CE-4535-9304-FA5D0E7D6FEE}"/>
          </ac:spMkLst>
        </pc:spChg>
        <pc:spChg chg="mod topLvl">
          <ac:chgData name="Aurelien Domont" userId="6da7715ce44349b3" providerId="LiveId" clId="{AFF9B0D5-CA7D-40FB-964A-23276295459E}" dt="2021-07-06T05:11:34.229" v="6642" actId="1036"/>
          <ac:spMkLst>
            <pc:docMk/>
            <pc:sldMk cId="1252826214" sldId="1711"/>
            <ac:spMk id="87" creationId="{5394BAFA-E989-4A31-B6CE-E7B95647C880}"/>
          </ac:spMkLst>
        </pc:spChg>
        <pc:spChg chg="mod topLvl">
          <ac:chgData name="Aurelien Domont" userId="6da7715ce44349b3" providerId="LiveId" clId="{AFF9B0D5-CA7D-40FB-964A-23276295459E}" dt="2021-07-06T05:11:34.229" v="6642" actId="1036"/>
          <ac:spMkLst>
            <pc:docMk/>
            <pc:sldMk cId="1252826214" sldId="1711"/>
            <ac:spMk id="88" creationId="{CC2CD2E4-CCD1-47BB-A4BE-E08B6EE05F8A}"/>
          </ac:spMkLst>
        </pc:spChg>
        <pc:spChg chg="mod topLvl">
          <ac:chgData name="Aurelien Domont" userId="6da7715ce44349b3" providerId="LiveId" clId="{AFF9B0D5-CA7D-40FB-964A-23276295459E}" dt="2021-07-06T05:11:34.229" v="6642" actId="1036"/>
          <ac:spMkLst>
            <pc:docMk/>
            <pc:sldMk cId="1252826214" sldId="1711"/>
            <ac:spMk id="89" creationId="{FA39D6F1-3E4E-4C18-8AA5-C6DEADB50CF5}"/>
          </ac:spMkLst>
        </pc:spChg>
        <pc:spChg chg="mod topLvl">
          <ac:chgData name="Aurelien Domont" userId="6da7715ce44349b3" providerId="LiveId" clId="{AFF9B0D5-CA7D-40FB-964A-23276295459E}" dt="2021-07-06T05:11:34.229" v="6642" actId="1036"/>
          <ac:spMkLst>
            <pc:docMk/>
            <pc:sldMk cId="1252826214" sldId="1711"/>
            <ac:spMk id="91" creationId="{D28CFB18-6653-431F-B2ED-C546617D22A4}"/>
          </ac:spMkLst>
        </pc:spChg>
        <pc:spChg chg="mod topLvl">
          <ac:chgData name="Aurelien Domont" userId="6da7715ce44349b3" providerId="LiveId" clId="{AFF9B0D5-CA7D-40FB-964A-23276295459E}" dt="2021-07-06T05:11:34.229" v="6642" actId="1036"/>
          <ac:spMkLst>
            <pc:docMk/>
            <pc:sldMk cId="1252826214" sldId="1711"/>
            <ac:spMk id="92" creationId="{9FCD6F56-B8C1-4FC0-863D-8E71A8CB23AB}"/>
          </ac:spMkLst>
        </pc:spChg>
        <pc:spChg chg="mod topLvl">
          <ac:chgData name="Aurelien Domont" userId="6da7715ce44349b3" providerId="LiveId" clId="{AFF9B0D5-CA7D-40FB-964A-23276295459E}" dt="2021-07-06T05:11:34.229" v="6642" actId="1036"/>
          <ac:spMkLst>
            <pc:docMk/>
            <pc:sldMk cId="1252826214" sldId="1711"/>
            <ac:spMk id="93" creationId="{29F54C2A-36D0-421A-9230-E5196D9A16CB}"/>
          </ac:spMkLst>
        </pc:spChg>
        <pc:spChg chg="mod topLvl">
          <ac:chgData name="Aurelien Domont" userId="6da7715ce44349b3" providerId="LiveId" clId="{AFF9B0D5-CA7D-40FB-964A-23276295459E}" dt="2021-07-06T05:11:34.229" v="6642" actId="1036"/>
          <ac:spMkLst>
            <pc:docMk/>
            <pc:sldMk cId="1252826214" sldId="1711"/>
            <ac:spMk id="94" creationId="{C0445C87-6890-4F17-8D40-1619FBDB78C2}"/>
          </ac:spMkLst>
        </pc:spChg>
        <pc:spChg chg="mod topLvl">
          <ac:chgData name="Aurelien Domont" userId="6da7715ce44349b3" providerId="LiveId" clId="{AFF9B0D5-CA7D-40FB-964A-23276295459E}" dt="2021-07-06T05:11:34.229" v="6642" actId="1036"/>
          <ac:spMkLst>
            <pc:docMk/>
            <pc:sldMk cId="1252826214" sldId="1711"/>
            <ac:spMk id="95" creationId="{1F6DB845-3BA5-4D76-BC5C-6C9E21073F43}"/>
          </ac:spMkLst>
        </pc:spChg>
        <pc:spChg chg="mod topLvl">
          <ac:chgData name="Aurelien Domont" userId="6da7715ce44349b3" providerId="LiveId" clId="{AFF9B0D5-CA7D-40FB-964A-23276295459E}" dt="2021-07-06T05:11:34.229" v="6642" actId="1036"/>
          <ac:spMkLst>
            <pc:docMk/>
            <pc:sldMk cId="1252826214" sldId="1711"/>
            <ac:spMk id="96" creationId="{C5C31C86-8CBA-4C46-B3DE-65A8CCD3267C}"/>
          </ac:spMkLst>
        </pc:spChg>
        <pc:spChg chg="mod topLvl">
          <ac:chgData name="Aurelien Domont" userId="6da7715ce44349b3" providerId="LiveId" clId="{AFF9B0D5-CA7D-40FB-964A-23276295459E}" dt="2021-07-06T05:11:34.229" v="6642" actId="1036"/>
          <ac:spMkLst>
            <pc:docMk/>
            <pc:sldMk cId="1252826214" sldId="1711"/>
            <ac:spMk id="97" creationId="{CE67ACDE-6CFE-4F6E-ADB6-E5D8AF8B1F9B}"/>
          </ac:spMkLst>
        </pc:spChg>
        <pc:spChg chg="mod topLvl">
          <ac:chgData name="Aurelien Domont" userId="6da7715ce44349b3" providerId="LiveId" clId="{AFF9B0D5-CA7D-40FB-964A-23276295459E}" dt="2021-07-06T05:11:34.229" v="6642" actId="1036"/>
          <ac:spMkLst>
            <pc:docMk/>
            <pc:sldMk cId="1252826214" sldId="1711"/>
            <ac:spMk id="98" creationId="{CB872E09-31AF-4938-9583-886CE3BA7AD3}"/>
          </ac:spMkLst>
        </pc:spChg>
        <pc:spChg chg="mod topLvl">
          <ac:chgData name="Aurelien Domont" userId="6da7715ce44349b3" providerId="LiveId" clId="{AFF9B0D5-CA7D-40FB-964A-23276295459E}" dt="2021-07-06T05:11:34.229" v="6642" actId="1036"/>
          <ac:spMkLst>
            <pc:docMk/>
            <pc:sldMk cId="1252826214" sldId="1711"/>
            <ac:spMk id="99" creationId="{B0DCB1F1-0801-4DD1-9DC9-1D72512FF5DE}"/>
          </ac:spMkLst>
        </pc:spChg>
        <pc:spChg chg="mod topLvl">
          <ac:chgData name="Aurelien Domont" userId="6da7715ce44349b3" providerId="LiveId" clId="{AFF9B0D5-CA7D-40FB-964A-23276295459E}" dt="2021-07-06T05:11:34.229" v="6642" actId="1036"/>
          <ac:spMkLst>
            <pc:docMk/>
            <pc:sldMk cId="1252826214" sldId="1711"/>
            <ac:spMk id="100" creationId="{7506D3EC-7627-4E29-8992-84797B05FEAB}"/>
          </ac:spMkLst>
        </pc:spChg>
        <pc:spChg chg="mod topLvl">
          <ac:chgData name="Aurelien Domont" userId="6da7715ce44349b3" providerId="LiveId" clId="{AFF9B0D5-CA7D-40FB-964A-23276295459E}" dt="2021-07-06T05:11:34.229" v="6642" actId="1036"/>
          <ac:spMkLst>
            <pc:docMk/>
            <pc:sldMk cId="1252826214" sldId="1711"/>
            <ac:spMk id="101" creationId="{4F79DD9B-4316-48D9-B0AD-A65A6A07FBE4}"/>
          </ac:spMkLst>
        </pc:spChg>
        <pc:spChg chg="mod topLvl">
          <ac:chgData name="Aurelien Domont" userId="6da7715ce44349b3" providerId="LiveId" clId="{AFF9B0D5-CA7D-40FB-964A-23276295459E}" dt="2021-07-06T05:11:34.229" v="6642" actId="1036"/>
          <ac:spMkLst>
            <pc:docMk/>
            <pc:sldMk cId="1252826214" sldId="1711"/>
            <ac:spMk id="102" creationId="{F7E30A9B-D06A-4314-A309-7CCC67FD7969}"/>
          </ac:spMkLst>
        </pc:spChg>
        <pc:spChg chg="mod topLvl">
          <ac:chgData name="Aurelien Domont" userId="6da7715ce44349b3" providerId="LiveId" clId="{AFF9B0D5-CA7D-40FB-964A-23276295459E}" dt="2021-07-06T05:11:34.229" v="6642" actId="1036"/>
          <ac:spMkLst>
            <pc:docMk/>
            <pc:sldMk cId="1252826214" sldId="1711"/>
            <ac:spMk id="103" creationId="{55AC66FC-1912-4FA6-9D9B-62AA0870F6A1}"/>
          </ac:spMkLst>
        </pc:spChg>
        <pc:spChg chg="mod topLvl">
          <ac:chgData name="Aurelien Domont" userId="6da7715ce44349b3" providerId="LiveId" clId="{AFF9B0D5-CA7D-40FB-964A-23276295459E}" dt="2021-07-06T05:11:34.229" v="6642" actId="1036"/>
          <ac:spMkLst>
            <pc:docMk/>
            <pc:sldMk cId="1252826214" sldId="1711"/>
            <ac:spMk id="104" creationId="{1EF74135-38F5-4B5B-8767-B58DF6090E96}"/>
          </ac:spMkLst>
        </pc:spChg>
        <pc:spChg chg="mod topLvl">
          <ac:chgData name="Aurelien Domont" userId="6da7715ce44349b3" providerId="LiveId" clId="{AFF9B0D5-CA7D-40FB-964A-23276295459E}" dt="2021-07-06T05:11:34.229" v="6642" actId="1036"/>
          <ac:spMkLst>
            <pc:docMk/>
            <pc:sldMk cId="1252826214" sldId="1711"/>
            <ac:spMk id="105" creationId="{E3D9AEA2-B142-4632-B159-C828C0E799D8}"/>
          </ac:spMkLst>
        </pc:spChg>
        <pc:spChg chg="mod topLvl">
          <ac:chgData name="Aurelien Domont" userId="6da7715ce44349b3" providerId="LiveId" clId="{AFF9B0D5-CA7D-40FB-964A-23276295459E}" dt="2021-07-06T05:11:34.229" v="6642" actId="1036"/>
          <ac:spMkLst>
            <pc:docMk/>
            <pc:sldMk cId="1252826214" sldId="1711"/>
            <ac:spMk id="106" creationId="{73C311A6-1A4D-4EBA-83CA-E3FF3F35E0FB}"/>
          </ac:spMkLst>
        </pc:spChg>
        <pc:spChg chg="mod topLvl">
          <ac:chgData name="Aurelien Domont" userId="6da7715ce44349b3" providerId="LiveId" clId="{AFF9B0D5-CA7D-40FB-964A-23276295459E}" dt="2021-07-06T05:11:34.229" v="6642" actId="1036"/>
          <ac:spMkLst>
            <pc:docMk/>
            <pc:sldMk cId="1252826214" sldId="1711"/>
            <ac:spMk id="107" creationId="{02B694A8-55D5-4A2E-9316-39E66FF089F8}"/>
          </ac:spMkLst>
        </pc:spChg>
        <pc:spChg chg="mod topLvl">
          <ac:chgData name="Aurelien Domont" userId="6da7715ce44349b3" providerId="LiveId" clId="{AFF9B0D5-CA7D-40FB-964A-23276295459E}" dt="2021-07-06T05:11:34.229" v="6642" actId="1036"/>
          <ac:spMkLst>
            <pc:docMk/>
            <pc:sldMk cId="1252826214" sldId="1711"/>
            <ac:spMk id="108" creationId="{809A775B-E5D4-4867-B09A-C8A781646D77}"/>
          </ac:spMkLst>
        </pc:spChg>
        <pc:spChg chg="mod topLvl">
          <ac:chgData name="Aurelien Domont" userId="6da7715ce44349b3" providerId="LiveId" clId="{AFF9B0D5-CA7D-40FB-964A-23276295459E}" dt="2021-07-06T05:11:34.229" v="6642" actId="1036"/>
          <ac:spMkLst>
            <pc:docMk/>
            <pc:sldMk cId="1252826214" sldId="1711"/>
            <ac:spMk id="109" creationId="{E5978EA7-ED59-430A-936F-7AAC511D80FB}"/>
          </ac:spMkLst>
        </pc:spChg>
        <pc:spChg chg="mod topLvl">
          <ac:chgData name="Aurelien Domont" userId="6da7715ce44349b3" providerId="LiveId" clId="{AFF9B0D5-CA7D-40FB-964A-23276295459E}" dt="2021-07-06T05:11:34.229" v="6642" actId="1036"/>
          <ac:spMkLst>
            <pc:docMk/>
            <pc:sldMk cId="1252826214" sldId="1711"/>
            <ac:spMk id="110" creationId="{A7719609-0A29-44D8-B66E-E402A76F776A}"/>
          </ac:spMkLst>
        </pc:spChg>
        <pc:spChg chg="mod topLvl">
          <ac:chgData name="Aurelien Domont" userId="6da7715ce44349b3" providerId="LiveId" clId="{AFF9B0D5-CA7D-40FB-964A-23276295459E}" dt="2021-07-06T05:11:34.229" v="6642" actId="1036"/>
          <ac:spMkLst>
            <pc:docMk/>
            <pc:sldMk cId="1252826214" sldId="1711"/>
            <ac:spMk id="111" creationId="{AE2EB892-083B-4926-A4AF-A6476C2E6D93}"/>
          </ac:spMkLst>
        </pc:spChg>
        <pc:spChg chg="mod topLvl">
          <ac:chgData name="Aurelien Domont" userId="6da7715ce44349b3" providerId="LiveId" clId="{AFF9B0D5-CA7D-40FB-964A-23276295459E}" dt="2021-07-06T05:11:34.229" v="6642" actId="1036"/>
          <ac:spMkLst>
            <pc:docMk/>
            <pc:sldMk cId="1252826214" sldId="1711"/>
            <ac:spMk id="112" creationId="{E06CD000-F4B9-4678-8D0F-0F22AD97FDB2}"/>
          </ac:spMkLst>
        </pc:spChg>
        <pc:spChg chg="mod topLvl">
          <ac:chgData name="Aurelien Domont" userId="6da7715ce44349b3" providerId="LiveId" clId="{AFF9B0D5-CA7D-40FB-964A-23276295459E}" dt="2021-07-06T05:11:34.229" v="6642" actId="1036"/>
          <ac:spMkLst>
            <pc:docMk/>
            <pc:sldMk cId="1252826214" sldId="1711"/>
            <ac:spMk id="113" creationId="{E43B555A-3022-4CDD-B5AC-2524555140D9}"/>
          </ac:spMkLst>
        </pc:spChg>
        <pc:spChg chg="mod topLvl">
          <ac:chgData name="Aurelien Domont" userId="6da7715ce44349b3" providerId="LiveId" clId="{AFF9B0D5-CA7D-40FB-964A-23276295459E}" dt="2021-07-06T05:11:34.229" v="6642" actId="1036"/>
          <ac:spMkLst>
            <pc:docMk/>
            <pc:sldMk cId="1252826214" sldId="1711"/>
            <ac:spMk id="114" creationId="{926AFD02-FCE4-4DC8-B6DD-C5839ECD5A46}"/>
          </ac:spMkLst>
        </pc:spChg>
        <pc:spChg chg="mod topLvl">
          <ac:chgData name="Aurelien Domont" userId="6da7715ce44349b3" providerId="LiveId" clId="{AFF9B0D5-CA7D-40FB-964A-23276295459E}" dt="2021-07-06T05:11:34.229" v="6642" actId="1036"/>
          <ac:spMkLst>
            <pc:docMk/>
            <pc:sldMk cId="1252826214" sldId="1711"/>
            <ac:spMk id="115" creationId="{6D5E84FF-0D77-4C0F-9A8C-8AC9C2395F79}"/>
          </ac:spMkLst>
        </pc:spChg>
        <pc:spChg chg="mod topLvl">
          <ac:chgData name="Aurelien Domont" userId="6da7715ce44349b3" providerId="LiveId" clId="{AFF9B0D5-CA7D-40FB-964A-23276295459E}" dt="2021-07-06T05:11:34.229" v="6642" actId="1036"/>
          <ac:spMkLst>
            <pc:docMk/>
            <pc:sldMk cId="1252826214" sldId="1711"/>
            <ac:spMk id="116" creationId="{D53E2190-2974-43B0-A06A-0D8F1220AE31}"/>
          </ac:spMkLst>
        </pc:spChg>
        <pc:spChg chg="mod topLvl">
          <ac:chgData name="Aurelien Domont" userId="6da7715ce44349b3" providerId="LiveId" clId="{AFF9B0D5-CA7D-40FB-964A-23276295459E}" dt="2021-07-06T05:11:34.229" v="6642" actId="1036"/>
          <ac:spMkLst>
            <pc:docMk/>
            <pc:sldMk cId="1252826214" sldId="1711"/>
            <ac:spMk id="117" creationId="{44ED2386-1DC3-4623-A6DA-1C996E2D987B}"/>
          </ac:spMkLst>
        </pc:spChg>
        <pc:spChg chg="mod topLvl">
          <ac:chgData name="Aurelien Domont" userId="6da7715ce44349b3" providerId="LiveId" clId="{AFF9B0D5-CA7D-40FB-964A-23276295459E}" dt="2021-07-06T05:11:34.229" v="6642" actId="1036"/>
          <ac:spMkLst>
            <pc:docMk/>
            <pc:sldMk cId="1252826214" sldId="1711"/>
            <ac:spMk id="118" creationId="{76BC809E-3675-4C34-9947-BCBD6C81CC3E}"/>
          </ac:spMkLst>
        </pc:spChg>
        <pc:spChg chg="mod topLvl">
          <ac:chgData name="Aurelien Domont" userId="6da7715ce44349b3" providerId="LiveId" clId="{AFF9B0D5-CA7D-40FB-964A-23276295459E}" dt="2021-07-06T05:11:34.229" v="6642" actId="1036"/>
          <ac:spMkLst>
            <pc:docMk/>
            <pc:sldMk cId="1252826214" sldId="1711"/>
            <ac:spMk id="119" creationId="{EB91065C-D149-407F-A0DD-DA4D4B39AA87}"/>
          </ac:spMkLst>
        </pc:spChg>
        <pc:spChg chg="mod topLvl">
          <ac:chgData name="Aurelien Domont" userId="6da7715ce44349b3" providerId="LiveId" clId="{AFF9B0D5-CA7D-40FB-964A-23276295459E}" dt="2021-07-06T05:11:34.229" v="6642" actId="1036"/>
          <ac:spMkLst>
            <pc:docMk/>
            <pc:sldMk cId="1252826214" sldId="1711"/>
            <ac:spMk id="120" creationId="{715873A8-606D-4F59-8F16-F318092F4BB8}"/>
          </ac:spMkLst>
        </pc:spChg>
        <pc:spChg chg="mod topLvl">
          <ac:chgData name="Aurelien Domont" userId="6da7715ce44349b3" providerId="LiveId" clId="{AFF9B0D5-CA7D-40FB-964A-23276295459E}" dt="2021-07-06T05:11:34.229" v="6642" actId="1036"/>
          <ac:spMkLst>
            <pc:docMk/>
            <pc:sldMk cId="1252826214" sldId="1711"/>
            <ac:spMk id="121" creationId="{A07C7D0C-846B-4236-BB14-43D756165867}"/>
          </ac:spMkLst>
        </pc:spChg>
        <pc:spChg chg="mod topLvl">
          <ac:chgData name="Aurelien Domont" userId="6da7715ce44349b3" providerId="LiveId" clId="{AFF9B0D5-CA7D-40FB-964A-23276295459E}" dt="2021-07-06T05:11:34.229" v="6642" actId="1036"/>
          <ac:spMkLst>
            <pc:docMk/>
            <pc:sldMk cId="1252826214" sldId="1711"/>
            <ac:spMk id="122" creationId="{B3A0DCF1-8E21-4CAD-AA10-1ED0A6683CFE}"/>
          </ac:spMkLst>
        </pc:spChg>
        <pc:spChg chg="mod topLvl">
          <ac:chgData name="Aurelien Domont" userId="6da7715ce44349b3" providerId="LiveId" clId="{AFF9B0D5-CA7D-40FB-964A-23276295459E}" dt="2021-07-06T05:11:34.229" v="6642" actId="1036"/>
          <ac:spMkLst>
            <pc:docMk/>
            <pc:sldMk cId="1252826214" sldId="1711"/>
            <ac:spMk id="123" creationId="{A3DD26C8-3E62-4801-9288-F886BA845551}"/>
          </ac:spMkLst>
        </pc:spChg>
        <pc:spChg chg="mod topLvl">
          <ac:chgData name="Aurelien Domont" userId="6da7715ce44349b3" providerId="LiveId" clId="{AFF9B0D5-CA7D-40FB-964A-23276295459E}" dt="2021-07-06T05:11:34.229" v="6642" actId="1036"/>
          <ac:spMkLst>
            <pc:docMk/>
            <pc:sldMk cId="1252826214" sldId="1711"/>
            <ac:spMk id="124" creationId="{638676B9-2514-4195-9A72-8F37B541FA0E}"/>
          </ac:spMkLst>
        </pc:spChg>
        <pc:spChg chg="mod topLvl">
          <ac:chgData name="Aurelien Domont" userId="6da7715ce44349b3" providerId="LiveId" clId="{AFF9B0D5-CA7D-40FB-964A-23276295459E}" dt="2021-07-06T05:11:34.229" v="6642" actId="1036"/>
          <ac:spMkLst>
            <pc:docMk/>
            <pc:sldMk cId="1252826214" sldId="1711"/>
            <ac:spMk id="125" creationId="{2874D011-86B6-4115-9010-5D873F9E1291}"/>
          </ac:spMkLst>
        </pc:spChg>
        <pc:spChg chg="mod topLvl">
          <ac:chgData name="Aurelien Domont" userId="6da7715ce44349b3" providerId="LiveId" clId="{AFF9B0D5-CA7D-40FB-964A-23276295459E}" dt="2021-07-06T05:11:34.229" v="6642" actId="1036"/>
          <ac:spMkLst>
            <pc:docMk/>
            <pc:sldMk cId="1252826214" sldId="1711"/>
            <ac:spMk id="126" creationId="{BC4F0A17-7082-4D6A-BCA4-A2FEB3B6763B}"/>
          </ac:spMkLst>
        </pc:spChg>
        <pc:spChg chg="mod topLvl">
          <ac:chgData name="Aurelien Domont" userId="6da7715ce44349b3" providerId="LiveId" clId="{AFF9B0D5-CA7D-40FB-964A-23276295459E}" dt="2021-07-06T05:11:34.229" v="6642" actId="1036"/>
          <ac:spMkLst>
            <pc:docMk/>
            <pc:sldMk cId="1252826214" sldId="1711"/>
            <ac:spMk id="127" creationId="{19664302-30E7-4D9B-8029-61C3CA584B30}"/>
          </ac:spMkLst>
        </pc:spChg>
        <pc:spChg chg="mod topLvl">
          <ac:chgData name="Aurelien Domont" userId="6da7715ce44349b3" providerId="LiveId" clId="{AFF9B0D5-CA7D-40FB-964A-23276295459E}" dt="2021-07-06T05:11:34.229" v="6642" actId="1036"/>
          <ac:spMkLst>
            <pc:docMk/>
            <pc:sldMk cId="1252826214" sldId="1711"/>
            <ac:spMk id="128" creationId="{2BF712B0-C7C2-42AE-B132-6C35AEB2CFB3}"/>
          </ac:spMkLst>
        </pc:spChg>
        <pc:spChg chg="mod topLvl">
          <ac:chgData name="Aurelien Domont" userId="6da7715ce44349b3" providerId="LiveId" clId="{AFF9B0D5-CA7D-40FB-964A-23276295459E}" dt="2021-07-06T05:11:34.229" v="6642" actId="1036"/>
          <ac:spMkLst>
            <pc:docMk/>
            <pc:sldMk cId="1252826214" sldId="1711"/>
            <ac:spMk id="129" creationId="{C64552A8-000A-42EA-A41A-842C50A3E75C}"/>
          </ac:spMkLst>
        </pc:spChg>
        <pc:spChg chg="mod topLvl">
          <ac:chgData name="Aurelien Domont" userId="6da7715ce44349b3" providerId="LiveId" clId="{AFF9B0D5-CA7D-40FB-964A-23276295459E}" dt="2021-07-06T05:11:34.229" v="6642" actId="1036"/>
          <ac:spMkLst>
            <pc:docMk/>
            <pc:sldMk cId="1252826214" sldId="1711"/>
            <ac:spMk id="130" creationId="{25211B52-F394-4B97-B910-E8F00FAA4379}"/>
          </ac:spMkLst>
        </pc:spChg>
        <pc:spChg chg="mod topLvl">
          <ac:chgData name="Aurelien Domont" userId="6da7715ce44349b3" providerId="LiveId" clId="{AFF9B0D5-CA7D-40FB-964A-23276295459E}" dt="2021-07-06T05:11:34.229" v="6642" actId="1036"/>
          <ac:spMkLst>
            <pc:docMk/>
            <pc:sldMk cId="1252826214" sldId="1711"/>
            <ac:spMk id="131" creationId="{1353AF21-9142-444E-B4D4-3937D3BC0265}"/>
          </ac:spMkLst>
        </pc:spChg>
        <pc:spChg chg="mod topLvl">
          <ac:chgData name="Aurelien Domont" userId="6da7715ce44349b3" providerId="LiveId" clId="{AFF9B0D5-CA7D-40FB-964A-23276295459E}" dt="2021-07-06T05:11:34.229" v="6642" actId="1036"/>
          <ac:spMkLst>
            <pc:docMk/>
            <pc:sldMk cId="1252826214" sldId="1711"/>
            <ac:spMk id="132" creationId="{06B49306-A228-40E0-A62A-F4152D2EF65C}"/>
          </ac:spMkLst>
        </pc:spChg>
        <pc:spChg chg="mod topLvl">
          <ac:chgData name="Aurelien Domont" userId="6da7715ce44349b3" providerId="LiveId" clId="{AFF9B0D5-CA7D-40FB-964A-23276295459E}" dt="2021-07-06T05:11:34.229" v="6642" actId="1036"/>
          <ac:spMkLst>
            <pc:docMk/>
            <pc:sldMk cId="1252826214" sldId="1711"/>
            <ac:spMk id="133" creationId="{9E6D7F6A-7952-44F2-9895-244DA66F7758}"/>
          </ac:spMkLst>
        </pc:spChg>
        <pc:spChg chg="mod topLvl">
          <ac:chgData name="Aurelien Domont" userId="6da7715ce44349b3" providerId="LiveId" clId="{AFF9B0D5-CA7D-40FB-964A-23276295459E}" dt="2021-07-06T05:11:34.229" v="6642" actId="1036"/>
          <ac:spMkLst>
            <pc:docMk/>
            <pc:sldMk cId="1252826214" sldId="1711"/>
            <ac:spMk id="134" creationId="{FD2B5EB3-F3EB-4406-993B-782ECD460A2E}"/>
          </ac:spMkLst>
        </pc:spChg>
        <pc:spChg chg="mod topLvl">
          <ac:chgData name="Aurelien Domont" userId="6da7715ce44349b3" providerId="LiveId" clId="{AFF9B0D5-CA7D-40FB-964A-23276295459E}" dt="2021-07-06T05:11:34.229" v="6642" actId="1036"/>
          <ac:spMkLst>
            <pc:docMk/>
            <pc:sldMk cId="1252826214" sldId="1711"/>
            <ac:spMk id="135" creationId="{97C8E616-A639-4342-AB7C-2BA723919038}"/>
          </ac:spMkLst>
        </pc:spChg>
        <pc:spChg chg="mod topLvl">
          <ac:chgData name="Aurelien Domont" userId="6da7715ce44349b3" providerId="LiveId" clId="{AFF9B0D5-CA7D-40FB-964A-23276295459E}" dt="2021-07-06T05:11:34.229" v="6642" actId="1036"/>
          <ac:spMkLst>
            <pc:docMk/>
            <pc:sldMk cId="1252826214" sldId="1711"/>
            <ac:spMk id="136" creationId="{545FB3BD-6F68-47F3-8B2A-9A4D3CED8999}"/>
          </ac:spMkLst>
        </pc:spChg>
        <pc:spChg chg="mod topLvl">
          <ac:chgData name="Aurelien Domont" userId="6da7715ce44349b3" providerId="LiveId" clId="{AFF9B0D5-CA7D-40FB-964A-23276295459E}" dt="2021-07-06T05:11:34.229" v="6642" actId="1036"/>
          <ac:spMkLst>
            <pc:docMk/>
            <pc:sldMk cId="1252826214" sldId="1711"/>
            <ac:spMk id="137" creationId="{A595BE95-CA86-4E4A-97BC-8ECDAC59BA69}"/>
          </ac:spMkLst>
        </pc:spChg>
        <pc:spChg chg="mod topLvl">
          <ac:chgData name="Aurelien Domont" userId="6da7715ce44349b3" providerId="LiveId" clId="{AFF9B0D5-CA7D-40FB-964A-23276295459E}" dt="2021-07-06T05:11:34.229" v="6642" actId="1036"/>
          <ac:spMkLst>
            <pc:docMk/>
            <pc:sldMk cId="1252826214" sldId="1711"/>
            <ac:spMk id="138" creationId="{CE364E54-2E11-4C63-A303-5EB591D6D012}"/>
          </ac:spMkLst>
        </pc:spChg>
        <pc:spChg chg="mod topLvl">
          <ac:chgData name="Aurelien Domont" userId="6da7715ce44349b3" providerId="LiveId" clId="{AFF9B0D5-CA7D-40FB-964A-23276295459E}" dt="2021-07-06T05:11:34.229" v="6642" actId="1036"/>
          <ac:spMkLst>
            <pc:docMk/>
            <pc:sldMk cId="1252826214" sldId="1711"/>
            <ac:spMk id="139" creationId="{1EFA42D7-4448-4E18-A729-6CF3DBA94A34}"/>
          </ac:spMkLst>
        </pc:spChg>
        <pc:spChg chg="mod topLvl">
          <ac:chgData name="Aurelien Domont" userId="6da7715ce44349b3" providerId="LiveId" clId="{AFF9B0D5-CA7D-40FB-964A-23276295459E}" dt="2021-07-06T05:11:34.229" v="6642" actId="1036"/>
          <ac:spMkLst>
            <pc:docMk/>
            <pc:sldMk cId="1252826214" sldId="1711"/>
            <ac:spMk id="140" creationId="{8C2C812B-C909-499A-B3F4-D6BA4928BD00}"/>
          </ac:spMkLst>
        </pc:spChg>
        <pc:spChg chg="mod topLvl">
          <ac:chgData name="Aurelien Domont" userId="6da7715ce44349b3" providerId="LiveId" clId="{AFF9B0D5-CA7D-40FB-964A-23276295459E}" dt="2021-07-06T05:11:34.229" v="6642" actId="1036"/>
          <ac:spMkLst>
            <pc:docMk/>
            <pc:sldMk cId="1252826214" sldId="1711"/>
            <ac:spMk id="141" creationId="{34849A92-9597-49BF-977B-9951D462FED2}"/>
          </ac:spMkLst>
        </pc:spChg>
        <pc:spChg chg="mod topLvl">
          <ac:chgData name="Aurelien Domont" userId="6da7715ce44349b3" providerId="LiveId" clId="{AFF9B0D5-CA7D-40FB-964A-23276295459E}" dt="2021-07-06T05:11:34.229" v="6642" actId="1036"/>
          <ac:spMkLst>
            <pc:docMk/>
            <pc:sldMk cId="1252826214" sldId="1711"/>
            <ac:spMk id="142" creationId="{DDEA1F90-0863-42CA-BDC2-92B238A78A85}"/>
          </ac:spMkLst>
        </pc:spChg>
        <pc:spChg chg="mod topLvl">
          <ac:chgData name="Aurelien Domont" userId="6da7715ce44349b3" providerId="LiveId" clId="{AFF9B0D5-CA7D-40FB-964A-23276295459E}" dt="2021-07-06T05:11:34.229" v="6642" actId="1036"/>
          <ac:spMkLst>
            <pc:docMk/>
            <pc:sldMk cId="1252826214" sldId="1711"/>
            <ac:spMk id="143" creationId="{D8C37E11-C4BD-4A84-BF63-578417B77BEB}"/>
          </ac:spMkLst>
        </pc:spChg>
        <pc:spChg chg="mod topLvl">
          <ac:chgData name="Aurelien Domont" userId="6da7715ce44349b3" providerId="LiveId" clId="{AFF9B0D5-CA7D-40FB-964A-23276295459E}" dt="2021-07-06T05:29:10.437" v="6979" actId="108"/>
          <ac:spMkLst>
            <pc:docMk/>
            <pc:sldMk cId="1252826214" sldId="1711"/>
            <ac:spMk id="144" creationId="{C375A887-D5E3-4F99-9950-A79EB6CA9A6B}"/>
          </ac:spMkLst>
        </pc:spChg>
        <pc:spChg chg="mod topLvl">
          <ac:chgData name="Aurelien Domont" userId="6da7715ce44349b3" providerId="LiveId" clId="{AFF9B0D5-CA7D-40FB-964A-23276295459E}" dt="2021-07-06T05:11:34.229" v="6642" actId="1036"/>
          <ac:spMkLst>
            <pc:docMk/>
            <pc:sldMk cId="1252826214" sldId="1711"/>
            <ac:spMk id="145" creationId="{D68A8DB0-4D69-4C87-A962-C8F9E969D524}"/>
          </ac:spMkLst>
        </pc:spChg>
        <pc:spChg chg="mod topLvl">
          <ac:chgData name="Aurelien Domont" userId="6da7715ce44349b3" providerId="LiveId" clId="{AFF9B0D5-CA7D-40FB-964A-23276295459E}" dt="2021-07-06T05:11:34.229" v="6642" actId="1036"/>
          <ac:spMkLst>
            <pc:docMk/>
            <pc:sldMk cId="1252826214" sldId="1711"/>
            <ac:spMk id="146" creationId="{B027E49D-713A-4007-8722-5D14C2C7EACA}"/>
          </ac:spMkLst>
        </pc:spChg>
        <pc:spChg chg="mod topLvl">
          <ac:chgData name="Aurelien Domont" userId="6da7715ce44349b3" providerId="LiveId" clId="{AFF9B0D5-CA7D-40FB-964A-23276295459E}" dt="2021-07-06T05:11:34.229" v="6642" actId="1036"/>
          <ac:spMkLst>
            <pc:docMk/>
            <pc:sldMk cId="1252826214" sldId="1711"/>
            <ac:spMk id="147" creationId="{8043C5E2-C7CB-4A63-B4D5-162D9FF00E21}"/>
          </ac:spMkLst>
        </pc:spChg>
        <pc:spChg chg="mod topLvl">
          <ac:chgData name="Aurelien Domont" userId="6da7715ce44349b3" providerId="LiveId" clId="{AFF9B0D5-CA7D-40FB-964A-23276295459E}" dt="2021-07-06T05:11:34.229" v="6642" actId="1036"/>
          <ac:spMkLst>
            <pc:docMk/>
            <pc:sldMk cId="1252826214" sldId="1711"/>
            <ac:spMk id="148" creationId="{B55A0DD7-4E48-406D-93E4-0B3AE2F1CEF9}"/>
          </ac:spMkLst>
        </pc:spChg>
        <pc:spChg chg="mod topLvl">
          <ac:chgData name="Aurelien Domont" userId="6da7715ce44349b3" providerId="LiveId" clId="{AFF9B0D5-CA7D-40FB-964A-23276295459E}" dt="2021-07-06T05:11:34.229" v="6642" actId="1036"/>
          <ac:spMkLst>
            <pc:docMk/>
            <pc:sldMk cId="1252826214" sldId="1711"/>
            <ac:spMk id="149" creationId="{91F4980C-1E3A-4BE7-A200-8DEF8ABE3F9D}"/>
          </ac:spMkLst>
        </pc:spChg>
        <pc:spChg chg="mod topLvl">
          <ac:chgData name="Aurelien Domont" userId="6da7715ce44349b3" providerId="LiveId" clId="{AFF9B0D5-CA7D-40FB-964A-23276295459E}" dt="2021-07-06T05:11:34.229" v="6642" actId="1036"/>
          <ac:spMkLst>
            <pc:docMk/>
            <pc:sldMk cId="1252826214" sldId="1711"/>
            <ac:spMk id="150" creationId="{E211A3E5-A626-4167-82E1-6D2198386F44}"/>
          </ac:spMkLst>
        </pc:spChg>
        <pc:spChg chg="mod topLvl">
          <ac:chgData name="Aurelien Domont" userId="6da7715ce44349b3" providerId="LiveId" clId="{AFF9B0D5-CA7D-40FB-964A-23276295459E}" dt="2021-07-06T05:11:34.229" v="6642" actId="1036"/>
          <ac:spMkLst>
            <pc:docMk/>
            <pc:sldMk cId="1252826214" sldId="1711"/>
            <ac:spMk id="151" creationId="{131EE606-1F8D-4B48-8188-352E524DF4AE}"/>
          </ac:spMkLst>
        </pc:spChg>
        <pc:spChg chg="mod topLvl">
          <ac:chgData name="Aurelien Domont" userId="6da7715ce44349b3" providerId="LiveId" clId="{AFF9B0D5-CA7D-40FB-964A-23276295459E}" dt="2021-07-06T05:11:34.229" v="6642" actId="1036"/>
          <ac:spMkLst>
            <pc:docMk/>
            <pc:sldMk cId="1252826214" sldId="1711"/>
            <ac:spMk id="152" creationId="{7436FE4F-A3CC-4C95-902D-8B1D92D535B1}"/>
          </ac:spMkLst>
        </pc:spChg>
        <pc:spChg chg="mod topLvl">
          <ac:chgData name="Aurelien Domont" userId="6da7715ce44349b3" providerId="LiveId" clId="{AFF9B0D5-CA7D-40FB-964A-23276295459E}" dt="2021-07-06T05:11:34.229" v="6642" actId="1036"/>
          <ac:spMkLst>
            <pc:docMk/>
            <pc:sldMk cId="1252826214" sldId="1711"/>
            <ac:spMk id="154" creationId="{78505EE0-DBC4-400C-A718-6C2C024583C9}"/>
          </ac:spMkLst>
        </pc:spChg>
        <pc:spChg chg="mod topLvl">
          <ac:chgData name="Aurelien Domont" userId="6da7715ce44349b3" providerId="LiveId" clId="{AFF9B0D5-CA7D-40FB-964A-23276295459E}" dt="2021-07-06T05:11:34.229" v="6642" actId="1036"/>
          <ac:spMkLst>
            <pc:docMk/>
            <pc:sldMk cId="1252826214" sldId="1711"/>
            <ac:spMk id="156" creationId="{88B98B20-4520-41ED-9304-72DC955877E3}"/>
          </ac:spMkLst>
        </pc:spChg>
        <pc:spChg chg="mod topLvl">
          <ac:chgData name="Aurelien Domont" userId="6da7715ce44349b3" providerId="LiveId" clId="{AFF9B0D5-CA7D-40FB-964A-23276295459E}" dt="2021-07-06T05:11:34.229" v="6642" actId="1036"/>
          <ac:spMkLst>
            <pc:docMk/>
            <pc:sldMk cId="1252826214" sldId="1711"/>
            <ac:spMk id="158" creationId="{9E8DA2CC-D49D-41A6-B0D6-42D3BDA7D0F4}"/>
          </ac:spMkLst>
        </pc:spChg>
        <pc:spChg chg="mod topLvl">
          <ac:chgData name="Aurelien Domont" userId="6da7715ce44349b3" providerId="LiveId" clId="{AFF9B0D5-CA7D-40FB-964A-23276295459E}" dt="2021-07-06T05:11:34.229" v="6642" actId="1036"/>
          <ac:spMkLst>
            <pc:docMk/>
            <pc:sldMk cId="1252826214" sldId="1711"/>
            <ac:spMk id="160" creationId="{5C3FA1B3-B4AC-48D4-B714-2D1BA93D0790}"/>
          </ac:spMkLst>
        </pc:spChg>
        <pc:spChg chg="mod topLvl">
          <ac:chgData name="Aurelien Domont" userId="6da7715ce44349b3" providerId="LiveId" clId="{AFF9B0D5-CA7D-40FB-964A-23276295459E}" dt="2021-07-06T05:11:34.229" v="6642" actId="1036"/>
          <ac:spMkLst>
            <pc:docMk/>
            <pc:sldMk cId="1252826214" sldId="1711"/>
            <ac:spMk id="161" creationId="{541E197F-4044-4204-8FDA-395AE323CACE}"/>
          </ac:spMkLst>
        </pc:spChg>
        <pc:spChg chg="mod topLvl">
          <ac:chgData name="Aurelien Domont" userId="6da7715ce44349b3" providerId="LiveId" clId="{AFF9B0D5-CA7D-40FB-964A-23276295459E}" dt="2021-07-06T05:11:34.229" v="6642" actId="1036"/>
          <ac:spMkLst>
            <pc:docMk/>
            <pc:sldMk cId="1252826214" sldId="1711"/>
            <ac:spMk id="162" creationId="{87E0E64E-A590-4A08-8106-4F02B5C7D002}"/>
          </ac:spMkLst>
        </pc:spChg>
        <pc:spChg chg="mod topLvl">
          <ac:chgData name="Aurelien Domont" userId="6da7715ce44349b3" providerId="LiveId" clId="{AFF9B0D5-CA7D-40FB-964A-23276295459E}" dt="2021-07-06T05:11:34.229" v="6642" actId="1036"/>
          <ac:spMkLst>
            <pc:docMk/>
            <pc:sldMk cId="1252826214" sldId="1711"/>
            <ac:spMk id="163" creationId="{71EA5F10-6A1F-4BE6-B877-E41B6C053DD0}"/>
          </ac:spMkLst>
        </pc:spChg>
        <pc:spChg chg="mod topLvl">
          <ac:chgData name="Aurelien Domont" userId="6da7715ce44349b3" providerId="LiveId" clId="{AFF9B0D5-CA7D-40FB-964A-23276295459E}" dt="2021-07-06T05:11:34.229" v="6642" actId="1036"/>
          <ac:spMkLst>
            <pc:docMk/>
            <pc:sldMk cId="1252826214" sldId="1711"/>
            <ac:spMk id="164" creationId="{F0F68B0B-B377-4B7D-9268-E3F776C48BF9}"/>
          </ac:spMkLst>
        </pc:spChg>
        <pc:spChg chg="mod topLvl">
          <ac:chgData name="Aurelien Domont" userId="6da7715ce44349b3" providerId="LiveId" clId="{AFF9B0D5-CA7D-40FB-964A-23276295459E}" dt="2021-07-06T05:11:34.229" v="6642" actId="1036"/>
          <ac:spMkLst>
            <pc:docMk/>
            <pc:sldMk cId="1252826214" sldId="1711"/>
            <ac:spMk id="165" creationId="{C5E2B2CD-FB89-4C8F-B686-E9E311344422}"/>
          </ac:spMkLst>
        </pc:spChg>
        <pc:spChg chg="mod topLvl">
          <ac:chgData name="Aurelien Domont" userId="6da7715ce44349b3" providerId="LiveId" clId="{AFF9B0D5-CA7D-40FB-964A-23276295459E}" dt="2021-07-06T05:11:34.229" v="6642" actId="1036"/>
          <ac:spMkLst>
            <pc:docMk/>
            <pc:sldMk cId="1252826214" sldId="1711"/>
            <ac:spMk id="166" creationId="{08CE1BAD-B909-4C15-B25E-0DB0122FF7B0}"/>
          </ac:spMkLst>
        </pc:spChg>
        <pc:spChg chg="mod topLvl">
          <ac:chgData name="Aurelien Domont" userId="6da7715ce44349b3" providerId="LiveId" clId="{AFF9B0D5-CA7D-40FB-964A-23276295459E}" dt="2021-07-06T05:11:34.229" v="6642" actId="1036"/>
          <ac:spMkLst>
            <pc:docMk/>
            <pc:sldMk cId="1252826214" sldId="1711"/>
            <ac:spMk id="167" creationId="{DA557A7B-858E-40EE-A7F1-8A77F519D6EA}"/>
          </ac:spMkLst>
        </pc:spChg>
        <pc:spChg chg="mod topLvl">
          <ac:chgData name="Aurelien Domont" userId="6da7715ce44349b3" providerId="LiveId" clId="{AFF9B0D5-CA7D-40FB-964A-23276295459E}" dt="2021-07-06T05:11:34.229" v="6642" actId="1036"/>
          <ac:spMkLst>
            <pc:docMk/>
            <pc:sldMk cId="1252826214" sldId="1711"/>
            <ac:spMk id="168" creationId="{01515CE9-46BA-4B0A-951F-C33D9C9A402F}"/>
          </ac:spMkLst>
        </pc:spChg>
        <pc:spChg chg="mod topLvl">
          <ac:chgData name="Aurelien Domont" userId="6da7715ce44349b3" providerId="LiveId" clId="{AFF9B0D5-CA7D-40FB-964A-23276295459E}" dt="2021-07-06T05:11:34.229" v="6642" actId="1036"/>
          <ac:spMkLst>
            <pc:docMk/>
            <pc:sldMk cId="1252826214" sldId="1711"/>
            <ac:spMk id="169" creationId="{3F8CDBC1-9629-45C2-A85E-CA02DB9041EA}"/>
          </ac:spMkLst>
        </pc:spChg>
        <pc:spChg chg="mod topLvl">
          <ac:chgData name="Aurelien Domont" userId="6da7715ce44349b3" providerId="LiveId" clId="{AFF9B0D5-CA7D-40FB-964A-23276295459E}" dt="2021-07-06T05:11:34.229" v="6642" actId="1036"/>
          <ac:spMkLst>
            <pc:docMk/>
            <pc:sldMk cId="1252826214" sldId="1711"/>
            <ac:spMk id="171" creationId="{963AD41B-26F5-4D47-AD53-8AC2972B2A93}"/>
          </ac:spMkLst>
        </pc:spChg>
        <pc:spChg chg="mod topLvl">
          <ac:chgData name="Aurelien Domont" userId="6da7715ce44349b3" providerId="LiveId" clId="{AFF9B0D5-CA7D-40FB-964A-23276295459E}" dt="2021-07-06T05:11:34.229" v="6642" actId="1036"/>
          <ac:spMkLst>
            <pc:docMk/>
            <pc:sldMk cId="1252826214" sldId="1711"/>
            <ac:spMk id="172" creationId="{A95BECF4-65E0-4E20-8E81-BF2D70CA24FA}"/>
          </ac:spMkLst>
        </pc:spChg>
        <pc:spChg chg="mod topLvl">
          <ac:chgData name="Aurelien Domont" userId="6da7715ce44349b3" providerId="LiveId" clId="{AFF9B0D5-CA7D-40FB-964A-23276295459E}" dt="2021-07-06T05:11:34.229" v="6642" actId="1036"/>
          <ac:spMkLst>
            <pc:docMk/>
            <pc:sldMk cId="1252826214" sldId="1711"/>
            <ac:spMk id="173" creationId="{A82C2CB6-9C1B-463B-B201-2EDC9A84F804}"/>
          </ac:spMkLst>
        </pc:spChg>
        <pc:spChg chg="mod topLvl">
          <ac:chgData name="Aurelien Domont" userId="6da7715ce44349b3" providerId="LiveId" clId="{AFF9B0D5-CA7D-40FB-964A-23276295459E}" dt="2021-07-06T05:11:34.229" v="6642" actId="1036"/>
          <ac:spMkLst>
            <pc:docMk/>
            <pc:sldMk cId="1252826214" sldId="1711"/>
            <ac:spMk id="174" creationId="{F13E0817-830A-4419-9E5B-A121B77DA6DD}"/>
          </ac:spMkLst>
        </pc:spChg>
        <pc:spChg chg="mod topLvl">
          <ac:chgData name="Aurelien Domont" userId="6da7715ce44349b3" providerId="LiveId" clId="{AFF9B0D5-CA7D-40FB-964A-23276295459E}" dt="2021-07-06T05:11:34.229" v="6642" actId="1036"/>
          <ac:spMkLst>
            <pc:docMk/>
            <pc:sldMk cId="1252826214" sldId="1711"/>
            <ac:spMk id="175" creationId="{8E6C7D94-2CCA-4C44-B3CB-82E170208E8E}"/>
          </ac:spMkLst>
        </pc:spChg>
        <pc:spChg chg="mod topLvl">
          <ac:chgData name="Aurelien Domont" userId="6da7715ce44349b3" providerId="LiveId" clId="{AFF9B0D5-CA7D-40FB-964A-23276295459E}" dt="2021-07-06T05:11:34.229" v="6642" actId="1036"/>
          <ac:spMkLst>
            <pc:docMk/>
            <pc:sldMk cId="1252826214" sldId="1711"/>
            <ac:spMk id="176" creationId="{D658C2E5-253C-49B8-9139-B1A75693B43B}"/>
          </ac:spMkLst>
        </pc:spChg>
        <pc:spChg chg="mod topLvl">
          <ac:chgData name="Aurelien Domont" userId="6da7715ce44349b3" providerId="LiveId" clId="{AFF9B0D5-CA7D-40FB-964A-23276295459E}" dt="2021-07-06T05:11:34.229" v="6642" actId="1036"/>
          <ac:spMkLst>
            <pc:docMk/>
            <pc:sldMk cId="1252826214" sldId="1711"/>
            <ac:spMk id="177" creationId="{59202752-5754-4DE6-B2D6-DF32F10E5DC8}"/>
          </ac:spMkLst>
        </pc:spChg>
        <pc:spChg chg="mod topLvl">
          <ac:chgData name="Aurelien Domont" userId="6da7715ce44349b3" providerId="LiveId" clId="{AFF9B0D5-CA7D-40FB-964A-23276295459E}" dt="2021-07-06T05:11:34.229" v="6642" actId="1036"/>
          <ac:spMkLst>
            <pc:docMk/>
            <pc:sldMk cId="1252826214" sldId="1711"/>
            <ac:spMk id="178" creationId="{7D1A9FB2-D060-4515-BD88-6FCAEAF225BE}"/>
          </ac:spMkLst>
        </pc:spChg>
        <pc:spChg chg="mod topLvl">
          <ac:chgData name="Aurelien Domont" userId="6da7715ce44349b3" providerId="LiveId" clId="{AFF9B0D5-CA7D-40FB-964A-23276295459E}" dt="2021-07-06T05:11:34.229" v="6642" actId="1036"/>
          <ac:spMkLst>
            <pc:docMk/>
            <pc:sldMk cId="1252826214" sldId="1711"/>
            <ac:spMk id="179" creationId="{A4200E5E-8CC9-48B5-AA45-0716870EB5D3}"/>
          </ac:spMkLst>
        </pc:spChg>
        <pc:spChg chg="mod topLvl">
          <ac:chgData name="Aurelien Domont" userId="6da7715ce44349b3" providerId="LiveId" clId="{AFF9B0D5-CA7D-40FB-964A-23276295459E}" dt="2021-07-06T05:11:34.229" v="6642" actId="1036"/>
          <ac:spMkLst>
            <pc:docMk/>
            <pc:sldMk cId="1252826214" sldId="1711"/>
            <ac:spMk id="180" creationId="{88387600-1A81-43F5-A5F6-E595CC546449}"/>
          </ac:spMkLst>
        </pc:spChg>
        <pc:spChg chg="mod topLvl">
          <ac:chgData name="Aurelien Domont" userId="6da7715ce44349b3" providerId="LiveId" clId="{AFF9B0D5-CA7D-40FB-964A-23276295459E}" dt="2021-07-06T05:11:34.229" v="6642" actId="1036"/>
          <ac:spMkLst>
            <pc:docMk/>
            <pc:sldMk cId="1252826214" sldId="1711"/>
            <ac:spMk id="181" creationId="{992FA9DF-63EC-429A-BF35-AE164E2FF638}"/>
          </ac:spMkLst>
        </pc:spChg>
        <pc:spChg chg="mod topLvl">
          <ac:chgData name="Aurelien Domont" userId="6da7715ce44349b3" providerId="LiveId" clId="{AFF9B0D5-CA7D-40FB-964A-23276295459E}" dt="2021-07-06T05:11:34.229" v="6642" actId="1036"/>
          <ac:spMkLst>
            <pc:docMk/>
            <pc:sldMk cId="1252826214" sldId="1711"/>
            <ac:spMk id="182" creationId="{92554E69-034D-4A5C-9380-796DF5D21CBE}"/>
          </ac:spMkLst>
        </pc:spChg>
        <pc:spChg chg="mod topLvl">
          <ac:chgData name="Aurelien Domont" userId="6da7715ce44349b3" providerId="LiveId" clId="{AFF9B0D5-CA7D-40FB-964A-23276295459E}" dt="2021-07-06T05:11:34.229" v="6642" actId="1036"/>
          <ac:spMkLst>
            <pc:docMk/>
            <pc:sldMk cId="1252826214" sldId="1711"/>
            <ac:spMk id="183" creationId="{D33F1956-7744-4394-A0B6-5DC6187179A1}"/>
          </ac:spMkLst>
        </pc:spChg>
        <pc:spChg chg="mod topLvl">
          <ac:chgData name="Aurelien Domont" userId="6da7715ce44349b3" providerId="LiveId" clId="{AFF9B0D5-CA7D-40FB-964A-23276295459E}" dt="2021-07-06T05:11:34.229" v="6642" actId="1036"/>
          <ac:spMkLst>
            <pc:docMk/>
            <pc:sldMk cId="1252826214" sldId="1711"/>
            <ac:spMk id="184" creationId="{C4D285CB-4C4F-400C-B984-87DC8A9E1D18}"/>
          </ac:spMkLst>
        </pc:spChg>
        <pc:spChg chg="mod topLvl">
          <ac:chgData name="Aurelien Domont" userId="6da7715ce44349b3" providerId="LiveId" clId="{AFF9B0D5-CA7D-40FB-964A-23276295459E}" dt="2021-07-06T05:11:34.229" v="6642" actId="1036"/>
          <ac:spMkLst>
            <pc:docMk/>
            <pc:sldMk cId="1252826214" sldId="1711"/>
            <ac:spMk id="185" creationId="{2BE5A517-FA3C-44CF-972A-C5B15864EF7F}"/>
          </ac:spMkLst>
        </pc:spChg>
        <pc:spChg chg="mod topLvl">
          <ac:chgData name="Aurelien Domont" userId="6da7715ce44349b3" providerId="LiveId" clId="{AFF9B0D5-CA7D-40FB-964A-23276295459E}" dt="2021-07-06T05:11:34.229" v="6642" actId="1036"/>
          <ac:spMkLst>
            <pc:docMk/>
            <pc:sldMk cId="1252826214" sldId="1711"/>
            <ac:spMk id="186" creationId="{2AF56B3E-A4A0-4E78-9F27-6E1F86480A6E}"/>
          </ac:spMkLst>
        </pc:spChg>
        <pc:spChg chg="mod topLvl">
          <ac:chgData name="Aurelien Domont" userId="6da7715ce44349b3" providerId="LiveId" clId="{AFF9B0D5-CA7D-40FB-964A-23276295459E}" dt="2021-07-06T05:11:34.229" v="6642" actId="1036"/>
          <ac:spMkLst>
            <pc:docMk/>
            <pc:sldMk cId="1252826214" sldId="1711"/>
            <ac:spMk id="187" creationId="{65BAB392-D000-4FDD-8FB1-AE51D60AF3F4}"/>
          </ac:spMkLst>
        </pc:spChg>
        <pc:spChg chg="mod topLvl">
          <ac:chgData name="Aurelien Domont" userId="6da7715ce44349b3" providerId="LiveId" clId="{AFF9B0D5-CA7D-40FB-964A-23276295459E}" dt="2021-07-06T05:11:34.229" v="6642" actId="1036"/>
          <ac:spMkLst>
            <pc:docMk/>
            <pc:sldMk cId="1252826214" sldId="1711"/>
            <ac:spMk id="188" creationId="{D02BDEA7-490D-491D-ADE1-354D74062D97}"/>
          </ac:spMkLst>
        </pc:spChg>
        <pc:spChg chg="mod topLvl">
          <ac:chgData name="Aurelien Domont" userId="6da7715ce44349b3" providerId="LiveId" clId="{AFF9B0D5-CA7D-40FB-964A-23276295459E}" dt="2021-07-06T05:11:34.229" v="6642" actId="1036"/>
          <ac:spMkLst>
            <pc:docMk/>
            <pc:sldMk cId="1252826214" sldId="1711"/>
            <ac:spMk id="189" creationId="{E6CC3D2F-DB61-47E2-8F82-35A70A7033D1}"/>
          </ac:spMkLst>
        </pc:spChg>
        <pc:spChg chg="mod topLvl">
          <ac:chgData name="Aurelien Domont" userId="6da7715ce44349b3" providerId="LiveId" clId="{AFF9B0D5-CA7D-40FB-964A-23276295459E}" dt="2021-07-06T05:11:34.229" v="6642" actId="1036"/>
          <ac:spMkLst>
            <pc:docMk/>
            <pc:sldMk cId="1252826214" sldId="1711"/>
            <ac:spMk id="190" creationId="{A13D6358-E032-4D42-8B3A-BB647533A52A}"/>
          </ac:spMkLst>
        </pc:spChg>
        <pc:spChg chg="mod topLvl">
          <ac:chgData name="Aurelien Domont" userId="6da7715ce44349b3" providerId="LiveId" clId="{AFF9B0D5-CA7D-40FB-964A-23276295459E}" dt="2021-07-06T05:11:34.229" v="6642" actId="1036"/>
          <ac:spMkLst>
            <pc:docMk/>
            <pc:sldMk cId="1252826214" sldId="1711"/>
            <ac:spMk id="191" creationId="{2B54C7EB-4521-4D8E-8CC8-3C3AFB6C9D5D}"/>
          </ac:spMkLst>
        </pc:spChg>
        <pc:spChg chg="mod topLvl">
          <ac:chgData name="Aurelien Domont" userId="6da7715ce44349b3" providerId="LiveId" clId="{AFF9B0D5-CA7D-40FB-964A-23276295459E}" dt="2021-07-06T05:11:34.229" v="6642" actId="1036"/>
          <ac:spMkLst>
            <pc:docMk/>
            <pc:sldMk cId="1252826214" sldId="1711"/>
            <ac:spMk id="192" creationId="{56F9B48F-62FA-48FD-A47B-AEF05EC56DEE}"/>
          </ac:spMkLst>
        </pc:spChg>
        <pc:spChg chg="mod topLvl">
          <ac:chgData name="Aurelien Domont" userId="6da7715ce44349b3" providerId="LiveId" clId="{AFF9B0D5-CA7D-40FB-964A-23276295459E}" dt="2021-07-06T05:11:34.229" v="6642" actId="1036"/>
          <ac:spMkLst>
            <pc:docMk/>
            <pc:sldMk cId="1252826214" sldId="1711"/>
            <ac:spMk id="193" creationId="{4462D747-86EA-41CA-8F26-DE6608A116F0}"/>
          </ac:spMkLst>
        </pc:spChg>
        <pc:spChg chg="mod topLvl">
          <ac:chgData name="Aurelien Domont" userId="6da7715ce44349b3" providerId="LiveId" clId="{AFF9B0D5-CA7D-40FB-964A-23276295459E}" dt="2021-07-06T05:11:34.229" v="6642" actId="1036"/>
          <ac:spMkLst>
            <pc:docMk/>
            <pc:sldMk cId="1252826214" sldId="1711"/>
            <ac:spMk id="194" creationId="{DBBD5777-1E56-4ABE-BA16-5C74CE9A0EA7}"/>
          </ac:spMkLst>
        </pc:spChg>
        <pc:spChg chg="mod topLvl">
          <ac:chgData name="Aurelien Domont" userId="6da7715ce44349b3" providerId="LiveId" clId="{AFF9B0D5-CA7D-40FB-964A-23276295459E}" dt="2021-07-06T05:11:34.229" v="6642" actId="1036"/>
          <ac:spMkLst>
            <pc:docMk/>
            <pc:sldMk cId="1252826214" sldId="1711"/>
            <ac:spMk id="195" creationId="{7D7286B1-9422-4310-B4C2-615AF19EAACA}"/>
          </ac:spMkLst>
        </pc:spChg>
        <pc:spChg chg="mod topLvl">
          <ac:chgData name="Aurelien Domont" userId="6da7715ce44349b3" providerId="LiveId" clId="{AFF9B0D5-CA7D-40FB-964A-23276295459E}" dt="2021-07-06T05:11:34.229" v="6642" actId="1036"/>
          <ac:spMkLst>
            <pc:docMk/>
            <pc:sldMk cId="1252826214" sldId="1711"/>
            <ac:spMk id="196" creationId="{D40F5B22-E2AA-4258-9265-F1FF9ED960F4}"/>
          </ac:spMkLst>
        </pc:spChg>
        <pc:spChg chg="mod topLvl">
          <ac:chgData name="Aurelien Domont" userId="6da7715ce44349b3" providerId="LiveId" clId="{AFF9B0D5-CA7D-40FB-964A-23276295459E}" dt="2021-07-06T05:11:34.229" v="6642" actId="1036"/>
          <ac:spMkLst>
            <pc:docMk/>
            <pc:sldMk cId="1252826214" sldId="1711"/>
            <ac:spMk id="197" creationId="{AD4D240B-D50A-4D70-8C0B-977F83984D3A}"/>
          </ac:spMkLst>
        </pc:spChg>
        <pc:spChg chg="mod topLvl">
          <ac:chgData name="Aurelien Domont" userId="6da7715ce44349b3" providerId="LiveId" clId="{AFF9B0D5-CA7D-40FB-964A-23276295459E}" dt="2021-07-06T05:11:34.229" v="6642" actId="1036"/>
          <ac:spMkLst>
            <pc:docMk/>
            <pc:sldMk cId="1252826214" sldId="1711"/>
            <ac:spMk id="198" creationId="{6CE44318-CD7E-445D-B758-E7779777C82F}"/>
          </ac:spMkLst>
        </pc:spChg>
        <pc:spChg chg="mod topLvl">
          <ac:chgData name="Aurelien Domont" userId="6da7715ce44349b3" providerId="LiveId" clId="{AFF9B0D5-CA7D-40FB-964A-23276295459E}" dt="2021-07-06T05:11:34.229" v="6642" actId="1036"/>
          <ac:spMkLst>
            <pc:docMk/>
            <pc:sldMk cId="1252826214" sldId="1711"/>
            <ac:spMk id="199" creationId="{1F0F724B-E44F-41E4-8A14-AE2C600D3B37}"/>
          </ac:spMkLst>
        </pc:spChg>
        <pc:spChg chg="mod topLvl">
          <ac:chgData name="Aurelien Domont" userId="6da7715ce44349b3" providerId="LiveId" clId="{AFF9B0D5-CA7D-40FB-964A-23276295459E}" dt="2021-07-06T05:11:34.229" v="6642" actId="1036"/>
          <ac:spMkLst>
            <pc:docMk/>
            <pc:sldMk cId="1252826214" sldId="1711"/>
            <ac:spMk id="200" creationId="{86E37F85-C5A4-488E-B339-0F0F15565748}"/>
          </ac:spMkLst>
        </pc:spChg>
        <pc:spChg chg="mod topLvl">
          <ac:chgData name="Aurelien Domont" userId="6da7715ce44349b3" providerId="LiveId" clId="{AFF9B0D5-CA7D-40FB-964A-23276295459E}" dt="2021-07-06T05:11:34.229" v="6642" actId="1036"/>
          <ac:spMkLst>
            <pc:docMk/>
            <pc:sldMk cId="1252826214" sldId="1711"/>
            <ac:spMk id="201" creationId="{B1F3E296-E0F1-42B3-8EB5-18834C3DEF2D}"/>
          </ac:spMkLst>
        </pc:spChg>
        <pc:spChg chg="mod topLvl">
          <ac:chgData name="Aurelien Domont" userId="6da7715ce44349b3" providerId="LiveId" clId="{AFF9B0D5-CA7D-40FB-964A-23276295459E}" dt="2021-07-06T05:11:34.229" v="6642" actId="1036"/>
          <ac:spMkLst>
            <pc:docMk/>
            <pc:sldMk cId="1252826214" sldId="1711"/>
            <ac:spMk id="202" creationId="{BCB202AA-2A16-4C5C-AA67-6AFAFA8F6938}"/>
          </ac:spMkLst>
        </pc:spChg>
        <pc:spChg chg="mod topLvl">
          <ac:chgData name="Aurelien Domont" userId="6da7715ce44349b3" providerId="LiveId" clId="{AFF9B0D5-CA7D-40FB-964A-23276295459E}" dt="2021-07-06T05:11:34.229" v="6642" actId="1036"/>
          <ac:spMkLst>
            <pc:docMk/>
            <pc:sldMk cId="1252826214" sldId="1711"/>
            <ac:spMk id="203" creationId="{0C93BDFC-9980-4906-BF18-DAD7D5B3E82D}"/>
          </ac:spMkLst>
        </pc:spChg>
        <pc:spChg chg="mod topLvl">
          <ac:chgData name="Aurelien Domont" userId="6da7715ce44349b3" providerId="LiveId" clId="{AFF9B0D5-CA7D-40FB-964A-23276295459E}" dt="2021-07-06T05:11:34.229" v="6642" actId="1036"/>
          <ac:spMkLst>
            <pc:docMk/>
            <pc:sldMk cId="1252826214" sldId="1711"/>
            <ac:spMk id="204" creationId="{2483B080-5A2E-4F13-B9A0-DEDEF8079900}"/>
          </ac:spMkLst>
        </pc:spChg>
        <pc:spChg chg="mod topLvl">
          <ac:chgData name="Aurelien Domont" userId="6da7715ce44349b3" providerId="LiveId" clId="{AFF9B0D5-CA7D-40FB-964A-23276295459E}" dt="2021-07-06T05:11:34.229" v="6642" actId="1036"/>
          <ac:spMkLst>
            <pc:docMk/>
            <pc:sldMk cId="1252826214" sldId="1711"/>
            <ac:spMk id="205" creationId="{7F1B88CC-77FA-4556-9E9A-EBE75920496C}"/>
          </ac:spMkLst>
        </pc:spChg>
        <pc:spChg chg="mod topLvl">
          <ac:chgData name="Aurelien Domont" userId="6da7715ce44349b3" providerId="LiveId" clId="{AFF9B0D5-CA7D-40FB-964A-23276295459E}" dt="2021-07-06T05:11:34.229" v="6642" actId="1036"/>
          <ac:spMkLst>
            <pc:docMk/>
            <pc:sldMk cId="1252826214" sldId="1711"/>
            <ac:spMk id="206" creationId="{003FC4C7-BA5E-490B-A4F1-1C0EFED6FB87}"/>
          </ac:spMkLst>
        </pc:spChg>
        <pc:spChg chg="mod topLvl">
          <ac:chgData name="Aurelien Domont" userId="6da7715ce44349b3" providerId="LiveId" clId="{AFF9B0D5-CA7D-40FB-964A-23276295459E}" dt="2021-07-06T05:11:34.229" v="6642" actId="1036"/>
          <ac:spMkLst>
            <pc:docMk/>
            <pc:sldMk cId="1252826214" sldId="1711"/>
            <ac:spMk id="207" creationId="{9BD2EF94-3A1F-4B1E-8B71-180E83DE23F4}"/>
          </ac:spMkLst>
        </pc:spChg>
        <pc:spChg chg="mod topLvl">
          <ac:chgData name="Aurelien Domont" userId="6da7715ce44349b3" providerId="LiveId" clId="{AFF9B0D5-CA7D-40FB-964A-23276295459E}" dt="2021-07-06T05:11:34.229" v="6642" actId="1036"/>
          <ac:spMkLst>
            <pc:docMk/>
            <pc:sldMk cId="1252826214" sldId="1711"/>
            <ac:spMk id="208" creationId="{EAEDBD41-082E-45BA-8113-5C661357A1E7}"/>
          </ac:spMkLst>
        </pc:spChg>
        <pc:spChg chg="mod topLvl">
          <ac:chgData name="Aurelien Domont" userId="6da7715ce44349b3" providerId="LiveId" clId="{AFF9B0D5-CA7D-40FB-964A-23276295459E}" dt="2021-07-06T05:11:34.229" v="6642" actId="1036"/>
          <ac:spMkLst>
            <pc:docMk/>
            <pc:sldMk cId="1252826214" sldId="1711"/>
            <ac:spMk id="209" creationId="{BC07ED43-92C0-4463-BE91-75D378245AC3}"/>
          </ac:spMkLst>
        </pc:spChg>
        <pc:spChg chg="mod topLvl">
          <ac:chgData name="Aurelien Domont" userId="6da7715ce44349b3" providerId="LiveId" clId="{AFF9B0D5-CA7D-40FB-964A-23276295459E}" dt="2021-07-06T05:11:34.229" v="6642" actId="1036"/>
          <ac:spMkLst>
            <pc:docMk/>
            <pc:sldMk cId="1252826214" sldId="1711"/>
            <ac:spMk id="210" creationId="{193E87B5-9C63-4375-B210-A66A1AFCCF6F}"/>
          </ac:spMkLst>
        </pc:spChg>
        <pc:spChg chg="mod topLvl">
          <ac:chgData name="Aurelien Domont" userId="6da7715ce44349b3" providerId="LiveId" clId="{AFF9B0D5-CA7D-40FB-964A-23276295459E}" dt="2021-07-06T05:11:34.229" v="6642" actId="1036"/>
          <ac:spMkLst>
            <pc:docMk/>
            <pc:sldMk cId="1252826214" sldId="1711"/>
            <ac:spMk id="211" creationId="{793AFA17-087D-46AE-869B-60FF321E751B}"/>
          </ac:spMkLst>
        </pc:spChg>
        <pc:spChg chg="mod topLvl">
          <ac:chgData name="Aurelien Domont" userId="6da7715ce44349b3" providerId="LiveId" clId="{AFF9B0D5-CA7D-40FB-964A-23276295459E}" dt="2021-07-06T05:11:34.229" v="6642" actId="1036"/>
          <ac:spMkLst>
            <pc:docMk/>
            <pc:sldMk cId="1252826214" sldId="1711"/>
            <ac:spMk id="212" creationId="{84307B0E-2C20-4123-9CAA-1D24370C93CD}"/>
          </ac:spMkLst>
        </pc:spChg>
        <pc:spChg chg="mod topLvl">
          <ac:chgData name="Aurelien Domont" userId="6da7715ce44349b3" providerId="LiveId" clId="{AFF9B0D5-CA7D-40FB-964A-23276295459E}" dt="2021-07-06T05:11:34.229" v="6642" actId="1036"/>
          <ac:spMkLst>
            <pc:docMk/>
            <pc:sldMk cId="1252826214" sldId="1711"/>
            <ac:spMk id="213" creationId="{77A30CF6-910C-42F4-A2AF-820286EDA0EC}"/>
          </ac:spMkLst>
        </pc:spChg>
        <pc:spChg chg="mod topLvl">
          <ac:chgData name="Aurelien Domont" userId="6da7715ce44349b3" providerId="LiveId" clId="{AFF9B0D5-CA7D-40FB-964A-23276295459E}" dt="2021-07-06T05:11:34.229" v="6642" actId="1036"/>
          <ac:spMkLst>
            <pc:docMk/>
            <pc:sldMk cId="1252826214" sldId="1711"/>
            <ac:spMk id="214" creationId="{3F674640-2E1D-4DFF-B01D-3A3488930238}"/>
          </ac:spMkLst>
        </pc:spChg>
        <pc:spChg chg="mod topLvl">
          <ac:chgData name="Aurelien Domont" userId="6da7715ce44349b3" providerId="LiveId" clId="{AFF9B0D5-CA7D-40FB-964A-23276295459E}" dt="2021-07-06T05:11:34.229" v="6642" actId="1036"/>
          <ac:spMkLst>
            <pc:docMk/>
            <pc:sldMk cId="1252826214" sldId="1711"/>
            <ac:spMk id="215" creationId="{85D81B0A-8416-497A-99DC-67F35F0AD3D9}"/>
          </ac:spMkLst>
        </pc:spChg>
        <pc:spChg chg="mod topLvl">
          <ac:chgData name="Aurelien Domont" userId="6da7715ce44349b3" providerId="LiveId" clId="{AFF9B0D5-CA7D-40FB-964A-23276295459E}" dt="2021-07-06T05:11:34.229" v="6642" actId="1036"/>
          <ac:spMkLst>
            <pc:docMk/>
            <pc:sldMk cId="1252826214" sldId="1711"/>
            <ac:spMk id="216" creationId="{C18ABAB0-2722-4783-84A2-5634D23EAA75}"/>
          </ac:spMkLst>
        </pc:spChg>
        <pc:spChg chg="mod topLvl">
          <ac:chgData name="Aurelien Domont" userId="6da7715ce44349b3" providerId="LiveId" clId="{AFF9B0D5-CA7D-40FB-964A-23276295459E}" dt="2021-07-06T05:11:34.229" v="6642" actId="1036"/>
          <ac:spMkLst>
            <pc:docMk/>
            <pc:sldMk cId="1252826214" sldId="1711"/>
            <ac:spMk id="217" creationId="{EFCB03DB-03D6-4A91-8CBD-792B0C10DE69}"/>
          </ac:spMkLst>
        </pc:spChg>
        <pc:spChg chg="mod topLvl">
          <ac:chgData name="Aurelien Domont" userId="6da7715ce44349b3" providerId="LiveId" clId="{AFF9B0D5-CA7D-40FB-964A-23276295459E}" dt="2021-07-06T05:11:34.229" v="6642" actId="1036"/>
          <ac:spMkLst>
            <pc:docMk/>
            <pc:sldMk cId="1252826214" sldId="1711"/>
            <ac:spMk id="218" creationId="{C59BD9FB-1B30-423F-B1D7-751A58E65F2D}"/>
          </ac:spMkLst>
        </pc:spChg>
        <pc:spChg chg="mod topLvl">
          <ac:chgData name="Aurelien Domont" userId="6da7715ce44349b3" providerId="LiveId" clId="{AFF9B0D5-CA7D-40FB-964A-23276295459E}" dt="2021-07-06T05:11:34.229" v="6642" actId="1036"/>
          <ac:spMkLst>
            <pc:docMk/>
            <pc:sldMk cId="1252826214" sldId="1711"/>
            <ac:spMk id="219" creationId="{EFA08614-7E06-47B4-99AF-2865D4F47977}"/>
          </ac:spMkLst>
        </pc:spChg>
        <pc:spChg chg="mod topLvl">
          <ac:chgData name="Aurelien Domont" userId="6da7715ce44349b3" providerId="LiveId" clId="{AFF9B0D5-CA7D-40FB-964A-23276295459E}" dt="2021-07-06T05:11:34.229" v="6642" actId="1036"/>
          <ac:spMkLst>
            <pc:docMk/>
            <pc:sldMk cId="1252826214" sldId="1711"/>
            <ac:spMk id="220" creationId="{444A65E3-4F6F-4AFB-87EC-33F20023A968}"/>
          </ac:spMkLst>
        </pc:spChg>
        <pc:spChg chg="mod topLvl">
          <ac:chgData name="Aurelien Domont" userId="6da7715ce44349b3" providerId="LiveId" clId="{AFF9B0D5-CA7D-40FB-964A-23276295459E}" dt="2021-07-06T05:11:34.229" v="6642" actId="1036"/>
          <ac:spMkLst>
            <pc:docMk/>
            <pc:sldMk cId="1252826214" sldId="1711"/>
            <ac:spMk id="221" creationId="{E4377BC2-14F9-4CD6-A14C-C44A4E3AA617}"/>
          </ac:spMkLst>
        </pc:spChg>
        <pc:spChg chg="mod topLvl">
          <ac:chgData name="Aurelien Domont" userId="6da7715ce44349b3" providerId="LiveId" clId="{AFF9B0D5-CA7D-40FB-964A-23276295459E}" dt="2021-07-06T05:11:34.229" v="6642" actId="1036"/>
          <ac:spMkLst>
            <pc:docMk/>
            <pc:sldMk cId="1252826214" sldId="1711"/>
            <ac:spMk id="222" creationId="{5CCF650A-0F72-4561-8E58-2343C3DBFEBE}"/>
          </ac:spMkLst>
        </pc:spChg>
        <pc:spChg chg="mod topLvl">
          <ac:chgData name="Aurelien Domont" userId="6da7715ce44349b3" providerId="LiveId" clId="{AFF9B0D5-CA7D-40FB-964A-23276295459E}" dt="2021-07-06T05:11:34.229" v="6642" actId="1036"/>
          <ac:spMkLst>
            <pc:docMk/>
            <pc:sldMk cId="1252826214" sldId="1711"/>
            <ac:spMk id="223" creationId="{63CA195B-A87C-444E-8191-3ECC991AB875}"/>
          </ac:spMkLst>
        </pc:spChg>
        <pc:spChg chg="mod topLvl">
          <ac:chgData name="Aurelien Domont" userId="6da7715ce44349b3" providerId="LiveId" clId="{AFF9B0D5-CA7D-40FB-964A-23276295459E}" dt="2021-07-06T05:11:34.229" v="6642" actId="1036"/>
          <ac:spMkLst>
            <pc:docMk/>
            <pc:sldMk cId="1252826214" sldId="1711"/>
            <ac:spMk id="224" creationId="{1BF71304-587F-4508-A321-52BEFDF494DC}"/>
          </ac:spMkLst>
        </pc:spChg>
        <pc:spChg chg="mod topLvl">
          <ac:chgData name="Aurelien Domont" userId="6da7715ce44349b3" providerId="LiveId" clId="{AFF9B0D5-CA7D-40FB-964A-23276295459E}" dt="2021-07-06T05:11:34.229" v="6642" actId="1036"/>
          <ac:spMkLst>
            <pc:docMk/>
            <pc:sldMk cId="1252826214" sldId="1711"/>
            <ac:spMk id="225" creationId="{D74CE2DA-D7AA-4661-A52B-C9D5B3290A9A}"/>
          </ac:spMkLst>
        </pc:spChg>
        <pc:spChg chg="mod topLvl">
          <ac:chgData name="Aurelien Domont" userId="6da7715ce44349b3" providerId="LiveId" clId="{AFF9B0D5-CA7D-40FB-964A-23276295459E}" dt="2021-07-06T05:11:34.229" v="6642" actId="1036"/>
          <ac:spMkLst>
            <pc:docMk/>
            <pc:sldMk cId="1252826214" sldId="1711"/>
            <ac:spMk id="226" creationId="{551F1F9D-E21B-4640-B8C7-C60950AB302D}"/>
          </ac:spMkLst>
        </pc:spChg>
        <pc:spChg chg="mod topLvl">
          <ac:chgData name="Aurelien Domont" userId="6da7715ce44349b3" providerId="LiveId" clId="{AFF9B0D5-CA7D-40FB-964A-23276295459E}" dt="2021-07-06T05:11:34.229" v="6642" actId="1036"/>
          <ac:spMkLst>
            <pc:docMk/>
            <pc:sldMk cId="1252826214" sldId="1711"/>
            <ac:spMk id="227" creationId="{936ED875-F3AB-4A18-8E6A-F9C7C270CF02}"/>
          </ac:spMkLst>
        </pc:spChg>
        <pc:spChg chg="mod topLvl">
          <ac:chgData name="Aurelien Domont" userId="6da7715ce44349b3" providerId="LiveId" clId="{AFF9B0D5-CA7D-40FB-964A-23276295459E}" dt="2021-07-06T05:11:34.229" v="6642" actId="1036"/>
          <ac:spMkLst>
            <pc:docMk/>
            <pc:sldMk cId="1252826214" sldId="1711"/>
            <ac:spMk id="228" creationId="{430A0786-7BD9-46DA-A610-519693964F01}"/>
          </ac:spMkLst>
        </pc:spChg>
        <pc:spChg chg="mod topLvl">
          <ac:chgData name="Aurelien Domont" userId="6da7715ce44349b3" providerId="LiveId" clId="{AFF9B0D5-CA7D-40FB-964A-23276295459E}" dt="2021-07-06T05:11:34.229" v="6642" actId="1036"/>
          <ac:spMkLst>
            <pc:docMk/>
            <pc:sldMk cId="1252826214" sldId="1711"/>
            <ac:spMk id="229" creationId="{DBAC6905-1A25-4E2C-90D6-5580DDEDDB85}"/>
          </ac:spMkLst>
        </pc:spChg>
        <pc:spChg chg="mod topLvl">
          <ac:chgData name="Aurelien Domont" userId="6da7715ce44349b3" providerId="LiveId" clId="{AFF9B0D5-CA7D-40FB-964A-23276295459E}" dt="2021-07-06T05:11:34.229" v="6642" actId="1036"/>
          <ac:spMkLst>
            <pc:docMk/>
            <pc:sldMk cId="1252826214" sldId="1711"/>
            <ac:spMk id="230" creationId="{63E38F12-2AAD-4FA1-88BA-4655424B7ABA}"/>
          </ac:spMkLst>
        </pc:spChg>
        <pc:spChg chg="mod topLvl">
          <ac:chgData name="Aurelien Domont" userId="6da7715ce44349b3" providerId="LiveId" clId="{AFF9B0D5-CA7D-40FB-964A-23276295459E}" dt="2021-07-06T05:11:34.229" v="6642" actId="1036"/>
          <ac:spMkLst>
            <pc:docMk/>
            <pc:sldMk cId="1252826214" sldId="1711"/>
            <ac:spMk id="231" creationId="{4BD50ED2-1085-45E9-834B-CC17883DC947}"/>
          </ac:spMkLst>
        </pc:spChg>
        <pc:spChg chg="mod topLvl">
          <ac:chgData name="Aurelien Domont" userId="6da7715ce44349b3" providerId="LiveId" clId="{AFF9B0D5-CA7D-40FB-964A-23276295459E}" dt="2021-07-06T05:11:34.229" v="6642" actId="1036"/>
          <ac:spMkLst>
            <pc:docMk/>
            <pc:sldMk cId="1252826214" sldId="1711"/>
            <ac:spMk id="232" creationId="{6E77A66E-2021-43C9-8F5F-B91B3DF1E257}"/>
          </ac:spMkLst>
        </pc:spChg>
        <pc:spChg chg="mod topLvl">
          <ac:chgData name="Aurelien Domont" userId="6da7715ce44349b3" providerId="LiveId" clId="{AFF9B0D5-CA7D-40FB-964A-23276295459E}" dt="2021-07-06T05:11:34.229" v="6642" actId="1036"/>
          <ac:spMkLst>
            <pc:docMk/>
            <pc:sldMk cId="1252826214" sldId="1711"/>
            <ac:spMk id="233" creationId="{EBD29889-D0B4-43B9-8442-B91A3B9BE83C}"/>
          </ac:spMkLst>
        </pc:spChg>
        <pc:spChg chg="mod topLvl">
          <ac:chgData name="Aurelien Domont" userId="6da7715ce44349b3" providerId="LiveId" clId="{AFF9B0D5-CA7D-40FB-964A-23276295459E}" dt="2021-07-06T05:11:34.229" v="6642" actId="1036"/>
          <ac:spMkLst>
            <pc:docMk/>
            <pc:sldMk cId="1252826214" sldId="1711"/>
            <ac:spMk id="234" creationId="{21F0D43F-287D-4CDA-B746-2C8A66A82376}"/>
          </ac:spMkLst>
        </pc:spChg>
        <pc:spChg chg="mod topLvl">
          <ac:chgData name="Aurelien Domont" userId="6da7715ce44349b3" providerId="LiveId" clId="{AFF9B0D5-CA7D-40FB-964A-23276295459E}" dt="2021-07-06T05:11:34.229" v="6642" actId="1036"/>
          <ac:spMkLst>
            <pc:docMk/>
            <pc:sldMk cId="1252826214" sldId="1711"/>
            <ac:spMk id="235" creationId="{ABF8C690-9AB9-49DF-AC8F-3A1B953C7881}"/>
          </ac:spMkLst>
        </pc:spChg>
        <pc:spChg chg="mod topLvl">
          <ac:chgData name="Aurelien Domont" userId="6da7715ce44349b3" providerId="LiveId" clId="{AFF9B0D5-CA7D-40FB-964A-23276295459E}" dt="2021-07-06T05:11:34.229" v="6642" actId="1036"/>
          <ac:spMkLst>
            <pc:docMk/>
            <pc:sldMk cId="1252826214" sldId="1711"/>
            <ac:spMk id="236" creationId="{E3F0EFE2-BC71-410C-B51D-B34F896014ED}"/>
          </ac:spMkLst>
        </pc:spChg>
        <pc:spChg chg="mod topLvl">
          <ac:chgData name="Aurelien Domont" userId="6da7715ce44349b3" providerId="LiveId" clId="{AFF9B0D5-CA7D-40FB-964A-23276295459E}" dt="2021-07-06T05:11:34.229" v="6642" actId="1036"/>
          <ac:spMkLst>
            <pc:docMk/>
            <pc:sldMk cId="1252826214" sldId="1711"/>
            <ac:spMk id="237" creationId="{54372FEB-36D5-41EF-9588-6403ECD97FEB}"/>
          </ac:spMkLst>
        </pc:spChg>
        <pc:spChg chg="mod topLvl">
          <ac:chgData name="Aurelien Domont" userId="6da7715ce44349b3" providerId="LiveId" clId="{AFF9B0D5-CA7D-40FB-964A-23276295459E}" dt="2021-07-06T05:11:34.229" v="6642" actId="1036"/>
          <ac:spMkLst>
            <pc:docMk/>
            <pc:sldMk cId="1252826214" sldId="1711"/>
            <ac:spMk id="238" creationId="{EF6C8537-8511-49E7-A9E1-0022384E5493}"/>
          </ac:spMkLst>
        </pc:spChg>
        <pc:spChg chg="mod topLvl">
          <ac:chgData name="Aurelien Domont" userId="6da7715ce44349b3" providerId="LiveId" clId="{AFF9B0D5-CA7D-40FB-964A-23276295459E}" dt="2021-07-06T05:11:34.229" v="6642" actId="1036"/>
          <ac:spMkLst>
            <pc:docMk/>
            <pc:sldMk cId="1252826214" sldId="1711"/>
            <ac:spMk id="239" creationId="{469F0A00-47B2-4DDD-BF87-88A646D345DE}"/>
          </ac:spMkLst>
        </pc:spChg>
        <pc:spChg chg="mod topLvl">
          <ac:chgData name="Aurelien Domont" userId="6da7715ce44349b3" providerId="LiveId" clId="{AFF9B0D5-CA7D-40FB-964A-23276295459E}" dt="2021-07-06T05:11:34.229" v="6642" actId="1036"/>
          <ac:spMkLst>
            <pc:docMk/>
            <pc:sldMk cId="1252826214" sldId="1711"/>
            <ac:spMk id="240" creationId="{30CB3E4B-42C8-4DF2-B739-CF227DDC8E73}"/>
          </ac:spMkLst>
        </pc:spChg>
        <pc:spChg chg="mod topLvl">
          <ac:chgData name="Aurelien Domont" userId="6da7715ce44349b3" providerId="LiveId" clId="{AFF9B0D5-CA7D-40FB-964A-23276295459E}" dt="2021-07-06T05:11:34.229" v="6642" actId="1036"/>
          <ac:spMkLst>
            <pc:docMk/>
            <pc:sldMk cId="1252826214" sldId="1711"/>
            <ac:spMk id="241" creationId="{3CFFF04C-0086-4A1E-9B0B-90F93BCE689C}"/>
          </ac:spMkLst>
        </pc:spChg>
        <pc:spChg chg="mod topLvl">
          <ac:chgData name="Aurelien Domont" userId="6da7715ce44349b3" providerId="LiveId" clId="{AFF9B0D5-CA7D-40FB-964A-23276295459E}" dt="2021-07-06T05:11:34.229" v="6642" actId="1036"/>
          <ac:spMkLst>
            <pc:docMk/>
            <pc:sldMk cId="1252826214" sldId="1711"/>
            <ac:spMk id="242" creationId="{796536A7-650A-470B-B60A-89CB4DCDAE12}"/>
          </ac:spMkLst>
        </pc:spChg>
        <pc:spChg chg="mod topLvl">
          <ac:chgData name="Aurelien Domont" userId="6da7715ce44349b3" providerId="LiveId" clId="{AFF9B0D5-CA7D-40FB-964A-23276295459E}" dt="2021-07-06T05:11:34.229" v="6642" actId="1036"/>
          <ac:spMkLst>
            <pc:docMk/>
            <pc:sldMk cId="1252826214" sldId="1711"/>
            <ac:spMk id="243" creationId="{28B07DF0-DD4F-4107-9049-E64C336BD23E}"/>
          </ac:spMkLst>
        </pc:spChg>
        <pc:spChg chg="mod topLvl">
          <ac:chgData name="Aurelien Domont" userId="6da7715ce44349b3" providerId="LiveId" clId="{AFF9B0D5-CA7D-40FB-964A-23276295459E}" dt="2021-07-06T05:11:34.229" v="6642" actId="1036"/>
          <ac:spMkLst>
            <pc:docMk/>
            <pc:sldMk cId="1252826214" sldId="1711"/>
            <ac:spMk id="244" creationId="{6222FCC7-32FF-4D0B-84C0-6C5967B837B7}"/>
          </ac:spMkLst>
        </pc:spChg>
        <pc:spChg chg="mod topLvl">
          <ac:chgData name="Aurelien Domont" userId="6da7715ce44349b3" providerId="LiveId" clId="{AFF9B0D5-CA7D-40FB-964A-23276295459E}" dt="2021-07-06T05:11:34.229" v="6642" actId="1036"/>
          <ac:spMkLst>
            <pc:docMk/>
            <pc:sldMk cId="1252826214" sldId="1711"/>
            <ac:spMk id="245" creationId="{E86832F6-2D52-4754-BB9D-E56F6A7E8713}"/>
          </ac:spMkLst>
        </pc:spChg>
        <pc:spChg chg="mod topLvl">
          <ac:chgData name="Aurelien Domont" userId="6da7715ce44349b3" providerId="LiveId" clId="{AFF9B0D5-CA7D-40FB-964A-23276295459E}" dt="2021-07-06T05:11:34.229" v="6642" actId="1036"/>
          <ac:spMkLst>
            <pc:docMk/>
            <pc:sldMk cId="1252826214" sldId="1711"/>
            <ac:spMk id="246" creationId="{1D89F624-F74E-456A-AF09-7B4A51BE1AA0}"/>
          </ac:spMkLst>
        </pc:spChg>
        <pc:spChg chg="mod topLvl">
          <ac:chgData name="Aurelien Domont" userId="6da7715ce44349b3" providerId="LiveId" clId="{AFF9B0D5-CA7D-40FB-964A-23276295459E}" dt="2021-07-06T05:11:34.229" v="6642" actId="1036"/>
          <ac:spMkLst>
            <pc:docMk/>
            <pc:sldMk cId="1252826214" sldId="1711"/>
            <ac:spMk id="247" creationId="{4F937EC5-8BD0-4FB5-A35C-E02B89B93606}"/>
          </ac:spMkLst>
        </pc:spChg>
        <pc:spChg chg="mod">
          <ac:chgData name="Aurelien Domont" userId="6da7715ce44349b3" providerId="LiveId" clId="{AFF9B0D5-CA7D-40FB-964A-23276295459E}" dt="2021-07-06T05:09:13.215" v="6601" actId="207"/>
          <ac:spMkLst>
            <pc:docMk/>
            <pc:sldMk cId="1252826214" sldId="1711"/>
            <ac:spMk id="248" creationId="{FB4D28D9-4023-4A47-99FC-62C7EC792373}"/>
          </ac:spMkLst>
        </pc:spChg>
        <pc:spChg chg="mod">
          <ac:chgData name="Aurelien Domont" userId="6da7715ce44349b3" providerId="LiveId" clId="{AFF9B0D5-CA7D-40FB-964A-23276295459E}" dt="2021-07-06T05:09:13.215" v="6601" actId="207"/>
          <ac:spMkLst>
            <pc:docMk/>
            <pc:sldMk cId="1252826214" sldId="1711"/>
            <ac:spMk id="249" creationId="{B1394C94-FF2C-4788-8280-D38679147605}"/>
          </ac:spMkLst>
        </pc:spChg>
        <pc:spChg chg="mod">
          <ac:chgData name="Aurelien Domont" userId="6da7715ce44349b3" providerId="LiveId" clId="{AFF9B0D5-CA7D-40FB-964A-23276295459E}" dt="2021-07-06T05:09:13.215" v="6601" actId="207"/>
          <ac:spMkLst>
            <pc:docMk/>
            <pc:sldMk cId="1252826214" sldId="1711"/>
            <ac:spMk id="250" creationId="{816DF731-9397-45CC-9DE6-BB914CD9AA52}"/>
          </ac:spMkLst>
        </pc:spChg>
        <pc:spChg chg="mod">
          <ac:chgData name="Aurelien Domont" userId="6da7715ce44349b3" providerId="LiveId" clId="{AFF9B0D5-CA7D-40FB-964A-23276295459E}" dt="2021-07-06T05:09:13.215" v="6601" actId="207"/>
          <ac:spMkLst>
            <pc:docMk/>
            <pc:sldMk cId="1252826214" sldId="1711"/>
            <ac:spMk id="251" creationId="{E5AA8E9A-B1B5-4B37-8D2F-1CEA3595297D}"/>
          </ac:spMkLst>
        </pc:spChg>
        <pc:spChg chg="mod">
          <ac:chgData name="Aurelien Domont" userId="6da7715ce44349b3" providerId="LiveId" clId="{AFF9B0D5-CA7D-40FB-964A-23276295459E}" dt="2021-07-06T05:09:13.215" v="6601" actId="207"/>
          <ac:spMkLst>
            <pc:docMk/>
            <pc:sldMk cId="1252826214" sldId="1711"/>
            <ac:spMk id="252" creationId="{0F32216C-9D5C-4ABD-BA85-DCF960936CA7}"/>
          </ac:spMkLst>
        </pc:spChg>
        <pc:spChg chg="mod">
          <ac:chgData name="Aurelien Domont" userId="6da7715ce44349b3" providerId="LiveId" clId="{AFF9B0D5-CA7D-40FB-964A-23276295459E}" dt="2021-07-06T05:09:13.215" v="6601" actId="207"/>
          <ac:spMkLst>
            <pc:docMk/>
            <pc:sldMk cId="1252826214" sldId="1711"/>
            <ac:spMk id="253" creationId="{BB015216-6946-4F91-A441-9A7C82F9FFDE}"/>
          </ac:spMkLst>
        </pc:spChg>
        <pc:spChg chg="mod">
          <ac:chgData name="Aurelien Domont" userId="6da7715ce44349b3" providerId="LiveId" clId="{AFF9B0D5-CA7D-40FB-964A-23276295459E}" dt="2021-07-06T05:09:13.215" v="6601" actId="207"/>
          <ac:spMkLst>
            <pc:docMk/>
            <pc:sldMk cId="1252826214" sldId="1711"/>
            <ac:spMk id="254" creationId="{6D16BABE-42DC-4409-AD87-E6921DA14DCC}"/>
          </ac:spMkLst>
        </pc:spChg>
        <pc:spChg chg="mod">
          <ac:chgData name="Aurelien Domont" userId="6da7715ce44349b3" providerId="LiveId" clId="{AFF9B0D5-CA7D-40FB-964A-23276295459E}" dt="2021-07-06T05:09:13.215" v="6601" actId="207"/>
          <ac:spMkLst>
            <pc:docMk/>
            <pc:sldMk cId="1252826214" sldId="1711"/>
            <ac:spMk id="255" creationId="{884A3FEA-302A-4650-B628-684E3877AEB4}"/>
          </ac:spMkLst>
        </pc:spChg>
        <pc:spChg chg="mod">
          <ac:chgData name="Aurelien Domont" userId="6da7715ce44349b3" providerId="LiveId" clId="{AFF9B0D5-CA7D-40FB-964A-23276295459E}" dt="2021-07-06T05:09:13.215" v="6601" actId="207"/>
          <ac:spMkLst>
            <pc:docMk/>
            <pc:sldMk cId="1252826214" sldId="1711"/>
            <ac:spMk id="256" creationId="{4AC67763-A7E7-44D7-BB4F-F145A5B5E7CC}"/>
          </ac:spMkLst>
        </pc:spChg>
        <pc:spChg chg="mod">
          <ac:chgData name="Aurelien Domont" userId="6da7715ce44349b3" providerId="LiveId" clId="{AFF9B0D5-CA7D-40FB-964A-23276295459E}" dt="2021-07-06T05:09:13.215" v="6601" actId="207"/>
          <ac:spMkLst>
            <pc:docMk/>
            <pc:sldMk cId="1252826214" sldId="1711"/>
            <ac:spMk id="257" creationId="{1313848B-8C14-4024-BD20-CE60618ECDBE}"/>
          </ac:spMkLst>
        </pc:spChg>
        <pc:spChg chg="mod">
          <ac:chgData name="Aurelien Domont" userId="6da7715ce44349b3" providerId="LiveId" clId="{AFF9B0D5-CA7D-40FB-964A-23276295459E}" dt="2021-07-06T05:09:13.215" v="6601" actId="207"/>
          <ac:spMkLst>
            <pc:docMk/>
            <pc:sldMk cId="1252826214" sldId="1711"/>
            <ac:spMk id="258" creationId="{BD7C503B-09D3-483C-BDBC-F26FD18A18F4}"/>
          </ac:spMkLst>
        </pc:spChg>
        <pc:spChg chg="mod">
          <ac:chgData name="Aurelien Domont" userId="6da7715ce44349b3" providerId="LiveId" clId="{AFF9B0D5-CA7D-40FB-964A-23276295459E}" dt="2021-07-06T05:09:13.215" v="6601" actId="207"/>
          <ac:spMkLst>
            <pc:docMk/>
            <pc:sldMk cId="1252826214" sldId="1711"/>
            <ac:spMk id="259" creationId="{33404832-32D5-4822-ABB4-AD4E015DE594}"/>
          </ac:spMkLst>
        </pc:spChg>
        <pc:spChg chg="mod">
          <ac:chgData name="Aurelien Domont" userId="6da7715ce44349b3" providerId="LiveId" clId="{AFF9B0D5-CA7D-40FB-964A-23276295459E}" dt="2021-07-06T05:09:13.215" v="6601" actId="207"/>
          <ac:spMkLst>
            <pc:docMk/>
            <pc:sldMk cId="1252826214" sldId="1711"/>
            <ac:spMk id="260" creationId="{848A4F6B-0C2A-4B12-BC5C-BFB1B79291F2}"/>
          </ac:spMkLst>
        </pc:spChg>
        <pc:spChg chg="mod">
          <ac:chgData name="Aurelien Domont" userId="6da7715ce44349b3" providerId="LiveId" clId="{AFF9B0D5-CA7D-40FB-964A-23276295459E}" dt="2021-07-06T05:09:13.215" v="6601" actId="207"/>
          <ac:spMkLst>
            <pc:docMk/>
            <pc:sldMk cId="1252826214" sldId="1711"/>
            <ac:spMk id="261" creationId="{3B6A42B4-0FA5-4494-8935-4A0A8D921406}"/>
          </ac:spMkLst>
        </pc:spChg>
        <pc:spChg chg="mod">
          <ac:chgData name="Aurelien Domont" userId="6da7715ce44349b3" providerId="LiveId" clId="{AFF9B0D5-CA7D-40FB-964A-23276295459E}" dt="2021-07-06T05:09:13.215" v="6601" actId="207"/>
          <ac:spMkLst>
            <pc:docMk/>
            <pc:sldMk cId="1252826214" sldId="1711"/>
            <ac:spMk id="262" creationId="{C21EF6C5-637A-41A6-999A-A123A9FF536F}"/>
          </ac:spMkLst>
        </pc:spChg>
        <pc:spChg chg="mod">
          <ac:chgData name="Aurelien Domont" userId="6da7715ce44349b3" providerId="LiveId" clId="{AFF9B0D5-CA7D-40FB-964A-23276295459E}" dt="2021-07-06T05:09:13.215" v="6601" actId="207"/>
          <ac:spMkLst>
            <pc:docMk/>
            <pc:sldMk cId="1252826214" sldId="1711"/>
            <ac:spMk id="263" creationId="{FF0D9FE9-6439-4CB6-927A-C8BD823405CF}"/>
          </ac:spMkLst>
        </pc:spChg>
        <pc:spChg chg="mod">
          <ac:chgData name="Aurelien Domont" userId="6da7715ce44349b3" providerId="LiveId" clId="{AFF9B0D5-CA7D-40FB-964A-23276295459E}" dt="2021-07-06T05:09:13.215" v="6601" actId="207"/>
          <ac:spMkLst>
            <pc:docMk/>
            <pc:sldMk cId="1252826214" sldId="1711"/>
            <ac:spMk id="264" creationId="{D296E5B0-88FC-4606-80CE-86DB4D92B321}"/>
          </ac:spMkLst>
        </pc:spChg>
        <pc:spChg chg="mod">
          <ac:chgData name="Aurelien Domont" userId="6da7715ce44349b3" providerId="LiveId" clId="{AFF9B0D5-CA7D-40FB-964A-23276295459E}" dt="2021-07-06T05:09:13.215" v="6601" actId="207"/>
          <ac:spMkLst>
            <pc:docMk/>
            <pc:sldMk cId="1252826214" sldId="1711"/>
            <ac:spMk id="265" creationId="{1C37C82C-03CE-471E-B718-979BA7E7C1F3}"/>
          </ac:spMkLst>
        </pc:spChg>
        <pc:spChg chg="mod">
          <ac:chgData name="Aurelien Domont" userId="6da7715ce44349b3" providerId="LiveId" clId="{AFF9B0D5-CA7D-40FB-964A-23276295459E}" dt="2021-07-06T05:08:56.517" v="6599" actId="207"/>
          <ac:spMkLst>
            <pc:docMk/>
            <pc:sldMk cId="1252826214" sldId="1711"/>
            <ac:spMk id="266" creationId="{FA9BAED0-43F7-4E99-8B88-399CA30CA33F}"/>
          </ac:spMkLst>
        </pc:spChg>
        <pc:spChg chg="mod">
          <ac:chgData name="Aurelien Domont" userId="6da7715ce44349b3" providerId="LiveId" clId="{AFF9B0D5-CA7D-40FB-964A-23276295459E}" dt="2021-07-06T05:08:56.517" v="6599" actId="207"/>
          <ac:spMkLst>
            <pc:docMk/>
            <pc:sldMk cId="1252826214" sldId="1711"/>
            <ac:spMk id="267" creationId="{9454F253-2A59-4A63-ACAF-CC2D0548B1FD}"/>
          </ac:spMkLst>
        </pc:spChg>
        <pc:spChg chg="mod">
          <ac:chgData name="Aurelien Domont" userId="6da7715ce44349b3" providerId="LiveId" clId="{AFF9B0D5-CA7D-40FB-964A-23276295459E}" dt="2021-07-06T05:08:56.517" v="6599" actId="207"/>
          <ac:spMkLst>
            <pc:docMk/>
            <pc:sldMk cId="1252826214" sldId="1711"/>
            <ac:spMk id="268" creationId="{BC2F61F0-0972-40B7-9276-EC3C84E67EEC}"/>
          </ac:spMkLst>
        </pc:spChg>
        <pc:spChg chg="mod">
          <ac:chgData name="Aurelien Domont" userId="6da7715ce44349b3" providerId="LiveId" clId="{AFF9B0D5-CA7D-40FB-964A-23276295459E}" dt="2021-07-06T05:08:56.517" v="6599" actId="207"/>
          <ac:spMkLst>
            <pc:docMk/>
            <pc:sldMk cId="1252826214" sldId="1711"/>
            <ac:spMk id="269" creationId="{B1E799A7-A53F-4DD0-A331-B920C5631522}"/>
          </ac:spMkLst>
        </pc:spChg>
        <pc:spChg chg="mod">
          <ac:chgData name="Aurelien Domont" userId="6da7715ce44349b3" providerId="LiveId" clId="{AFF9B0D5-CA7D-40FB-964A-23276295459E}" dt="2021-07-06T05:08:56.517" v="6599" actId="207"/>
          <ac:spMkLst>
            <pc:docMk/>
            <pc:sldMk cId="1252826214" sldId="1711"/>
            <ac:spMk id="270" creationId="{3BCCB7F3-0A69-4735-8804-EA1993676A85}"/>
          </ac:spMkLst>
        </pc:spChg>
        <pc:spChg chg="mod">
          <ac:chgData name="Aurelien Domont" userId="6da7715ce44349b3" providerId="LiveId" clId="{AFF9B0D5-CA7D-40FB-964A-23276295459E}" dt="2021-07-06T05:08:56.517" v="6599" actId="207"/>
          <ac:spMkLst>
            <pc:docMk/>
            <pc:sldMk cId="1252826214" sldId="1711"/>
            <ac:spMk id="271" creationId="{5E8B5FE5-FAF9-4831-92A3-85C56F6B10BA}"/>
          </ac:spMkLst>
        </pc:spChg>
        <pc:spChg chg="mod">
          <ac:chgData name="Aurelien Domont" userId="6da7715ce44349b3" providerId="LiveId" clId="{AFF9B0D5-CA7D-40FB-964A-23276295459E}" dt="2021-07-06T05:08:56.517" v="6599" actId="207"/>
          <ac:spMkLst>
            <pc:docMk/>
            <pc:sldMk cId="1252826214" sldId="1711"/>
            <ac:spMk id="272" creationId="{37313F0F-7032-46C5-AB40-4833F09656C9}"/>
          </ac:spMkLst>
        </pc:spChg>
        <pc:spChg chg="mod">
          <ac:chgData name="Aurelien Domont" userId="6da7715ce44349b3" providerId="LiveId" clId="{AFF9B0D5-CA7D-40FB-964A-23276295459E}" dt="2021-07-06T05:08:56.517" v="6599" actId="207"/>
          <ac:spMkLst>
            <pc:docMk/>
            <pc:sldMk cId="1252826214" sldId="1711"/>
            <ac:spMk id="273" creationId="{6E3F9E2E-887E-4711-8692-BB936FDF937E}"/>
          </ac:spMkLst>
        </pc:spChg>
        <pc:spChg chg="mod">
          <ac:chgData name="Aurelien Domont" userId="6da7715ce44349b3" providerId="LiveId" clId="{AFF9B0D5-CA7D-40FB-964A-23276295459E}" dt="2021-07-06T05:08:56.517" v="6599" actId="207"/>
          <ac:spMkLst>
            <pc:docMk/>
            <pc:sldMk cId="1252826214" sldId="1711"/>
            <ac:spMk id="274" creationId="{90E3737C-0897-45B0-80D4-8986F7FC090B}"/>
          </ac:spMkLst>
        </pc:spChg>
        <pc:spChg chg="mod">
          <ac:chgData name="Aurelien Domont" userId="6da7715ce44349b3" providerId="LiveId" clId="{AFF9B0D5-CA7D-40FB-964A-23276295459E}" dt="2021-07-06T05:08:56.517" v="6599" actId="207"/>
          <ac:spMkLst>
            <pc:docMk/>
            <pc:sldMk cId="1252826214" sldId="1711"/>
            <ac:spMk id="275" creationId="{AAA97107-21AF-4370-995C-0E31C43B175B}"/>
          </ac:spMkLst>
        </pc:spChg>
        <pc:spChg chg="mod">
          <ac:chgData name="Aurelien Domont" userId="6da7715ce44349b3" providerId="LiveId" clId="{AFF9B0D5-CA7D-40FB-964A-23276295459E}" dt="2021-07-06T05:08:56.517" v="6599" actId="207"/>
          <ac:spMkLst>
            <pc:docMk/>
            <pc:sldMk cId="1252826214" sldId="1711"/>
            <ac:spMk id="276" creationId="{28698661-DF5F-4315-8BCF-342C6DAABF32}"/>
          </ac:spMkLst>
        </pc:spChg>
        <pc:spChg chg="mod">
          <ac:chgData name="Aurelien Domont" userId="6da7715ce44349b3" providerId="LiveId" clId="{AFF9B0D5-CA7D-40FB-964A-23276295459E}" dt="2021-07-06T05:09:13.215" v="6601" actId="207"/>
          <ac:spMkLst>
            <pc:docMk/>
            <pc:sldMk cId="1252826214" sldId="1711"/>
            <ac:spMk id="277" creationId="{A8A5EE46-DA47-48F6-864D-98B8159A52FC}"/>
          </ac:spMkLst>
        </pc:spChg>
        <pc:spChg chg="mod">
          <ac:chgData name="Aurelien Domont" userId="6da7715ce44349b3" providerId="LiveId" clId="{AFF9B0D5-CA7D-40FB-964A-23276295459E}" dt="2021-07-06T05:09:13.215" v="6601" actId="207"/>
          <ac:spMkLst>
            <pc:docMk/>
            <pc:sldMk cId="1252826214" sldId="1711"/>
            <ac:spMk id="278" creationId="{76BA38E6-1527-4FB9-80F3-E9B24A94F66A}"/>
          </ac:spMkLst>
        </pc:spChg>
        <pc:spChg chg="mod">
          <ac:chgData name="Aurelien Domont" userId="6da7715ce44349b3" providerId="LiveId" clId="{AFF9B0D5-CA7D-40FB-964A-23276295459E}" dt="2021-07-06T05:09:13.215" v="6601" actId="207"/>
          <ac:spMkLst>
            <pc:docMk/>
            <pc:sldMk cId="1252826214" sldId="1711"/>
            <ac:spMk id="279" creationId="{F381E2CA-1129-48CE-9073-C55B7F5C8268}"/>
          </ac:spMkLst>
        </pc:spChg>
        <pc:spChg chg="mod">
          <ac:chgData name="Aurelien Domont" userId="6da7715ce44349b3" providerId="LiveId" clId="{AFF9B0D5-CA7D-40FB-964A-23276295459E}" dt="2021-07-06T05:09:13.215" v="6601" actId="207"/>
          <ac:spMkLst>
            <pc:docMk/>
            <pc:sldMk cId="1252826214" sldId="1711"/>
            <ac:spMk id="280" creationId="{2DB5D79A-F4D8-46D6-96C8-80E274FB4212}"/>
          </ac:spMkLst>
        </pc:spChg>
        <pc:spChg chg="mod">
          <ac:chgData name="Aurelien Domont" userId="6da7715ce44349b3" providerId="LiveId" clId="{AFF9B0D5-CA7D-40FB-964A-23276295459E}" dt="2021-07-06T05:09:13.215" v="6601" actId="207"/>
          <ac:spMkLst>
            <pc:docMk/>
            <pc:sldMk cId="1252826214" sldId="1711"/>
            <ac:spMk id="281" creationId="{A0DCC7A6-7BB9-4CA5-844A-ACA59AF55E84}"/>
          </ac:spMkLst>
        </pc:spChg>
        <pc:spChg chg="mod">
          <ac:chgData name="Aurelien Domont" userId="6da7715ce44349b3" providerId="LiveId" clId="{AFF9B0D5-CA7D-40FB-964A-23276295459E}" dt="2021-07-06T05:09:13.215" v="6601" actId="207"/>
          <ac:spMkLst>
            <pc:docMk/>
            <pc:sldMk cId="1252826214" sldId="1711"/>
            <ac:spMk id="282" creationId="{07D96F2F-FF99-4C3A-A04F-FF217CFF8FB5}"/>
          </ac:spMkLst>
        </pc:spChg>
        <pc:spChg chg="mod">
          <ac:chgData name="Aurelien Domont" userId="6da7715ce44349b3" providerId="LiveId" clId="{AFF9B0D5-CA7D-40FB-964A-23276295459E}" dt="2021-07-06T05:09:13.215" v="6601" actId="207"/>
          <ac:spMkLst>
            <pc:docMk/>
            <pc:sldMk cId="1252826214" sldId="1711"/>
            <ac:spMk id="283" creationId="{D60A68F1-1B93-4388-871C-FEC438998E4C}"/>
          </ac:spMkLst>
        </pc:spChg>
        <pc:spChg chg="mod">
          <ac:chgData name="Aurelien Domont" userId="6da7715ce44349b3" providerId="LiveId" clId="{AFF9B0D5-CA7D-40FB-964A-23276295459E}" dt="2021-07-06T05:09:13.215" v="6601" actId="207"/>
          <ac:spMkLst>
            <pc:docMk/>
            <pc:sldMk cId="1252826214" sldId="1711"/>
            <ac:spMk id="284" creationId="{4887EB1B-0474-493C-B8FC-9AFF74407019}"/>
          </ac:spMkLst>
        </pc:spChg>
        <pc:spChg chg="mod">
          <ac:chgData name="Aurelien Domont" userId="6da7715ce44349b3" providerId="LiveId" clId="{AFF9B0D5-CA7D-40FB-964A-23276295459E}" dt="2021-07-06T05:09:13.215" v="6601" actId="207"/>
          <ac:spMkLst>
            <pc:docMk/>
            <pc:sldMk cId="1252826214" sldId="1711"/>
            <ac:spMk id="285" creationId="{29C4ADEA-05C2-47D4-8A91-E4DF7FCB00DA}"/>
          </ac:spMkLst>
        </pc:spChg>
        <pc:spChg chg="mod">
          <ac:chgData name="Aurelien Domont" userId="6da7715ce44349b3" providerId="LiveId" clId="{AFF9B0D5-CA7D-40FB-964A-23276295459E}" dt="2021-07-06T05:09:13.215" v="6601" actId="207"/>
          <ac:spMkLst>
            <pc:docMk/>
            <pc:sldMk cId="1252826214" sldId="1711"/>
            <ac:spMk id="286" creationId="{FEEA61E1-3107-42E6-A4FE-66C4C48E7580}"/>
          </ac:spMkLst>
        </pc:spChg>
        <pc:spChg chg="mod">
          <ac:chgData name="Aurelien Domont" userId="6da7715ce44349b3" providerId="LiveId" clId="{AFF9B0D5-CA7D-40FB-964A-23276295459E}" dt="2021-07-06T05:09:13.215" v="6601" actId="207"/>
          <ac:spMkLst>
            <pc:docMk/>
            <pc:sldMk cId="1252826214" sldId="1711"/>
            <ac:spMk id="287" creationId="{08D5FF95-9C8B-4A2E-90AA-F4543DAD75D6}"/>
          </ac:spMkLst>
        </pc:spChg>
        <pc:spChg chg="mod">
          <ac:chgData name="Aurelien Domont" userId="6da7715ce44349b3" providerId="LiveId" clId="{AFF9B0D5-CA7D-40FB-964A-23276295459E}" dt="2021-07-06T05:09:13.215" v="6601" actId="207"/>
          <ac:spMkLst>
            <pc:docMk/>
            <pc:sldMk cId="1252826214" sldId="1711"/>
            <ac:spMk id="288" creationId="{452598D8-71D0-4298-B70D-98F0F0DA7BA4}"/>
          </ac:spMkLst>
        </pc:spChg>
        <pc:spChg chg="mod">
          <ac:chgData name="Aurelien Domont" userId="6da7715ce44349b3" providerId="LiveId" clId="{AFF9B0D5-CA7D-40FB-964A-23276295459E}" dt="2021-07-06T05:09:13.215" v="6601" actId="207"/>
          <ac:spMkLst>
            <pc:docMk/>
            <pc:sldMk cId="1252826214" sldId="1711"/>
            <ac:spMk id="289" creationId="{AFB61959-8813-4625-8709-EEFA33F4EC0C}"/>
          </ac:spMkLst>
        </pc:spChg>
        <pc:spChg chg="mod">
          <ac:chgData name="Aurelien Domont" userId="6da7715ce44349b3" providerId="LiveId" clId="{AFF9B0D5-CA7D-40FB-964A-23276295459E}" dt="2021-07-06T05:09:13.215" v="6601" actId="207"/>
          <ac:spMkLst>
            <pc:docMk/>
            <pc:sldMk cId="1252826214" sldId="1711"/>
            <ac:spMk id="290" creationId="{A79D43BA-E0DC-4B23-8D69-7E0A9859E876}"/>
          </ac:spMkLst>
        </pc:spChg>
        <pc:spChg chg="mod">
          <ac:chgData name="Aurelien Domont" userId="6da7715ce44349b3" providerId="LiveId" clId="{AFF9B0D5-CA7D-40FB-964A-23276295459E}" dt="2021-07-06T05:09:13.215" v="6601" actId="207"/>
          <ac:spMkLst>
            <pc:docMk/>
            <pc:sldMk cId="1252826214" sldId="1711"/>
            <ac:spMk id="291" creationId="{5CE3C608-4B79-45E1-96E9-1D3DB4FF8383}"/>
          </ac:spMkLst>
        </pc:spChg>
        <pc:spChg chg="mod">
          <ac:chgData name="Aurelien Domont" userId="6da7715ce44349b3" providerId="LiveId" clId="{AFF9B0D5-CA7D-40FB-964A-23276295459E}" dt="2021-07-06T05:09:13.215" v="6601" actId="207"/>
          <ac:spMkLst>
            <pc:docMk/>
            <pc:sldMk cId="1252826214" sldId="1711"/>
            <ac:spMk id="292" creationId="{FC1B405A-ED9D-4380-ABC7-B538AE14E53B}"/>
          </ac:spMkLst>
        </pc:spChg>
        <pc:spChg chg="mod">
          <ac:chgData name="Aurelien Domont" userId="6da7715ce44349b3" providerId="LiveId" clId="{AFF9B0D5-CA7D-40FB-964A-23276295459E}" dt="2021-07-06T05:09:13.215" v="6601" actId="207"/>
          <ac:spMkLst>
            <pc:docMk/>
            <pc:sldMk cId="1252826214" sldId="1711"/>
            <ac:spMk id="293" creationId="{EF082037-E064-42AF-98F0-9FE133DC1D09}"/>
          </ac:spMkLst>
        </pc:spChg>
        <pc:spChg chg="mod">
          <ac:chgData name="Aurelien Domont" userId="6da7715ce44349b3" providerId="LiveId" clId="{AFF9B0D5-CA7D-40FB-964A-23276295459E}" dt="2021-07-06T05:09:13.215" v="6601" actId="207"/>
          <ac:spMkLst>
            <pc:docMk/>
            <pc:sldMk cId="1252826214" sldId="1711"/>
            <ac:spMk id="294" creationId="{98B4C2FA-6767-429D-A4F4-A6C69BD8FB7F}"/>
          </ac:spMkLst>
        </pc:spChg>
        <pc:spChg chg="mod">
          <ac:chgData name="Aurelien Domont" userId="6da7715ce44349b3" providerId="LiveId" clId="{AFF9B0D5-CA7D-40FB-964A-23276295459E}" dt="2021-07-06T05:09:13.215" v="6601" actId="207"/>
          <ac:spMkLst>
            <pc:docMk/>
            <pc:sldMk cId="1252826214" sldId="1711"/>
            <ac:spMk id="295" creationId="{A1A87950-40EA-4DE8-8CE6-D33F454687B7}"/>
          </ac:spMkLst>
        </pc:spChg>
        <pc:spChg chg="mod">
          <ac:chgData name="Aurelien Domont" userId="6da7715ce44349b3" providerId="LiveId" clId="{AFF9B0D5-CA7D-40FB-964A-23276295459E}" dt="2021-07-06T05:08:56.517" v="6599" actId="207"/>
          <ac:spMkLst>
            <pc:docMk/>
            <pc:sldMk cId="1252826214" sldId="1711"/>
            <ac:spMk id="296" creationId="{E616D42A-88D3-4AFA-B922-1A7BE1904149}"/>
          </ac:spMkLst>
        </pc:spChg>
        <pc:spChg chg="mod">
          <ac:chgData name="Aurelien Domont" userId="6da7715ce44349b3" providerId="LiveId" clId="{AFF9B0D5-CA7D-40FB-964A-23276295459E}" dt="2021-07-06T05:08:56.517" v="6599" actId="207"/>
          <ac:spMkLst>
            <pc:docMk/>
            <pc:sldMk cId="1252826214" sldId="1711"/>
            <ac:spMk id="297" creationId="{D168F5C9-5033-4E6F-B8D5-D77E4D9D65CA}"/>
          </ac:spMkLst>
        </pc:spChg>
        <pc:spChg chg="mod">
          <ac:chgData name="Aurelien Domont" userId="6da7715ce44349b3" providerId="LiveId" clId="{AFF9B0D5-CA7D-40FB-964A-23276295459E}" dt="2021-07-06T05:08:56.517" v="6599" actId="207"/>
          <ac:spMkLst>
            <pc:docMk/>
            <pc:sldMk cId="1252826214" sldId="1711"/>
            <ac:spMk id="298" creationId="{065D8614-4825-4AE2-A869-FCEDF9F80387}"/>
          </ac:spMkLst>
        </pc:spChg>
        <pc:spChg chg="mod">
          <ac:chgData name="Aurelien Domont" userId="6da7715ce44349b3" providerId="LiveId" clId="{AFF9B0D5-CA7D-40FB-964A-23276295459E}" dt="2021-07-06T05:08:56.517" v="6599" actId="207"/>
          <ac:spMkLst>
            <pc:docMk/>
            <pc:sldMk cId="1252826214" sldId="1711"/>
            <ac:spMk id="299" creationId="{4C7AB524-CCE6-49F7-8D9F-30746B9B9D62}"/>
          </ac:spMkLst>
        </pc:spChg>
        <pc:spChg chg="mod">
          <ac:chgData name="Aurelien Domont" userId="6da7715ce44349b3" providerId="LiveId" clId="{AFF9B0D5-CA7D-40FB-964A-23276295459E}" dt="2021-07-06T05:08:56.517" v="6599" actId="207"/>
          <ac:spMkLst>
            <pc:docMk/>
            <pc:sldMk cId="1252826214" sldId="1711"/>
            <ac:spMk id="300" creationId="{61E8DEAF-BF42-4784-BF39-C0F679BA7A86}"/>
          </ac:spMkLst>
        </pc:spChg>
        <pc:spChg chg="mod">
          <ac:chgData name="Aurelien Domont" userId="6da7715ce44349b3" providerId="LiveId" clId="{AFF9B0D5-CA7D-40FB-964A-23276295459E}" dt="2021-07-06T05:08:56.517" v="6599" actId="207"/>
          <ac:spMkLst>
            <pc:docMk/>
            <pc:sldMk cId="1252826214" sldId="1711"/>
            <ac:spMk id="301" creationId="{A5A442D7-7A6D-433C-9527-B7571BBCA649}"/>
          </ac:spMkLst>
        </pc:spChg>
        <pc:spChg chg="mod">
          <ac:chgData name="Aurelien Domont" userId="6da7715ce44349b3" providerId="LiveId" clId="{AFF9B0D5-CA7D-40FB-964A-23276295459E}" dt="2021-07-06T05:08:56.517" v="6599" actId="207"/>
          <ac:spMkLst>
            <pc:docMk/>
            <pc:sldMk cId="1252826214" sldId="1711"/>
            <ac:spMk id="302" creationId="{06E97FF2-37BE-4107-8DF4-06835090D059}"/>
          </ac:spMkLst>
        </pc:spChg>
        <pc:spChg chg="mod">
          <ac:chgData name="Aurelien Domont" userId="6da7715ce44349b3" providerId="LiveId" clId="{AFF9B0D5-CA7D-40FB-964A-23276295459E}" dt="2021-07-06T05:08:56.517" v="6599" actId="207"/>
          <ac:spMkLst>
            <pc:docMk/>
            <pc:sldMk cId="1252826214" sldId="1711"/>
            <ac:spMk id="303" creationId="{119917EB-FAF9-4A69-9834-DE5882545533}"/>
          </ac:spMkLst>
        </pc:spChg>
        <pc:spChg chg="mod">
          <ac:chgData name="Aurelien Domont" userId="6da7715ce44349b3" providerId="LiveId" clId="{AFF9B0D5-CA7D-40FB-964A-23276295459E}" dt="2021-07-06T05:08:56.517" v="6599" actId="207"/>
          <ac:spMkLst>
            <pc:docMk/>
            <pc:sldMk cId="1252826214" sldId="1711"/>
            <ac:spMk id="304" creationId="{462EA357-C5B7-44F6-8117-D3DB0A519ECA}"/>
          </ac:spMkLst>
        </pc:spChg>
        <pc:spChg chg="mod">
          <ac:chgData name="Aurelien Domont" userId="6da7715ce44349b3" providerId="LiveId" clId="{AFF9B0D5-CA7D-40FB-964A-23276295459E}" dt="2021-07-06T05:08:56.517" v="6599" actId="207"/>
          <ac:spMkLst>
            <pc:docMk/>
            <pc:sldMk cId="1252826214" sldId="1711"/>
            <ac:spMk id="305" creationId="{098AFEE8-22B5-4E43-B129-CE9960213C1B}"/>
          </ac:spMkLst>
        </pc:spChg>
        <pc:spChg chg="mod">
          <ac:chgData name="Aurelien Domont" userId="6da7715ce44349b3" providerId="LiveId" clId="{AFF9B0D5-CA7D-40FB-964A-23276295459E}" dt="2021-07-06T05:08:56.517" v="6599" actId="207"/>
          <ac:spMkLst>
            <pc:docMk/>
            <pc:sldMk cId="1252826214" sldId="1711"/>
            <ac:spMk id="306" creationId="{3E5EA9B4-DB9C-405D-9FD4-7F1D0CA83BC1}"/>
          </ac:spMkLst>
        </pc:spChg>
        <pc:spChg chg="mod">
          <ac:chgData name="Aurelien Domont" userId="6da7715ce44349b3" providerId="LiveId" clId="{AFF9B0D5-CA7D-40FB-964A-23276295459E}" dt="2021-07-06T05:08:56.517" v="6599" actId="207"/>
          <ac:spMkLst>
            <pc:docMk/>
            <pc:sldMk cId="1252826214" sldId="1711"/>
            <ac:spMk id="307" creationId="{11F8D39E-1E72-4276-B038-5D7B3890BF3C}"/>
          </ac:spMkLst>
        </pc:spChg>
        <pc:spChg chg="mod">
          <ac:chgData name="Aurelien Domont" userId="6da7715ce44349b3" providerId="LiveId" clId="{AFF9B0D5-CA7D-40FB-964A-23276295459E}" dt="2021-07-06T05:08:56.517" v="6599" actId="207"/>
          <ac:spMkLst>
            <pc:docMk/>
            <pc:sldMk cId="1252826214" sldId="1711"/>
            <ac:spMk id="308" creationId="{C5FE9365-E531-4365-BF20-9C387F8AC370}"/>
          </ac:spMkLst>
        </pc:spChg>
        <pc:spChg chg="mod">
          <ac:chgData name="Aurelien Domont" userId="6da7715ce44349b3" providerId="LiveId" clId="{AFF9B0D5-CA7D-40FB-964A-23276295459E}" dt="2021-07-06T05:08:56.517" v="6599" actId="207"/>
          <ac:spMkLst>
            <pc:docMk/>
            <pc:sldMk cId="1252826214" sldId="1711"/>
            <ac:spMk id="309" creationId="{C6CFEC23-FB1C-422C-8850-A9DF28DD29A1}"/>
          </ac:spMkLst>
        </pc:spChg>
        <pc:spChg chg="mod">
          <ac:chgData name="Aurelien Domont" userId="6da7715ce44349b3" providerId="LiveId" clId="{AFF9B0D5-CA7D-40FB-964A-23276295459E}" dt="2021-07-06T05:08:56.517" v="6599" actId="207"/>
          <ac:spMkLst>
            <pc:docMk/>
            <pc:sldMk cId="1252826214" sldId="1711"/>
            <ac:spMk id="310" creationId="{9865E04F-27B7-4A50-AB15-D3AFFB9DDCD2}"/>
          </ac:spMkLst>
        </pc:spChg>
        <pc:spChg chg="mod">
          <ac:chgData name="Aurelien Domont" userId="6da7715ce44349b3" providerId="LiveId" clId="{AFF9B0D5-CA7D-40FB-964A-23276295459E}" dt="2021-07-06T05:08:56.517" v="6599" actId="207"/>
          <ac:spMkLst>
            <pc:docMk/>
            <pc:sldMk cId="1252826214" sldId="1711"/>
            <ac:spMk id="311" creationId="{12BC7B78-F9A4-46AE-9A03-75599873A321}"/>
          </ac:spMkLst>
        </pc:spChg>
        <pc:spChg chg="mod">
          <ac:chgData name="Aurelien Domont" userId="6da7715ce44349b3" providerId="LiveId" clId="{AFF9B0D5-CA7D-40FB-964A-23276295459E}" dt="2021-07-06T05:08:56.517" v="6599" actId="207"/>
          <ac:spMkLst>
            <pc:docMk/>
            <pc:sldMk cId="1252826214" sldId="1711"/>
            <ac:spMk id="312" creationId="{2D61C530-0987-4150-BD04-B19B59069CD4}"/>
          </ac:spMkLst>
        </pc:spChg>
        <pc:spChg chg="mod">
          <ac:chgData name="Aurelien Domont" userId="6da7715ce44349b3" providerId="LiveId" clId="{AFF9B0D5-CA7D-40FB-964A-23276295459E}" dt="2021-07-06T05:08:56.517" v="6599" actId="207"/>
          <ac:spMkLst>
            <pc:docMk/>
            <pc:sldMk cId="1252826214" sldId="1711"/>
            <ac:spMk id="313" creationId="{07423ACC-5271-41F0-A4B3-F19E45B9E606}"/>
          </ac:spMkLst>
        </pc:spChg>
        <pc:spChg chg="mod">
          <ac:chgData name="Aurelien Domont" userId="6da7715ce44349b3" providerId="LiveId" clId="{AFF9B0D5-CA7D-40FB-964A-23276295459E}" dt="2021-07-06T05:08:56.517" v="6599" actId="207"/>
          <ac:spMkLst>
            <pc:docMk/>
            <pc:sldMk cId="1252826214" sldId="1711"/>
            <ac:spMk id="314" creationId="{BF8DA816-36D4-4CB3-83E0-182B4D82AA35}"/>
          </ac:spMkLst>
        </pc:spChg>
        <pc:spChg chg="mod">
          <ac:chgData name="Aurelien Domont" userId="6da7715ce44349b3" providerId="LiveId" clId="{AFF9B0D5-CA7D-40FB-964A-23276295459E}" dt="2021-07-06T05:08:56.517" v="6599" actId="207"/>
          <ac:spMkLst>
            <pc:docMk/>
            <pc:sldMk cId="1252826214" sldId="1711"/>
            <ac:spMk id="315" creationId="{4BF65DA2-D11A-4E7E-AFC8-ABE0DD43E994}"/>
          </ac:spMkLst>
        </pc:spChg>
        <pc:spChg chg="add mod">
          <ac:chgData name="Aurelien Domont" userId="6da7715ce44349b3" providerId="LiveId" clId="{AFF9B0D5-CA7D-40FB-964A-23276295459E}" dt="2021-07-06T05:44:42.038" v="7159"/>
          <ac:spMkLst>
            <pc:docMk/>
            <pc:sldMk cId="1252826214" sldId="1711"/>
            <ac:spMk id="316" creationId="{E1807DFC-6E0A-41E9-BAC7-1EE85BC2BECF}"/>
          </ac:spMkLst>
        </pc:spChg>
        <pc:spChg chg="add mod">
          <ac:chgData name="Aurelien Domont" userId="6da7715ce44349b3" providerId="LiveId" clId="{AFF9B0D5-CA7D-40FB-964A-23276295459E}" dt="2021-07-06T05:24:01.143" v="6896" actId="1038"/>
          <ac:spMkLst>
            <pc:docMk/>
            <pc:sldMk cId="1252826214" sldId="1711"/>
            <ac:spMk id="317" creationId="{57846E48-217C-4B20-8EAA-F792C5644C39}"/>
          </ac:spMkLst>
        </pc:spChg>
        <pc:spChg chg="add mod">
          <ac:chgData name="Aurelien Domont" userId="6da7715ce44349b3" providerId="LiveId" clId="{AFF9B0D5-CA7D-40FB-964A-23276295459E}" dt="2021-07-06T05:24:01.143" v="6896" actId="1038"/>
          <ac:spMkLst>
            <pc:docMk/>
            <pc:sldMk cId="1252826214" sldId="1711"/>
            <ac:spMk id="318" creationId="{7DCF6023-52B1-4514-840B-3C2A31F07EAD}"/>
          </ac:spMkLst>
        </pc:spChg>
        <pc:spChg chg="add mod">
          <ac:chgData name="Aurelien Domont" userId="6da7715ce44349b3" providerId="LiveId" clId="{AFF9B0D5-CA7D-40FB-964A-23276295459E}" dt="2021-07-06T05:32:29.667" v="6997" actId="14100"/>
          <ac:spMkLst>
            <pc:docMk/>
            <pc:sldMk cId="1252826214" sldId="1711"/>
            <ac:spMk id="321" creationId="{D18F414A-28FD-4A65-AF72-CEB65BAF1E6A}"/>
          </ac:spMkLst>
        </pc:spChg>
        <pc:spChg chg="add mod">
          <ac:chgData name="Aurelien Domont" userId="6da7715ce44349b3" providerId="LiveId" clId="{AFF9B0D5-CA7D-40FB-964A-23276295459E}" dt="2021-07-06T05:43:56.066" v="7156" actId="20577"/>
          <ac:spMkLst>
            <pc:docMk/>
            <pc:sldMk cId="1252826214" sldId="1711"/>
            <ac:spMk id="322" creationId="{5CDF6503-1C7D-45A1-A8DF-D8E13276A75E}"/>
          </ac:spMkLst>
        </pc:spChg>
        <pc:grpChg chg="del mod">
          <ac:chgData name="Aurelien Domont" userId="6da7715ce44349b3" providerId="LiveId" clId="{AFF9B0D5-CA7D-40FB-964A-23276295459E}" dt="2021-07-06T05:08:39.844" v="6597" actId="165"/>
          <ac:grpSpMkLst>
            <pc:docMk/>
            <pc:sldMk cId="1252826214" sldId="1711"/>
            <ac:grpSpMk id="5" creationId="{E1447482-894C-464E-8369-E45953F9A502}"/>
          </ac:grpSpMkLst>
        </pc:grpChg>
        <pc:grpChg chg="mod topLvl">
          <ac:chgData name="Aurelien Domont" userId="6da7715ce44349b3" providerId="LiveId" clId="{AFF9B0D5-CA7D-40FB-964A-23276295459E}" dt="2021-07-06T05:11:34.229" v="6642" actId="1036"/>
          <ac:grpSpMkLst>
            <pc:docMk/>
            <pc:sldMk cId="1252826214" sldId="1711"/>
            <ac:grpSpMk id="47" creationId="{D5D4B5DC-3DE6-4CEF-A50A-EB4214B0D845}"/>
          </ac:grpSpMkLst>
        </pc:grpChg>
        <pc:grpChg chg="mod topLvl">
          <ac:chgData name="Aurelien Domont" userId="6da7715ce44349b3" providerId="LiveId" clId="{AFF9B0D5-CA7D-40FB-964A-23276295459E}" dt="2021-07-06T05:11:34.229" v="6642" actId="1036"/>
          <ac:grpSpMkLst>
            <pc:docMk/>
            <pc:sldMk cId="1252826214" sldId="1711"/>
            <ac:grpSpMk id="48" creationId="{8B8C279D-E2F4-4798-8175-CEB06BFC314D}"/>
          </ac:grpSpMkLst>
        </pc:grpChg>
        <pc:grpChg chg="mod topLvl">
          <ac:chgData name="Aurelien Domont" userId="6da7715ce44349b3" providerId="LiveId" clId="{AFF9B0D5-CA7D-40FB-964A-23276295459E}" dt="2021-07-06T05:11:34.229" v="6642" actId="1036"/>
          <ac:grpSpMkLst>
            <pc:docMk/>
            <pc:sldMk cId="1252826214" sldId="1711"/>
            <ac:grpSpMk id="50" creationId="{AFEC8AB4-05F2-43B8-8A6C-7730F04CFC06}"/>
          </ac:grpSpMkLst>
        </pc:grpChg>
        <pc:grpChg chg="mod topLvl">
          <ac:chgData name="Aurelien Domont" userId="6da7715ce44349b3" providerId="LiveId" clId="{AFF9B0D5-CA7D-40FB-964A-23276295459E}" dt="2021-07-06T05:11:34.229" v="6642" actId="1036"/>
          <ac:grpSpMkLst>
            <pc:docMk/>
            <pc:sldMk cId="1252826214" sldId="1711"/>
            <ac:grpSpMk id="57" creationId="{012B866A-76DE-480D-B8A6-60E2A070C914}"/>
          </ac:grpSpMkLst>
        </pc:grpChg>
        <pc:grpChg chg="mod topLvl">
          <ac:chgData name="Aurelien Domont" userId="6da7715ce44349b3" providerId="LiveId" clId="{AFF9B0D5-CA7D-40FB-964A-23276295459E}" dt="2021-07-06T05:11:34.229" v="6642" actId="1036"/>
          <ac:grpSpMkLst>
            <pc:docMk/>
            <pc:sldMk cId="1252826214" sldId="1711"/>
            <ac:grpSpMk id="61" creationId="{3284F7B8-57FE-4081-8B8F-001F664C8474}"/>
          </ac:grpSpMkLst>
        </pc:grpChg>
        <pc:grpChg chg="mod topLvl">
          <ac:chgData name="Aurelien Domont" userId="6da7715ce44349b3" providerId="LiveId" clId="{AFF9B0D5-CA7D-40FB-964A-23276295459E}" dt="2021-07-06T05:11:34.229" v="6642" actId="1036"/>
          <ac:grpSpMkLst>
            <pc:docMk/>
            <pc:sldMk cId="1252826214" sldId="1711"/>
            <ac:grpSpMk id="65" creationId="{F77E394B-8C62-4B0F-B274-008D38043D9A}"/>
          </ac:grpSpMkLst>
        </pc:grpChg>
        <pc:grpChg chg="mod topLvl">
          <ac:chgData name="Aurelien Domont" userId="6da7715ce44349b3" providerId="LiveId" clId="{AFF9B0D5-CA7D-40FB-964A-23276295459E}" dt="2021-07-06T05:11:34.229" v="6642" actId="1036"/>
          <ac:grpSpMkLst>
            <pc:docMk/>
            <pc:sldMk cId="1252826214" sldId="1711"/>
            <ac:grpSpMk id="72" creationId="{A36B7DC4-1B53-4416-8305-AD78F046273A}"/>
          </ac:grpSpMkLst>
        </pc:grpChg>
        <pc:grpChg chg="mod topLvl">
          <ac:chgData name="Aurelien Domont" userId="6da7715ce44349b3" providerId="LiveId" clId="{AFF9B0D5-CA7D-40FB-964A-23276295459E}" dt="2021-07-06T05:11:34.229" v="6642" actId="1036"/>
          <ac:grpSpMkLst>
            <pc:docMk/>
            <pc:sldMk cId="1252826214" sldId="1711"/>
            <ac:grpSpMk id="74" creationId="{9BD7B3BD-D790-4305-84E7-5A72B29158D7}"/>
          </ac:grpSpMkLst>
        </pc:grpChg>
        <pc:grpChg chg="mod topLvl">
          <ac:chgData name="Aurelien Domont" userId="6da7715ce44349b3" providerId="LiveId" clId="{AFF9B0D5-CA7D-40FB-964A-23276295459E}" dt="2021-07-06T05:11:34.229" v="6642" actId="1036"/>
          <ac:grpSpMkLst>
            <pc:docMk/>
            <pc:sldMk cId="1252826214" sldId="1711"/>
            <ac:grpSpMk id="75" creationId="{794F3FAD-552B-4F54-B292-3C9EFB594DE8}"/>
          </ac:grpSpMkLst>
        </pc:grpChg>
        <pc:grpChg chg="mod topLvl">
          <ac:chgData name="Aurelien Domont" userId="6da7715ce44349b3" providerId="LiveId" clId="{AFF9B0D5-CA7D-40FB-964A-23276295459E}" dt="2021-07-06T05:11:34.229" v="6642" actId="1036"/>
          <ac:grpSpMkLst>
            <pc:docMk/>
            <pc:sldMk cId="1252826214" sldId="1711"/>
            <ac:grpSpMk id="90" creationId="{9CCE8B22-9644-4C67-9A90-6B439FFBAE2D}"/>
          </ac:grpSpMkLst>
        </pc:grpChg>
        <pc:grpChg chg="mod topLvl">
          <ac:chgData name="Aurelien Domont" userId="6da7715ce44349b3" providerId="LiveId" clId="{AFF9B0D5-CA7D-40FB-964A-23276295459E}" dt="2021-07-06T05:11:34.229" v="6642" actId="1036"/>
          <ac:grpSpMkLst>
            <pc:docMk/>
            <pc:sldMk cId="1252826214" sldId="1711"/>
            <ac:grpSpMk id="153" creationId="{DE3B1FBB-4F24-4945-9D06-9819C9B568DC}"/>
          </ac:grpSpMkLst>
        </pc:grpChg>
        <pc:grpChg chg="mod topLvl">
          <ac:chgData name="Aurelien Domont" userId="6da7715ce44349b3" providerId="LiveId" clId="{AFF9B0D5-CA7D-40FB-964A-23276295459E}" dt="2021-07-06T05:11:34.229" v="6642" actId="1036"/>
          <ac:grpSpMkLst>
            <pc:docMk/>
            <pc:sldMk cId="1252826214" sldId="1711"/>
            <ac:grpSpMk id="155" creationId="{ACD6C047-D92B-451C-881A-8F071319D4E8}"/>
          </ac:grpSpMkLst>
        </pc:grpChg>
        <pc:grpChg chg="mod topLvl">
          <ac:chgData name="Aurelien Domont" userId="6da7715ce44349b3" providerId="LiveId" clId="{AFF9B0D5-CA7D-40FB-964A-23276295459E}" dt="2021-07-06T05:11:34.229" v="6642" actId="1036"/>
          <ac:grpSpMkLst>
            <pc:docMk/>
            <pc:sldMk cId="1252826214" sldId="1711"/>
            <ac:grpSpMk id="157" creationId="{1E8CE4FC-8542-4C58-AEAC-96EB4CD31F91}"/>
          </ac:grpSpMkLst>
        </pc:grpChg>
        <pc:grpChg chg="mod topLvl">
          <ac:chgData name="Aurelien Domont" userId="6da7715ce44349b3" providerId="LiveId" clId="{AFF9B0D5-CA7D-40FB-964A-23276295459E}" dt="2021-07-06T05:11:34.229" v="6642" actId="1036"/>
          <ac:grpSpMkLst>
            <pc:docMk/>
            <pc:sldMk cId="1252826214" sldId="1711"/>
            <ac:grpSpMk id="159" creationId="{155A94F1-B6C3-4A95-9ED1-AF256CBD2141}"/>
          </ac:grpSpMkLst>
        </pc:grpChg>
        <pc:grpChg chg="mod topLvl">
          <ac:chgData name="Aurelien Domont" userId="6da7715ce44349b3" providerId="LiveId" clId="{AFF9B0D5-CA7D-40FB-964A-23276295459E}" dt="2021-07-06T05:11:34.229" v="6642" actId="1036"/>
          <ac:grpSpMkLst>
            <pc:docMk/>
            <pc:sldMk cId="1252826214" sldId="1711"/>
            <ac:grpSpMk id="170" creationId="{80B637A0-BA7C-425C-A0AF-B3E80B4AEC83}"/>
          </ac:grpSpMkLst>
        </pc:grpChg>
        <pc:graphicFrameChg chg="del">
          <ac:chgData name="Aurelien Domont" userId="6da7715ce44349b3" providerId="LiveId" clId="{AFF9B0D5-CA7D-40FB-964A-23276295459E}" dt="2021-07-06T05:17:50.403" v="6724" actId="478"/>
          <ac:graphicFrameMkLst>
            <pc:docMk/>
            <pc:sldMk cId="1252826214" sldId="1711"/>
            <ac:graphicFrameMk id="316" creationId="{DF34D884-0651-41A8-8F46-723764D3A3C0}"/>
          </ac:graphicFrameMkLst>
        </pc:graphicFrameChg>
        <pc:picChg chg="add del mod modCrop">
          <ac:chgData name="Aurelien Domont" userId="6da7715ce44349b3" providerId="LiveId" clId="{AFF9B0D5-CA7D-40FB-964A-23276295459E}" dt="2021-07-06T05:15:06.168" v="6682" actId="478"/>
          <ac:picMkLst>
            <pc:docMk/>
            <pc:sldMk cId="1252826214" sldId="1711"/>
            <ac:picMk id="4" creationId="{1617515F-40A1-42BD-9898-311815AACDC9}"/>
          </ac:picMkLst>
        </pc:picChg>
        <pc:picChg chg="add del mod">
          <ac:chgData name="Aurelien Domont" userId="6da7715ce44349b3" providerId="LiveId" clId="{AFF9B0D5-CA7D-40FB-964A-23276295459E}" dt="2021-07-06T05:14:44.128" v="6680" actId="27803"/>
          <ac:picMkLst>
            <pc:docMk/>
            <pc:sldMk cId="1252826214" sldId="1711"/>
            <ac:picMk id="8" creationId="{71937F58-B9F0-481F-8FE4-CB6A95D57416}"/>
          </ac:picMkLst>
        </pc:picChg>
        <pc:picChg chg="add mod modCrop">
          <ac:chgData name="Aurelien Domont" userId="6da7715ce44349b3" providerId="LiveId" clId="{AFF9B0D5-CA7D-40FB-964A-23276295459E}" dt="2021-07-06T05:24:01.143" v="6896" actId="1038"/>
          <ac:picMkLst>
            <pc:docMk/>
            <pc:sldMk cId="1252826214" sldId="1711"/>
            <ac:picMk id="10" creationId="{A0DB830C-4F68-4EF8-8A4E-2C8D67FD264F}"/>
          </ac:picMkLst>
        </pc:picChg>
        <pc:picChg chg="add del">
          <ac:chgData name="Aurelien Domont" userId="6da7715ce44349b3" providerId="LiveId" clId="{AFF9B0D5-CA7D-40FB-964A-23276295459E}" dt="2021-07-06T05:20:10.955" v="6827" actId="478"/>
          <ac:picMkLst>
            <pc:docMk/>
            <pc:sldMk cId="1252826214" sldId="1711"/>
            <ac:picMk id="14" creationId="{0878B37C-E951-4771-8BB6-E3C405EE0F91}"/>
          </ac:picMkLst>
        </pc:picChg>
        <pc:picChg chg="add del mod">
          <ac:chgData name="Aurelien Domont" userId="6da7715ce44349b3" providerId="LiveId" clId="{AFF9B0D5-CA7D-40FB-964A-23276295459E}" dt="2021-07-06T05:27:26.121" v="6974" actId="478"/>
          <ac:picMkLst>
            <pc:docMk/>
            <pc:sldMk cId="1252826214" sldId="1711"/>
            <ac:picMk id="17" creationId="{745481CC-4F1B-4397-91A1-375C76629B98}"/>
          </ac:picMkLst>
        </pc:picChg>
        <pc:picChg chg="add del mod">
          <ac:chgData name="Aurelien Domont" userId="6da7715ce44349b3" providerId="LiveId" clId="{AFF9B0D5-CA7D-40FB-964A-23276295459E}" dt="2021-07-06T05:27:27.943" v="6975" actId="478"/>
          <ac:picMkLst>
            <pc:docMk/>
            <pc:sldMk cId="1252826214" sldId="1711"/>
            <ac:picMk id="19" creationId="{B65134DD-5D76-4F71-AA28-B9BABC8A51A0}"/>
          </ac:picMkLst>
        </pc:picChg>
        <pc:picChg chg="add del mod">
          <ac:chgData name="Aurelien Domont" userId="6da7715ce44349b3" providerId="LiveId" clId="{AFF9B0D5-CA7D-40FB-964A-23276295459E}" dt="2021-07-06T05:27:23.285" v="6973" actId="478"/>
          <ac:picMkLst>
            <pc:docMk/>
            <pc:sldMk cId="1252826214" sldId="1711"/>
            <ac:picMk id="21" creationId="{982BB652-0027-477D-8558-0FABC8A1E3A7}"/>
          </ac:picMkLst>
        </pc:picChg>
        <pc:picChg chg="add del mod">
          <ac:chgData name="Aurelien Domont" userId="6da7715ce44349b3" providerId="LiveId" clId="{AFF9B0D5-CA7D-40FB-964A-23276295459E}" dt="2021-07-06T05:28:04.591" v="6977" actId="478"/>
          <ac:picMkLst>
            <pc:docMk/>
            <pc:sldMk cId="1252826214" sldId="1711"/>
            <ac:picMk id="23" creationId="{BC5CCD4E-9C88-43D4-8202-2C712891DE75}"/>
          </ac:picMkLst>
        </pc:picChg>
        <pc:picChg chg="add del mod">
          <ac:chgData name="Aurelien Domont" userId="6da7715ce44349b3" providerId="LiveId" clId="{AFF9B0D5-CA7D-40FB-964A-23276295459E}" dt="2021-07-06T05:27:23.285" v="6973" actId="478"/>
          <ac:picMkLst>
            <pc:docMk/>
            <pc:sldMk cId="1252826214" sldId="1711"/>
            <ac:picMk id="46" creationId="{62503EAF-1CD5-4831-B10E-F8ECE226C14A}"/>
          </ac:picMkLst>
        </pc:picChg>
        <pc:picChg chg="add mod modCrop">
          <ac:chgData name="Aurelien Domont" userId="6da7715ce44349b3" providerId="LiveId" clId="{AFF9B0D5-CA7D-40FB-964A-23276295459E}" dt="2021-07-06T05:26:44.846" v="6961" actId="1036"/>
          <ac:picMkLst>
            <pc:docMk/>
            <pc:sldMk cId="1252826214" sldId="1711"/>
            <ac:picMk id="320" creationId="{CA5C0783-F7AB-4755-937B-E03E5BC4DC33}"/>
          </ac:picMkLst>
        </pc:picChg>
      </pc:sldChg>
      <pc:sldChg chg="addSp delSp modSp mod">
        <pc:chgData name="Aurelien Domont" userId="6da7715ce44349b3" providerId="LiveId" clId="{AFF9B0D5-CA7D-40FB-964A-23276295459E}" dt="2021-07-06T01:17:27.472" v="5738" actId="20577"/>
        <pc:sldMkLst>
          <pc:docMk/>
          <pc:sldMk cId="317099162" sldId="1749"/>
        </pc:sldMkLst>
        <pc:spChg chg="add mod">
          <ac:chgData name="Aurelien Domont" userId="6da7715ce44349b3" providerId="LiveId" clId="{AFF9B0D5-CA7D-40FB-964A-23276295459E}" dt="2021-07-02T05:59:43.413" v="2254" actId="1035"/>
          <ac:spMkLst>
            <pc:docMk/>
            <pc:sldMk cId="317099162" sldId="1749"/>
            <ac:spMk id="3" creationId="{769F5309-76A5-4DB3-A4CB-2C8F568AB01D}"/>
          </ac:spMkLst>
        </pc:spChg>
        <pc:spChg chg="add mod">
          <ac:chgData name="Aurelien Domont" userId="6da7715ce44349b3" providerId="LiveId" clId="{AFF9B0D5-CA7D-40FB-964A-23276295459E}" dt="2021-06-30T06:09:13.186" v="129"/>
          <ac:spMkLst>
            <pc:docMk/>
            <pc:sldMk cId="317099162" sldId="1749"/>
            <ac:spMk id="5" creationId="{3AA7B8AD-E6F9-4E25-A3A4-71D021032612}"/>
          </ac:spMkLst>
        </pc:spChg>
        <pc:spChg chg="add del mod">
          <ac:chgData name="Aurelien Domont" userId="6da7715ce44349b3" providerId="LiveId" clId="{AFF9B0D5-CA7D-40FB-964A-23276295459E}" dt="2021-07-02T05:50:16.562" v="1723" actId="478"/>
          <ac:spMkLst>
            <pc:docMk/>
            <pc:sldMk cId="317099162" sldId="1749"/>
            <ac:spMk id="6" creationId="{38F44941-AA59-4703-B58D-530066FB98C2}"/>
          </ac:spMkLst>
        </pc:spChg>
        <pc:spChg chg="del mod topLvl">
          <ac:chgData name="Aurelien Domont" userId="6da7715ce44349b3" providerId="LiveId" clId="{AFF9B0D5-CA7D-40FB-964A-23276295459E}" dt="2021-06-30T06:17:13.443" v="209" actId="478"/>
          <ac:spMkLst>
            <pc:docMk/>
            <pc:sldMk cId="317099162" sldId="1749"/>
            <ac:spMk id="7" creationId="{8A32D480-0877-4E79-9110-6B83080AC953}"/>
          </ac:spMkLst>
        </pc:spChg>
        <pc:spChg chg="del mod topLvl">
          <ac:chgData name="Aurelien Domont" userId="6da7715ce44349b3" providerId="LiveId" clId="{AFF9B0D5-CA7D-40FB-964A-23276295459E}" dt="2021-06-30T06:17:17.246" v="210" actId="478"/>
          <ac:spMkLst>
            <pc:docMk/>
            <pc:sldMk cId="317099162" sldId="1749"/>
            <ac:spMk id="8" creationId="{46918508-1A75-44FD-8B01-FDA0FF18E025}"/>
          </ac:spMkLst>
        </pc:spChg>
        <pc:spChg chg="add del mod topLvl">
          <ac:chgData name="Aurelien Domont" userId="6da7715ce44349b3" providerId="LiveId" clId="{AFF9B0D5-CA7D-40FB-964A-23276295459E}" dt="2021-06-30T06:24:56.780" v="292" actId="478"/>
          <ac:spMkLst>
            <pc:docMk/>
            <pc:sldMk cId="317099162" sldId="1749"/>
            <ac:spMk id="9" creationId="{1D174EE8-1E55-4025-BFC8-FE6A257BF90E}"/>
          </ac:spMkLst>
        </pc:spChg>
        <pc:spChg chg="add del mod topLvl">
          <ac:chgData name="Aurelien Domont" userId="6da7715ce44349b3" providerId="LiveId" clId="{AFF9B0D5-CA7D-40FB-964A-23276295459E}" dt="2021-06-30T06:24:56.780" v="292" actId="478"/>
          <ac:spMkLst>
            <pc:docMk/>
            <pc:sldMk cId="317099162" sldId="1749"/>
            <ac:spMk id="10" creationId="{7C0AAF82-128F-47B7-ABC2-AA30B23F33D1}"/>
          </ac:spMkLst>
        </pc:spChg>
        <pc:spChg chg="add del mod topLvl">
          <ac:chgData name="Aurelien Domont" userId="6da7715ce44349b3" providerId="LiveId" clId="{AFF9B0D5-CA7D-40FB-964A-23276295459E}" dt="2021-06-30T06:24:56.780" v="292" actId="478"/>
          <ac:spMkLst>
            <pc:docMk/>
            <pc:sldMk cId="317099162" sldId="1749"/>
            <ac:spMk id="11" creationId="{E3044FE5-1B15-42EB-B21C-60066BE4A2F4}"/>
          </ac:spMkLst>
        </pc:spChg>
        <pc:spChg chg="add del mod topLvl">
          <ac:chgData name="Aurelien Domont" userId="6da7715ce44349b3" providerId="LiveId" clId="{AFF9B0D5-CA7D-40FB-964A-23276295459E}" dt="2021-06-30T06:24:56.780" v="292" actId="478"/>
          <ac:spMkLst>
            <pc:docMk/>
            <pc:sldMk cId="317099162" sldId="1749"/>
            <ac:spMk id="12" creationId="{32589ACC-367A-4FC4-AF85-D207DC2C0B91}"/>
          </ac:spMkLst>
        </pc:spChg>
        <pc:spChg chg="del mod">
          <ac:chgData name="Aurelien Domont" userId="6da7715ce44349b3" providerId="LiveId" clId="{AFF9B0D5-CA7D-40FB-964A-23276295459E}" dt="2021-06-30T06:46:52.584" v="1136" actId="478"/>
          <ac:spMkLst>
            <pc:docMk/>
            <pc:sldMk cId="317099162" sldId="1749"/>
            <ac:spMk id="14" creationId="{58BC295C-D6CC-4682-B176-A5677EB177D0}"/>
          </ac:spMkLst>
        </pc:spChg>
        <pc:spChg chg="mod">
          <ac:chgData name="Aurelien Domont" userId="6da7715ce44349b3" providerId="LiveId" clId="{AFF9B0D5-CA7D-40FB-964A-23276295459E}" dt="2021-07-02T06:46:06.630" v="3985" actId="404"/>
          <ac:spMkLst>
            <pc:docMk/>
            <pc:sldMk cId="317099162" sldId="1749"/>
            <ac:spMk id="16" creationId="{6C2BB713-9637-4B9B-938F-E9768876782A}"/>
          </ac:spMkLst>
        </pc:spChg>
        <pc:spChg chg="add del mod">
          <ac:chgData name="Aurelien Domont" userId="6da7715ce44349b3" providerId="LiveId" clId="{AFF9B0D5-CA7D-40FB-964A-23276295459E}" dt="2021-06-30T06:24:53.540" v="289" actId="478"/>
          <ac:spMkLst>
            <pc:docMk/>
            <pc:sldMk cId="317099162" sldId="1749"/>
            <ac:spMk id="17" creationId="{D0004D55-5570-420F-BBFC-2C286064638E}"/>
          </ac:spMkLst>
        </pc:spChg>
        <pc:spChg chg="add mod">
          <ac:chgData name="Aurelien Domont" userId="6da7715ce44349b3" providerId="LiveId" clId="{AFF9B0D5-CA7D-40FB-964A-23276295459E}" dt="2021-06-30T06:47:02.430" v="1143" actId="404"/>
          <ac:spMkLst>
            <pc:docMk/>
            <pc:sldMk cId="317099162" sldId="1749"/>
            <ac:spMk id="18" creationId="{6A4FD3FA-039A-4E8B-872F-7E94A478556E}"/>
          </ac:spMkLst>
        </pc:spChg>
        <pc:spChg chg="add mod">
          <ac:chgData name="Aurelien Domont" userId="6da7715ce44349b3" providerId="LiveId" clId="{AFF9B0D5-CA7D-40FB-964A-23276295459E}" dt="2021-06-30T06:47:02.430" v="1143" actId="404"/>
          <ac:spMkLst>
            <pc:docMk/>
            <pc:sldMk cId="317099162" sldId="1749"/>
            <ac:spMk id="19" creationId="{B01C17D3-8B6E-4877-B7C4-A6B064E2BED5}"/>
          </ac:spMkLst>
        </pc:spChg>
        <pc:spChg chg="add mod">
          <ac:chgData name="Aurelien Domont" userId="6da7715ce44349b3" providerId="LiveId" clId="{AFF9B0D5-CA7D-40FB-964A-23276295459E}" dt="2021-06-30T06:53:25.942" v="1302" actId="1038"/>
          <ac:spMkLst>
            <pc:docMk/>
            <pc:sldMk cId="317099162" sldId="1749"/>
            <ac:spMk id="20" creationId="{98DD0F28-7422-4888-8C0E-8FB3B2B1F231}"/>
          </ac:spMkLst>
        </pc:spChg>
        <pc:spChg chg="add mod">
          <ac:chgData name="Aurelien Domont" userId="6da7715ce44349b3" providerId="LiveId" clId="{AFF9B0D5-CA7D-40FB-964A-23276295459E}" dt="2021-06-30T06:47:02.430" v="1143" actId="404"/>
          <ac:spMkLst>
            <pc:docMk/>
            <pc:sldMk cId="317099162" sldId="1749"/>
            <ac:spMk id="21" creationId="{DC6B8FF9-CDA5-48AE-8294-E77982A8E227}"/>
          </ac:spMkLst>
        </pc:spChg>
        <pc:spChg chg="add mod">
          <ac:chgData name="Aurelien Domont" userId="6da7715ce44349b3" providerId="LiveId" clId="{AFF9B0D5-CA7D-40FB-964A-23276295459E}" dt="2021-06-30T06:47:02.430" v="1143" actId="404"/>
          <ac:spMkLst>
            <pc:docMk/>
            <pc:sldMk cId="317099162" sldId="1749"/>
            <ac:spMk id="22" creationId="{F8D0F352-FDC6-4412-B206-9B2271E69C51}"/>
          </ac:spMkLst>
        </pc:spChg>
        <pc:spChg chg="add mod">
          <ac:chgData name="Aurelien Domont" userId="6da7715ce44349b3" providerId="LiveId" clId="{AFF9B0D5-CA7D-40FB-964A-23276295459E}" dt="2021-06-30T06:53:45.206" v="1306" actId="20577"/>
          <ac:spMkLst>
            <pc:docMk/>
            <pc:sldMk cId="317099162" sldId="1749"/>
            <ac:spMk id="23" creationId="{8DAD1C28-1E93-42EA-91B9-6825760F69DF}"/>
          </ac:spMkLst>
        </pc:spChg>
        <pc:spChg chg="add mod">
          <ac:chgData name="Aurelien Domont" userId="6da7715ce44349b3" providerId="LiveId" clId="{AFF9B0D5-CA7D-40FB-964A-23276295459E}" dt="2021-06-30T06:47:02.430" v="1143" actId="404"/>
          <ac:spMkLst>
            <pc:docMk/>
            <pc:sldMk cId="317099162" sldId="1749"/>
            <ac:spMk id="24" creationId="{53D7E43D-3C96-4369-B11A-91EC34AEB43A}"/>
          </ac:spMkLst>
        </pc:spChg>
        <pc:spChg chg="add mod">
          <ac:chgData name="Aurelien Domont" userId="6da7715ce44349b3" providerId="LiveId" clId="{AFF9B0D5-CA7D-40FB-964A-23276295459E}" dt="2021-06-30T07:01:43.646" v="1592" actId="20577"/>
          <ac:spMkLst>
            <pc:docMk/>
            <pc:sldMk cId="317099162" sldId="1749"/>
            <ac:spMk id="25" creationId="{5ADD7AB3-5C39-4CAE-8D5E-9950082CCB96}"/>
          </ac:spMkLst>
        </pc:spChg>
        <pc:spChg chg="add mod">
          <ac:chgData name="Aurelien Domont" userId="6da7715ce44349b3" providerId="LiveId" clId="{AFF9B0D5-CA7D-40FB-964A-23276295459E}" dt="2021-06-30T06:57:18.107" v="1411" actId="20577"/>
          <ac:spMkLst>
            <pc:docMk/>
            <pc:sldMk cId="317099162" sldId="1749"/>
            <ac:spMk id="26" creationId="{626A743B-E42B-485A-BA62-DB037C0E1E9F}"/>
          </ac:spMkLst>
        </pc:spChg>
        <pc:spChg chg="add mod">
          <ac:chgData name="Aurelien Domont" userId="6da7715ce44349b3" providerId="LiveId" clId="{AFF9B0D5-CA7D-40FB-964A-23276295459E}" dt="2021-07-02T05:54:34.534" v="1907" actId="108"/>
          <ac:spMkLst>
            <pc:docMk/>
            <pc:sldMk cId="317099162" sldId="1749"/>
            <ac:spMk id="27" creationId="{37CA4A46-562F-4AE0-B6A4-943D1FEC8097}"/>
          </ac:spMkLst>
        </pc:spChg>
        <pc:spChg chg="add mod">
          <ac:chgData name="Aurelien Domont" userId="6da7715ce44349b3" providerId="LiveId" clId="{AFF9B0D5-CA7D-40FB-964A-23276295459E}" dt="2021-06-30T06:56:28.477" v="1408" actId="20577"/>
          <ac:spMkLst>
            <pc:docMk/>
            <pc:sldMk cId="317099162" sldId="1749"/>
            <ac:spMk id="28" creationId="{8B079231-0813-4E09-8181-D62AEC52E2CC}"/>
          </ac:spMkLst>
        </pc:spChg>
        <pc:spChg chg="add mod">
          <ac:chgData name="Aurelien Domont" userId="6da7715ce44349b3" providerId="LiveId" clId="{AFF9B0D5-CA7D-40FB-964A-23276295459E}" dt="2021-07-02T05:59:47.445" v="2264" actId="1035"/>
          <ac:spMkLst>
            <pc:docMk/>
            <pc:sldMk cId="317099162" sldId="1749"/>
            <ac:spMk id="29" creationId="{F1ABDDA1-7406-4A3A-8D68-EEEA79F76892}"/>
          </ac:spMkLst>
        </pc:spChg>
        <pc:spChg chg="add mod">
          <ac:chgData name="Aurelien Domont" userId="6da7715ce44349b3" providerId="LiveId" clId="{AFF9B0D5-CA7D-40FB-964A-23276295459E}" dt="2021-07-06T01:17:27.472" v="5738" actId="20577"/>
          <ac:spMkLst>
            <pc:docMk/>
            <pc:sldMk cId="317099162" sldId="1749"/>
            <ac:spMk id="30" creationId="{A3A42F54-587B-4C2E-93F0-14AB9DDD5309}"/>
          </ac:spMkLst>
        </pc:spChg>
        <pc:spChg chg="add del mod">
          <ac:chgData name="Aurelien Domont" userId="6da7715ce44349b3" providerId="LiveId" clId="{AFF9B0D5-CA7D-40FB-964A-23276295459E}" dt="2021-07-02T05:50:16.562" v="1723" actId="478"/>
          <ac:spMkLst>
            <pc:docMk/>
            <pc:sldMk cId="317099162" sldId="1749"/>
            <ac:spMk id="31" creationId="{2F376F92-8F4F-4920-9588-50D769078EF1}"/>
          </ac:spMkLst>
        </pc:spChg>
        <pc:spChg chg="add mod">
          <ac:chgData name="Aurelien Domont" userId="6da7715ce44349b3" providerId="LiveId" clId="{AFF9B0D5-CA7D-40FB-964A-23276295459E}" dt="2021-07-06T01:16:36.661" v="5705" actId="20577"/>
          <ac:spMkLst>
            <pc:docMk/>
            <pc:sldMk cId="317099162" sldId="1749"/>
            <ac:spMk id="32" creationId="{EE6F0BF2-DC75-49E9-A69A-A91D25E3574E}"/>
          </ac:spMkLst>
        </pc:spChg>
        <pc:grpChg chg="add del mod">
          <ac:chgData name="Aurelien Domont" userId="6da7715ce44349b3" providerId="LiveId" clId="{AFF9B0D5-CA7D-40FB-964A-23276295459E}" dt="2021-06-30T06:17:10.273" v="208" actId="165"/>
          <ac:grpSpMkLst>
            <pc:docMk/>
            <pc:sldMk cId="317099162" sldId="1749"/>
            <ac:grpSpMk id="2" creationId="{910845D7-6328-4DD2-ADE3-005E7DE306DE}"/>
          </ac:grpSpMkLst>
        </pc:grpChg>
        <pc:grpChg chg="add mod">
          <ac:chgData name="Aurelien Domont" userId="6da7715ce44349b3" providerId="LiveId" clId="{AFF9B0D5-CA7D-40FB-964A-23276295459E}" dt="2021-06-30T07:01:33.272" v="1590" actId="1076"/>
          <ac:grpSpMkLst>
            <pc:docMk/>
            <pc:sldMk cId="317099162" sldId="1749"/>
            <ac:grpSpMk id="2" creationId="{CA5BE65C-4544-4880-A061-4D320C41F338}"/>
          </ac:grpSpMkLst>
        </pc:grpChg>
        <pc:grpChg chg="add del mod">
          <ac:chgData name="Aurelien Domont" userId="6da7715ce44349b3" providerId="LiveId" clId="{AFF9B0D5-CA7D-40FB-964A-23276295459E}" dt="2021-06-30T06:12:39.225" v="160" actId="165"/>
          <ac:grpSpMkLst>
            <pc:docMk/>
            <pc:sldMk cId="317099162" sldId="1749"/>
            <ac:grpSpMk id="6" creationId="{C92777F9-4B8D-47A8-BE0A-58672808E77E}"/>
          </ac:grpSpMkLst>
        </pc:grpChg>
        <pc:picChg chg="add del mod">
          <ac:chgData name="Aurelien Domont" userId="6da7715ce44349b3" providerId="LiveId" clId="{AFF9B0D5-CA7D-40FB-964A-23276295459E}" dt="2021-06-30T06:24:54.181" v="290" actId="478"/>
          <ac:picMkLst>
            <pc:docMk/>
            <pc:sldMk cId="317099162" sldId="1749"/>
            <ac:picMk id="4" creationId="{7287037B-4A3D-4DBB-9F70-BEF5F5A84640}"/>
          </ac:picMkLst>
        </pc:picChg>
        <pc:picChg chg="add del mod topLvl">
          <ac:chgData name="Aurelien Domont" userId="6da7715ce44349b3" providerId="LiveId" clId="{AFF9B0D5-CA7D-40FB-964A-23276295459E}" dt="2021-06-30T06:24:54.931" v="291" actId="478"/>
          <ac:picMkLst>
            <pc:docMk/>
            <pc:sldMk cId="317099162" sldId="1749"/>
            <ac:picMk id="15" creationId="{F83CBCF3-4B58-4A3F-B9ED-87BE026B0DA1}"/>
          </ac:picMkLst>
        </pc:picChg>
      </pc:sldChg>
      <pc:sldChg chg="add">
        <pc:chgData name="Aurelien Domont" userId="6da7715ce44349b3" providerId="LiveId" clId="{AFF9B0D5-CA7D-40FB-964A-23276295459E}" dt="2021-07-06T04:20:04.085" v="6369"/>
        <pc:sldMkLst>
          <pc:docMk/>
          <pc:sldMk cId="3938337455" sldId="2034"/>
        </pc:sldMkLst>
      </pc:sldChg>
      <pc:sldChg chg="addSp delSp modSp add mod">
        <pc:chgData name="Aurelien Domont" userId="6da7715ce44349b3" providerId="LiveId" clId="{AFF9B0D5-CA7D-40FB-964A-23276295459E}" dt="2021-07-06T04:25:25.008" v="6415" actId="1037"/>
        <pc:sldMkLst>
          <pc:docMk/>
          <pc:sldMk cId="1926619926" sldId="2147"/>
        </pc:sldMkLst>
        <pc:spChg chg="mod">
          <ac:chgData name="Aurelien Domont" userId="6da7715ce44349b3" providerId="LiveId" clId="{AFF9B0D5-CA7D-40FB-964A-23276295459E}" dt="2021-07-06T04:25:25.008" v="6415" actId="1037"/>
          <ac:spMkLst>
            <pc:docMk/>
            <pc:sldMk cId="1926619926" sldId="2147"/>
            <ac:spMk id="3" creationId="{E7801C33-1882-44AC-8209-E2ACFFBF177C}"/>
          </ac:spMkLst>
        </pc:spChg>
        <pc:picChg chg="del mod">
          <ac:chgData name="Aurelien Domont" userId="6da7715ce44349b3" providerId="LiveId" clId="{AFF9B0D5-CA7D-40FB-964A-23276295459E}" dt="2021-07-06T04:23:48.250" v="6374" actId="478"/>
          <ac:picMkLst>
            <pc:docMk/>
            <pc:sldMk cId="1926619926" sldId="2147"/>
            <ac:picMk id="5" creationId="{7283AD49-C820-429E-A8E8-5A7367D6DC11}"/>
          </ac:picMkLst>
        </pc:picChg>
        <pc:picChg chg="add del mod ord">
          <ac:chgData name="Aurelien Domont" userId="6da7715ce44349b3" providerId="LiveId" clId="{AFF9B0D5-CA7D-40FB-964A-23276295459E}" dt="2021-07-06T04:24:17.620" v="6388" actId="22"/>
          <ac:picMkLst>
            <pc:docMk/>
            <pc:sldMk cId="1926619926" sldId="2147"/>
            <ac:picMk id="9" creationId="{DF4B9174-4A5D-4046-82AF-63AA7738E6A2}"/>
          </ac:picMkLst>
        </pc:picChg>
        <pc:picChg chg="add mod ord">
          <ac:chgData name="Aurelien Domont" userId="6da7715ce44349b3" providerId="LiveId" clId="{AFF9B0D5-CA7D-40FB-964A-23276295459E}" dt="2021-07-06T04:25:16.233" v="6398" actId="1076"/>
          <ac:picMkLst>
            <pc:docMk/>
            <pc:sldMk cId="1926619926" sldId="2147"/>
            <ac:picMk id="11" creationId="{5D58A1A0-06A2-4FAC-A5EA-99253435D8B8}"/>
          </ac:picMkLst>
        </pc:picChg>
      </pc:sldChg>
      <pc:sldChg chg="del">
        <pc:chgData name="Aurelien Domont" userId="6da7715ce44349b3" providerId="LiveId" clId="{AFF9B0D5-CA7D-40FB-964A-23276295459E}" dt="2021-07-06T03:47:14.962" v="6357" actId="47"/>
        <pc:sldMkLst>
          <pc:docMk/>
          <pc:sldMk cId="1289725493" sldId="2149"/>
        </pc:sldMkLst>
      </pc:sldChg>
      <pc:sldChg chg="del">
        <pc:chgData name="Aurelien Domont" userId="6da7715ce44349b3" providerId="LiveId" clId="{AFF9B0D5-CA7D-40FB-964A-23276295459E}" dt="2021-07-02T08:38:32.427" v="5616" actId="47"/>
        <pc:sldMkLst>
          <pc:docMk/>
          <pc:sldMk cId="3004254457" sldId="2150"/>
        </pc:sldMkLst>
      </pc:sldChg>
      <pc:sldChg chg="delSp modSp add del mod">
        <pc:chgData name="Aurelien Domont" userId="6da7715ce44349b3" providerId="LiveId" clId="{AFF9B0D5-CA7D-40FB-964A-23276295459E}" dt="2021-07-02T08:38:32.427" v="5616" actId="47"/>
        <pc:sldMkLst>
          <pc:docMk/>
          <pc:sldMk cId="1534089223" sldId="2151"/>
        </pc:sldMkLst>
        <pc:spChg chg="mod">
          <ac:chgData name="Aurelien Domont" userId="6da7715ce44349b3" providerId="LiveId" clId="{AFF9B0D5-CA7D-40FB-964A-23276295459E}" dt="2021-06-30T06:01:18.933" v="127" actId="20577"/>
          <ac:spMkLst>
            <pc:docMk/>
            <pc:sldMk cId="1534089223" sldId="2151"/>
            <ac:spMk id="16" creationId="{6C2BB713-9637-4B9B-938F-E9768876782A}"/>
          </ac:spMkLst>
        </pc:spChg>
        <pc:spChg chg="del">
          <ac:chgData name="Aurelien Domont" userId="6da7715ce44349b3" providerId="LiveId" clId="{AFF9B0D5-CA7D-40FB-964A-23276295459E}" dt="2021-06-30T06:01:27.551" v="128" actId="478"/>
          <ac:spMkLst>
            <pc:docMk/>
            <pc:sldMk cId="1534089223" sldId="2151"/>
            <ac:spMk id="32" creationId="{F4E53BA9-9AB9-48F0-A73B-05C6322E3392}"/>
          </ac:spMkLst>
        </pc:spChg>
        <pc:spChg chg="del">
          <ac:chgData name="Aurelien Domont" userId="6da7715ce44349b3" providerId="LiveId" clId="{AFF9B0D5-CA7D-40FB-964A-23276295459E}" dt="2021-06-30T06:01:27.551" v="128" actId="478"/>
          <ac:spMkLst>
            <pc:docMk/>
            <pc:sldMk cId="1534089223" sldId="2151"/>
            <ac:spMk id="33" creationId="{CDADC7B4-4779-49A3-9FCF-3DC29EF44738}"/>
          </ac:spMkLst>
        </pc:spChg>
        <pc:spChg chg="del">
          <ac:chgData name="Aurelien Domont" userId="6da7715ce44349b3" providerId="LiveId" clId="{AFF9B0D5-CA7D-40FB-964A-23276295459E}" dt="2021-06-30T06:01:27.551" v="128" actId="478"/>
          <ac:spMkLst>
            <pc:docMk/>
            <pc:sldMk cId="1534089223" sldId="2151"/>
            <ac:spMk id="34" creationId="{30185B92-2394-4D45-8987-284B6B741CF6}"/>
          </ac:spMkLst>
        </pc:spChg>
        <pc:spChg chg="del">
          <ac:chgData name="Aurelien Domont" userId="6da7715ce44349b3" providerId="LiveId" clId="{AFF9B0D5-CA7D-40FB-964A-23276295459E}" dt="2021-06-30T06:01:27.551" v="128" actId="478"/>
          <ac:spMkLst>
            <pc:docMk/>
            <pc:sldMk cId="1534089223" sldId="2151"/>
            <ac:spMk id="36" creationId="{AAC5EFF7-9581-4CFA-9007-0B2D138DC929}"/>
          </ac:spMkLst>
        </pc:spChg>
        <pc:spChg chg="del">
          <ac:chgData name="Aurelien Domont" userId="6da7715ce44349b3" providerId="LiveId" clId="{AFF9B0D5-CA7D-40FB-964A-23276295459E}" dt="2021-06-30T06:01:27.551" v="128" actId="478"/>
          <ac:spMkLst>
            <pc:docMk/>
            <pc:sldMk cId="1534089223" sldId="2151"/>
            <ac:spMk id="37" creationId="{97849EAC-234E-45EF-B196-78699AC97FA2}"/>
          </ac:spMkLst>
        </pc:spChg>
        <pc:spChg chg="del">
          <ac:chgData name="Aurelien Domont" userId="6da7715ce44349b3" providerId="LiveId" clId="{AFF9B0D5-CA7D-40FB-964A-23276295459E}" dt="2021-06-30T06:01:27.551" v="128" actId="478"/>
          <ac:spMkLst>
            <pc:docMk/>
            <pc:sldMk cId="1534089223" sldId="2151"/>
            <ac:spMk id="38" creationId="{3CA2023D-F310-415B-9867-7BDE343D904B}"/>
          </ac:spMkLst>
        </pc:spChg>
        <pc:cxnChg chg="del">
          <ac:chgData name="Aurelien Domont" userId="6da7715ce44349b3" providerId="LiveId" clId="{AFF9B0D5-CA7D-40FB-964A-23276295459E}" dt="2021-06-30T06:01:27.551" v="128" actId="478"/>
          <ac:cxnSpMkLst>
            <pc:docMk/>
            <pc:sldMk cId="1534089223" sldId="2151"/>
            <ac:cxnSpMk id="35" creationId="{AC48342A-109D-4373-B3D7-98BE0267DC04}"/>
          </ac:cxnSpMkLst>
        </pc:cxnChg>
        <pc:cxnChg chg="del">
          <ac:chgData name="Aurelien Domont" userId="6da7715ce44349b3" providerId="LiveId" clId="{AFF9B0D5-CA7D-40FB-964A-23276295459E}" dt="2021-06-30T06:01:27.551" v="128" actId="478"/>
          <ac:cxnSpMkLst>
            <pc:docMk/>
            <pc:sldMk cId="1534089223" sldId="2151"/>
            <ac:cxnSpMk id="39" creationId="{02DB1088-3FCD-49FB-A3C3-A1CEBA001978}"/>
          </ac:cxnSpMkLst>
        </pc:cxnChg>
      </pc:sldChg>
      <pc:sldChg chg="addSp delSp add del mod">
        <pc:chgData name="Aurelien Domont" userId="6da7715ce44349b3" providerId="LiveId" clId="{AFF9B0D5-CA7D-40FB-964A-23276295459E}" dt="2021-07-02T08:38:32.427" v="5616" actId="47"/>
        <pc:sldMkLst>
          <pc:docMk/>
          <pc:sldMk cId="499002002" sldId="2152"/>
        </pc:sldMkLst>
        <pc:spChg chg="add del">
          <ac:chgData name="Aurelien Domont" userId="6da7715ce44349b3" providerId="LiveId" clId="{AFF9B0D5-CA7D-40FB-964A-23276295459E}" dt="2021-06-30T06:22:40.027" v="286" actId="478"/>
          <ac:spMkLst>
            <pc:docMk/>
            <pc:sldMk cId="499002002" sldId="2152"/>
            <ac:spMk id="9" creationId="{1D174EE8-1E55-4025-BFC8-FE6A257BF90E}"/>
          </ac:spMkLst>
        </pc:spChg>
        <pc:spChg chg="add del">
          <ac:chgData name="Aurelien Domont" userId="6da7715ce44349b3" providerId="LiveId" clId="{AFF9B0D5-CA7D-40FB-964A-23276295459E}" dt="2021-06-30T06:22:40.027" v="286" actId="478"/>
          <ac:spMkLst>
            <pc:docMk/>
            <pc:sldMk cId="499002002" sldId="2152"/>
            <ac:spMk id="10" creationId="{7C0AAF82-128F-47B7-ABC2-AA30B23F33D1}"/>
          </ac:spMkLst>
        </pc:spChg>
        <pc:spChg chg="add del">
          <ac:chgData name="Aurelien Domont" userId="6da7715ce44349b3" providerId="LiveId" clId="{AFF9B0D5-CA7D-40FB-964A-23276295459E}" dt="2021-06-30T06:22:40.027" v="286" actId="478"/>
          <ac:spMkLst>
            <pc:docMk/>
            <pc:sldMk cId="499002002" sldId="2152"/>
            <ac:spMk id="11" creationId="{E3044FE5-1B15-42EB-B21C-60066BE4A2F4}"/>
          </ac:spMkLst>
        </pc:spChg>
        <pc:spChg chg="add del">
          <ac:chgData name="Aurelien Domont" userId="6da7715ce44349b3" providerId="LiveId" clId="{AFF9B0D5-CA7D-40FB-964A-23276295459E}" dt="2021-06-30T06:22:40.027" v="286" actId="478"/>
          <ac:spMkLst>
            <pc:docMk/>
            <pc:sldMk cId="499002002" sldId="2152"/>
            <ac:spMk id="12" creationId="{32589ACC-367A-4FC4-AF85-D207DC2C0B91}"/>
          </ac:spMkLst>
        </pc:spChg>
        <pc:picChg chg="add del">
          <ac:chgData name="Aurelien Domont" userId="6da7715ce44349b3" providerId="LiveId" clId="{AFF9B0D5-CA7D-40FB-964A-23276295459E}" dt="2021-06-30T06:22:40.342" v="287" actId="478"/>
          <ac:picMkLst>
            <pc:docMk/>
            <pc:sldMk cId="499002002" sldId="2152"/>
            <ac:picMk id="4" creationId="{7287037B-4A3D-4DBB-9F70-BEF5F5A84640}"/>
          </ac:picMkLst>
        </pc:picChg>
        <pc:picChg chg="add del">
          <ac:chgData name="Aurelien Domont" userId="6da7715ce44349b3" providerId="LiveId" clId="{AFF9B0D5-CA7D-40FB-964A-23276295459E}" dt="2021-06-30T06:22:40.342" v="287" actId="478"/>
          <ac:picMkLst>
            <pc:docMk/>
            <pc:sldMk cId="499002002" sldId="2152"/>
            <ac:picMk id="15" creationId="{F83CBCF3-4B58-4A3F-B9ED-87BE026B0DA1}"/>
          </ac:picMkLst>
        </pc:picChg>
      </pc:sldChg>
      <pc:sldChg chg="addSp delSp modSp new del mod">
        <pc:chgData name="Aurelien Domont" userId="6da7715ce44349b3" providerId="LiveId" clId="{AFF9B0D5-CA7D-40FB-964A-23276295459E}" dt="2021-06-30T06:18:25.702" v="249" actId="47"/>
        <pc:sldMkLst>
          <pc:docMk/>
          <pc:sldMk cId="1079529072" sldId="2152"/>
        </pc:sldMkLst>
        <pc:spChg chg="add mod topLvl">
          <ac:chgData name="Aurelien Domont" userId="6da7715ce44349b3" providerId="LiveId" clId="{AFF9B0D5-CA7D-40FB-964A-23276295459E}" dt="2021-06-30T06:15:58.356" v="198" actId="165"/>
          <ac:spMkLst>
            <pc:docMk/>
            <pc:sldMk cId="1079529072" sldId="2152"/>
            <ac:spMk id="3" creationId="{CF43C6FA-0591-4BE9-A5C4-7786E002FF59}"/>
          </ac:spMkLst>
        </pc:spChg>
        <pc:spChg chg="add mod topLvl">
          <ac:chgData name="Aurelien Domont" userId="6da7715ce44349b3" providerId="LiveId" clId="{AFF9B0D5-CA7D-40FB-964A-23276295459E}" dt="2021-06-30T06:15:58.356" v="198" actId="165"/>
          <ac:spMkLst>
            <pc:docMk/>
            <pc:sldMk cId="1079529072" sldId="2152"/>
            <ac:spMk id="4" creationId="{0E548A46-549E-4D17-91B0-5979C8C470E4}"/>
          </ac:spMkLst>
        </pc:spChg>
        <pc:spChg chg="add mod topLvl">
          <ac:chgData name="Aurelien Domont" userId="6da7715ce44349b3" providerId="LiveId" clId="{AFF9B0D5-CA7D-40FB-964A-23276295459E}" dt="2021-06-30T06:15:58.356" v="198" actId="165"/>
          <ac:spMkLst>
            <pc:docMk/>
            <pc:sldMk cId="1079529072" sldId="2152"/>
            <ac:spMk id="5" creationId="{C281BB53-5F57-4B97-BB10-408D3894BC41}"/>
          </ac:spMkLst>
        </pc:spChg>
        <pc:spChg chg="add mod topLvl">
          <ac:chgData name="Aurelien Domont" userId="6da7715ce44349b3" providerId="LiveId" clId="{AFF9B0D5-CA7D-40FB-964A-23276295459E}" dt="2021-06-30T06:15:58.356" v="198" actId="165"/>
          <ac:spMkLst>
            <pc:docMk/>
            <pc:sldMk cId="1079529072" sldId="2152"/>
            <ac:spMk id="6" creationId="{599E4546-6399-45FC-81A4-133A2AA6F9F3}"/>
          </ac:spMkLst>
        </pc:spChg>
        <pc:spChg chg="add mod topLvl">
          <ac:chgData name="Aurelien Domont" userId="6da7715ce44349b3" providerId="LiveId" clId="{AFF9B0D5-CA7D-40FB-964A-23276295459E}" dt="2021-06-30T06:15:58.356" v="198" actId="165"/>
          <ac:spMkLst>
            <pc:docMk/>
            <pc:sldMk cId="1079529072" sldId="2152"/>
            <ac:spMk id="7" creationId="{CAB1C18A-C845-4A0D-94BE-31ADBE5D6B09}"/>
          </ac:spMkLst>
        </pc:spChg>
        <pc:spChg chg="add mod topLvl">
          <ac:chgData name="Aurelien Domont" userId="6da7715ce44349b3" providerId="LiveId" clId="{AFF9B0D5-CA7D-40FB-964A-23276295459E}" dt="2021-06-30T06:15:58.356" v="198" actId="165"/>
          <ac:spMkLst>
            <pc:docMk/>
            <pc:sldMk cId="1079529072" sldId="2152"/>
            <ac:spMk id="8" creationId="{D48F98B2-5CA6-4787-A2BD-26448B46AFE7}"/>
          </ac:spMkLst>
        </pc:spChg>
        <pc:spChg chg="add mod topLvl">
          <ac:chgData name="Aurelien Domont" userId="6da7715ce44349b3" providerId="LiveId" clId="{AFF9B0D5-CA7D-40FB-964A-23276295459E}" dt="2021-06-30T06:15:58.356" v="198" actId="165"/>
          <ac:spMkLst>
            <pc:docMk/>
            <pc:sldMk cId="1079529072" sldId="2152"/>
            <ac:spMk id="9" creationId="{28A506C0-264A-44BE-B9FF-32F419364B7F}"/>
          </ac:spMkLst>
        </pc:spChg>
        <pc:grpChg chg="add del mod">
          <ac:chgData name="Aurelien Domont" userId="6da7715ce44349b3" providerId="LiveId" clId="{AFF9B0D5-CA7D-40FB-964A-23276295459E}" dt="2021-06-30T06:15:58.356" v="198" actId="165"/>
          <ac:grpSpMkLst>
            <pc:docMk/>
            <pc:sldMk cId="1079529072" sldId="2152"/>
            <ac:grpSpMk id="11" creationId="{DAAE80CC-1F10-4441-80ED-A8C953A8E66E}"/>
          </ac:grpSpMkLst>
        </pc:grpChg>
        <pc:picChg chg="add mod topLvl">
          <ac:chgData name="Aurelien Domont" userId="6da7715ce44349b3" providerId="LiveId" clId="{AFF9B0D5-CA7D-40FB-964A-23276295459E}" dt="2021-06-30T06:16:11.011" v="199" actId="14861"/>
          <ac:picMkLst>
            <pc:docMk/>
            <pc:sldMk cId="1079529072" sldId="2152"/>
            <ac:picMk id="10" creationId="{20DA1ADD-5604-4967-B919-F736237C278D}"/>
          </ac:picMkLst>
        </pc:picChg>
      </pc:sldChg>
      <pc:sldChg chg="add del">
        <pc:chgData name="Aurelien Domont" userId="6da7715ce44349b3" providerId="LiveId" clId="{AFF9B0D5-CA7D-40FB-964A-23276295459E}" dt="2021-06-30T06:19:04.001" v="266"/>
        <pc:sldMkLst>
          <pc:docMk/>
          <pc:sldMk cId="1174277358" sldId="2152"/>
        </pc:sldMkLst>
      </pc:sldChg>
      <pc:sldChg chg="add del">
        <pc:chgData name="Aurelien Domont" userId="6da7715ce44349b3" providerId="LiveId" clId="{AFF9B0D5-CA7D-40FB-964A-23276295459E}" dt="2021-06-30T06:20:29.485" v="269"/>
        <pc:sldMkLst>
          <pc:docMk/>
          <pc:sldMk cId="1738739629" sldId="2152"/>
        </pc:sldMkLst>
      </pc:sldChg>
      <pc:sldChg chg="addSp delSp modSp new del">
        <pc:chgData name="Aurelien Domont" userId="6da7715ce44349b3" providerId="LiveId" clId="{AFF9B0D5-CA7D-40FB-964A-23276295459E}" dt="2021-07-02T08:38:32.427" v="5616" actId="47"/>
        <pc:sldMkLst>
          <pc:docMk/>
          <pc:sldMk cId="212722849" sldId="2153"/>
        </pc:sldMkLst>
        <pc:spChg chg="add del mod">
          <ac:chgData name="Aurelien Domont" userId="6da7715ce44349b3" providerId="LiveId" clId="{AFF9B0D5-CA7D-40FB-964A-23276295459E}" dt="2021-06-30T06:22:40.557" v="288"/>
          <ac:spMkLst>
            <pc:docMk/>
            <pc:sldMk cId="212722849" sldId="2153"/>
            <ac:spMk id="3" creationId="{9FE483B3-EF45-4406-A47C-3268F0637E49}"/>
          </ac:spMkLst>
        </pc:spChg>
        <pc:picChg chg="add del mod">
          <ac:chgData name="Aurelien Domont" userId="6da7715ce44349b3" providerId="LiveId" clId="{AFF9B0D5-CA7D-40FB-964A-23276295459E}" dt="2021-06-30T06:22:40.557" v="288"/>
          <ac:picMkLst>
            <pc:docMk/>
            <pc:sldMk cId="212722849" sldId="2153"/>
            <ac:picMk id="4" creationId="{D20ED5B9-CE25-466F-BDC9-FC1CAD9807ED}"/>
          </ac:picMkLst>
        </pc:picChg>
      </pc:sldChg>
      <pc:sldChg chg="add del">
        <pc:chgData name="Aurelien Domont" userId="6da7715ce44349b3" providerId="LiveId" clId="{AFF9B0D5-CA7D-40FB-964A-23276295459E}" dt="2021-07-02T08:38:32.427" v="5616" actId="47"/>
        <pc:sldMkLst>
          <pc:docMk/>
          <pc:sldMk cId="2788949543" sldId="2154"/>
        </pc:sldMkLst>
      </pc:sldChg>
      <pc:sldChg chg="add del">
        <pc:chgData name="Aurelien Domont" userId="6da7715ce44349b3" providerId="LiveId" clId="{AFF9B0D5-CA7D-40FB-964A-23276295459E}" dt="2021-07-02T08:38:32.427" v="5616" actId="47"/>
        <pc:sldMkLst>
          <pc:docMk/>
          <pc:sldMk cId="2076438646" sldId="2155"/>
        </pc:sldMkLst>
      </pc:sldChg>
      <pc:sldChg chg="add del">
        <pc:chgData name="Aurelien Domont" userId="6da7715ce44349b3" providerId="LiveId" clId="{AFF9B0D5-CA7D-40FB-964A-23276295459E}" dt="2021-07-02T08:38:32.427" v="5616" actId="47"/>
        <pc:sldMkLst>
          <pc:docMk/>
          <pc:sldMk cId="311794488" sldId="2156"/>
        </pc:sldMkLst>
      </pc:sldChg>
      <pc:sldChg chg="addSp modSp add mod">
        <pc:chgData name="Aurelien Domont" userId="6da7715ce44349b3" providerId="LiveId" clId="{AFF9B0D5-CA7D-40FB-964A-23276295459E}" dt="2021-07-06T01:44:54.338" v="5972" actId="20577"/>
        <pc:sldMkLst>
          <pc:docMk/>
          <pc:sldMk cId="1479295029" sldId="2156"/>
        </pc:sldMkLst>
        <pc:spChg chg="mod">
          <ac:chgData name="Aurelien Domont" userId="6da7715ce44349b3" providerId="LiveId" clId="{AFF9B0D5-CA7D-40FB-964A-23276295459E}" dt="2021-07-06T01:38:39.396" v="5929"/>
          <ac:spMkLst>
            <pc:docMk/>
            <pc:sldMk cId="1479295029" sldId="2156"/>
            <ac:spMk id="21" creationId="{5441459A-A405-4F28-B7B1-512713FD1633}"/>
          </ac:spMkLst>
        </pc:spChg>
        <pc:spChg chg="mod">
          <ac:chgData name="Aurelien Domont" userId="6da7715ce44349b3" providerId="LiveId" clId="{AFF9B0D5-CA7D-40FB-964A-23276295459E}" dt="2021-07-06T01:44:54.338" v="5972" actId="20577"/>
          <ac:spMkLst>
            <pc:docMk/>
            <pc:sldMk cId="1479295029" sldId="2156"/>
            <ac:spMk id="22" creationId="{454D4616-4639-4B6A-A655-40C58ADFB3C6}"/>
          </ac:spMkLst>
        </pc:spChg>
        <pc:grpChg chg="add mod">
          <ac:chgData name="Aurelien Domont" userId="6da7715ce44349b3" providerId="LiveId" clId="{AFF9B0D5-CA7D-40FB-964A-23276295459E}" dt="2021-07-06T01:39:03.235" v="5930" actId="14100"/>
          <ac:grpSpMkLst>
            <pc:docMk/>
            <pc:sldMk cId="1479295029" sldId="2156"/>
            <ac:grpSpMk id="20" creationId="{AA53E7B7-0597-4D1D-B927-D58550764C11}"/>
          </ac:grpSpMkLst>
        </pc:grpChg>
        <pc:cxnChg chg="mod">
          <ac:chgData name="Aurelien Domont" userId="6da7715ce44349b3" providerId="LiveId" clId="{AFF9B0D5-CA7D-40FB-964A-23276295459E}" dt="2021-07-06T01:38:39.396" v="5929"/>
          <ac:cxnSpMkLst>
            <pc:docMk/>
            <pc:sldMk cId="1479295029" sldId="2156"/>
            <ac:cxnSpMk id="36" creationId="{D42EC322-7D8B-4E26-8DC7-14CE03A7E755}"/>
          </ac:cxnSpMkLst>
        </pc:cxnChg>
        <pc:cxnChg chg="mod">
          <ac:chgData name="Aurelien Domont" userId="6da7715ce44349b3" providerId="LiveId" clId="{AFF9B0D5-CA7D-40FB-964A-23276295459E}" dt="2021-07-06T01:38:39.396" v="5929"/>
          <ac:cxnSpMkLst>
            <pc:docMk/>
            <pc:sldMk cId="1479295029" sldId="2156"/>
            <ac:cxnSpMk id="37" creationId="{456DA9CA-DF33-4E58-86D2-7C5E7BC19849}"/>
          </ac:cxnSpMkLst>
        </pc:cxnChg>
      </pc:sldChg>
      <pc:sldChg chg="add del">
        <pc:chgData name="Aurelien Domont" userId="6da7715ce44349b3" providerId="LiveId" clId="{AFF9B0D5-CA7D-40FB-964A-23276295459E}" dt="2021-07-02T08:38:32.427" v="5616" actId="47"/>
        <pc:sldMkLst>
          <pc:docMk/>
          <pc:sldMk cId="869144979" sldId="2157"/>
        </pc:sldMkLst>
      </pc:sldChg>
      <pc:sldChg chg="modSp add del mod">
        <pc:chgData name="Aurelien Domont" userId="6da7715ce44349b3" providerId="LiveId" clId="{AFF9B0D5-CA7D-40FB-964A-23276295459E}" dt="2021-07-02T08:38:32.427" v="5616" actId="47"/>
        <pc:sldMkLst>
          <pc:docMk/>
          <pc:sldMk cId="2444710519" sldId="2158"/>
        </pc:sldMkLst>
        <pc:spChg chg="mod">
          <ac:chgData name="Aurelien Domont" userId="6da7715ce44349b3" providerId="LiveId" clId="{AFF9B0D5-CA7D-40FB-964A-23276295459E}" dt="2021-06-30T07:04:08.098" v="1631" actId="20577"/>
          <ac:spMkLst>
            <pc:docMk/>
            <pc:sldMk cId="2444710519" sldId="2158"/>
            <ac:spMk id="16" creationId="{6C2BB713-9637-4B9B-938F-E9768876782A}"/>
          </ac:spMkLst>
        </pc:spChg>
      </pc:sldChg>
      <pc:sldChg chg="add del">
        <pc:chgData name="Aurelien Domont" userId="6da7715ce44349b3" providerId="LiveId" clId="{AFF9B0D5-CA7D-40FB-964A-23276295459E}" dt="2021-07-02T08:38:32.427" v="5616" actId="47"/>
        <pc:sldMkLst>
          <pc:docMk/>
          <pc:sldMk cId="4165044782" sldId="2159"/>
        </pc:sldMkLst>
      </pc:sldChg>
      <pc:sldChg chg="addSp delSp modSp add mod">
        <pc:chgData name="Aurelien Domont" userId="6da7715ce44349b3" providerId="LiveId" clId="{AFF9B0D5-CA7D-40FB-964A-23276295459E}" dt="2021-07-06T01:18:16.491" v="5767" actId="20577"/>
        <pc:sldMkLst>
          <pc:docMk/>
          <pc:sldMk cId="1073937120" sldId="2160"/>
        </pc:sldMkLst>
        <pc:spChg chg="del">
          <ac:chgData name="Aurelien Domont" userId="6da7715ce44349b3" providerId="LiveId" clId="{AFF9B0D5-CA7D-40FB-964A-23276295459E}" dt="2021-07-02T06:10:08.170" v="2541" actId="478"/>
          <ac:spMkLst>
            <pc:docMk/>
            <pc:sldMk cId="1073937120" sldId="2160"/>
            <ac:spMk id="3" creationId="{769F5309-76A5-4DB3-A4CB-2C8F568AB01D}"/>
          </ac:spMkLst>
        </pc:spChg>
        <pc:spChg chg="mod">
          <ac:chgData name="Aurelien Domont" userId="6da7715ce44349b3" providerId="LiveId" clId="{AFF9B0D5-CA7D-40FB-964A-23276295459E}" dt="2021-07-06T01:17:40.515" v="5739" actId="20577"/>
          <ac:spMkLst>
            <pc:docMk/>
            <pc:sldMk cId="1073937120" sldId="2160"/>
            <ac:spMk id="16" creationId="{6C2BB713-9637-4B9B-938F-E9768876782A}"/>
          </ac:spMkLst>
        </pc:spChg>
        <pc:spChg chg="del">
          <ac:chgData name="Aurelien Domont" userId="6da7715ce44349b3" providerId="LiveId" clId="{AFF9B0D5-CA7D-40FB-964A-23276295459E}" dt="2021-07-02T06:10:08.170" v="2541" actId="478"/>
          <ac:spMkLst>
            <pc:docMk/>
            <pc:sldMk cId="1073937120" sldId="2160"/>
            <ac:spMk id="29" creationId="{F1ABDDA1-7406-4A3A-8D68-EEEA79F76892}"/>
          </ac:spMkLst>
        </pc:spChg>
        <pc:spChg chg="del">
          <ac:chgData name="Aurelien Domont" userId="6da7715ce44349b3" providerId="LiveId" clId="{AFF9B0D5-CA7D-40FB-964A-23276295459E}" dt="2021-07-02T06:10:10.938" v="2542" actId="478"/>
          <ac:spMkLst>
            <pc:docMk/>
            <pc:sldMk cId="1073937120" sldId="2160"/>
            <ac:spMk id="30" creationId="{A3A42F54-587B-4C2E-93F0-14AB9DDD5309}"/>
          </ac:spMkLst>
        </pc:spChg>
        <pc:spChg chg="add mod">
          <ac:chgData name="Aurelien Domont" userId="6da7715ce44349b3" providerId="LiveId" clId="{AFF9B0D5-CA7D-40FB-964A-23276295459E}" dt="2021-07-02T06:30:22.764" v="3328" actId="20577"/>
          <ac:spMkLst>
            <pc:docMk/>
            <pc:sldMk cId="1073937120" sldId="2160"/>
            <ac:spMk id="31" creationId="{80DB5C2A-CB4E-438A-8801-EB0869040D7B}"/>
          </ac:spMkLst>
        </pc:spChg>
        <pc:spChg chg="del">
          <ac:chgData name="Aurelien Domont" userId="6da7715ce44349b3" providerId="LiveId" clId="{AFF9B0D5-CA7D-40FB-964A-23276295459E}" dt="2021-07-02T06:10:08.170" v="2541" actId="478"/>
          <ac:spMkLst>
            <pc:docMk/>
            <pc:sldMk cId="1073937120" sldId="2160"/>
            <ac:spMk id="32" creationId="{EE6F0BF2-DC75-49E9-A69A-A91D25E3574E}"/>
          </ac:spMkLst>
        </pc:spChg>
        <pc:spChg chg="add mod">
          <ac:chgData name="Aurelien Domont" userId="6da7715ce44349b3" providerId="LiveId" clId="{AFF9B0D5-CA7D-40FB-964A-23276295459E}" dt="2021-07-06T01:18:08.553" v="5766" actId="1037"/>
          <ac:spMkLst>
            <pc:docMk/>
            <pc:sldMk cId="1073937120" sldId="2160"/>
            <ac:spMk id="33" creationId="{136CAC62-BD7A-4F23-AD5D-25BC893F5D06}"/>
          </ac:spMkLst>
        </pc:spChg>
        <pc:spChg chg="add mod">
          <ac:chgData name="Aurelien Domont" userId="6da7715ce44349b3" providerId="LiveId" clId="{AFF9B0D5-CA7D-40FB-964A-23276295459E}" dt="2021-07-06T01:18:08.553" v="5766" actId="1037"/>
          <ac:spMkLst>
            <pc:docMk/>
            <pc:sldMk cId="1073937120" sldId="2160"/>
            <ac:spMk id="34" creationId="{914710CC-43D0-40E4-BE38-8260007B17B9}"/>
          </ac:spMkLst>
        </pc:spChg>
        <pc:spChg chg="add mod">
          <ac:chgData name="Aurelien Domont" userId="6da7715ce44349b3" providerId="LiveId" clId="{AFF9B0D5-CA7D-40FB-964A-23276295459E}" dt="2021-07-06T01:18:08.553" v="5766" actId="1037"/>
          <ac:spMkLst>
            <pc:docMk/>
            <pc:sldMk cId="1073937120" sldId="2160"/>
            <ac:spMk id="35" creationId="{5DB60DCA-E97E-4CE1-BDE2-3F58612B673D}"/>
          </ac:spMkLst>
        </pc:spChg>
        <pc:spChg chg="add mod">
          <ac:chgData name="Aurelien Domont" userId="6da7715ce44349b3" providerId="LiveId" clId="{AFF9B0D5-CA7D-40FB-964A-23276295459E}" dt="2021-07-06T01:18:08.553" v="5766" actId="1037"/>
          <ac:spMkLst>
            <pc:docMk/>
            <pc:sldMk cId="1073937120" sldId="2160"/>
            <ac:spMk id="36" creationId="{F7C36D7A-1302-495A-B774-24A5AA9E12E9}"/>
          </ac:spMkLst>
        </pc:spChg>
        <pc:spChg chg="add mod">
          <ac:chgData name="Aurelien Domont" userId="6da7715ce44349b3" providerId="LiveId" clId="{AFF9B0D5-CA7D-40FB-964A-23276295459E}" dt="2021-07-06T01:18:08.553" v="5766" actId="1037"/>
          <ac:spMkLst>
            <pc:docMk/>
            <pc:sldMk cId="1073937120" sldId="2160"/>
            <ac:spMk id="37" creationId="{CD63437F-F6CC-47EB-B465-CD7C2718450E}"/>
          </ac:spMkLst>
        </pc:spChg>
        <pc:spChg chg="add mod">
          <ac:chgData name="Aurelien Domont" userId="6da7715ce44349b3" providerId="LiveId" clId="{AFF9B0D5-CA7D-40FB-964A-23276295459E}" dt="2021-07-06T01:18:08.553" v="5766" actId="1037"/>
          <ac:spMkLst>
            <pc:docMk/>
            <pc:sldMk cId="1073937120" sldId="2160"/>
            <ac:spMk id="38" creationId="{4C11F337-8F23-4C82-A3AC-E4155E5FF1FE}"/>
          </ac:spMkLst>
        </pc:spChg>
        <pc:spChg chg="add mod">
          <ac:chgData name="Aurelien Domont" userId="6da7715ce44349b3" providerId="LiveId" clId="{AFF9B0D5-CA7D-40FB-964A-23276295459E}" dt="2021-07-06T01:18:08.553" v="5766" actId="1037"/>
          <ac:spMkLst>
            <pc:docMk/>
            <pc:sldMk cId="1073937120" sldId="2160"/>
            <ac:spMk id="39" creationId="{7EFA4796-2F23-4499-ACA5-9E1468336A1C}"/>
          </ac:spMkLst>
        </pc:spChg>
        <pc:spChg chg="add mod">
          <ac:chgData name="Aurelien Domont" userId="6da7715ce44349b3" providerId="LiveId" clId="{AFF9B0D5-CA7D-40FB-964A-23276295459E}" dt="2021-07-06T01:18:08.553" v="5766" actId="1037"/>
          <ac:spMkLst>
            <pc:docMk/>
            <pc:sldMk cId="1073937120" sldId="2160"/>
            <ac:spMk id="40" creationId="{FB97BE99-9CA1-4E0F-8638-7537C1B51A33}"/>
          </ac:spMkLst>
        </pc:spChg>
        <pc:spChg chg="add mod">
          <ac:chgData name="Aurelien Domont" userId="6da7715ce44349b3" providerId="LiveId" clId="{AFF9B0D5-CA7D-40FB-964A-23276295459E}" dt="2021-07-06T01:18:08.553" v="5766" actId="1037"/>
          <ac:spMkLst>
            <pc:docMk/>
            <pc:sldMk cId="1073937120" sldId="2160"/>
            <ac:spMk id="41" creationId="{9659A567-73DB-4864-A2F9-26C32BFEA546}"/>
          </ac:spMkLst>
        </pc:spChg>
        <pc:spChg chg="add mod">
          <ac:chgData name="Aurelien Domont" userId="6da7715ce44349b3" providerId="LiveId" clId="{AFF9B0D5-CA7D-40FB-964A-23276295459E}" dt="2021-07-06T01:18:16.491" v="5767" actId="20577"/>
          <ac:spMkLst>
            <pc:docMk/>
            <pc:sldMk cId="1073937120" sldId="2160"/>
            <ac:spMk id="51" creationId="{7E31ED7F-C9D6-48C3-B1F3-EC53DABCBEF6}"/>
          </ac:spMkLst>
        </pc:spChg>
        <pc:grpChg chg="del">
          <ac:chgData name="Aurelien Domont" userId="6da7715ce44349b3" providerId="LiveId" clId="{AFF9B0D5-CA7D-40FB-964A-23276295459E}" dt="2021-07-02T06:10:08.170" v="2541" actId="478"/>
          <ac:grpSpMkLst>
            <pc:docMk/>
            <pc:sldMk cId="1073937120" sldId="2160"/>
            <ac:grpSpMk id="2" creationId="{CA5BE65C-4544-4880-A061-4D320C41F338}"/>
          </ac:grpSpMkLst>
        </pc:grpChg>
        <pc:grpChg chg="add mod">
          <ac:chgData name="Aurelien Domont" userId="6da7715ce44349b3" providerId="LiveId" clId="{AFF9B0D5-CA7D-40FB-964A-23276295459E}" dt="2021-07-06T01:18:08.553" v="5766" actId="1037"/>
          <ac:grpSpMkLst>
            <pc:docMk/>
            <pc:sldMk cId="1073937120" sldId="2160"/>
            <ac:grpSpMk id="4" creationId="{BD5EFEE5-15B1-4D1C-9CCE-C42E69F4F8C9}"/>
          </ac:grpSpMkLst>
        </pc:grpChg>
        <pc:picChg chg="add mod">
          <ac:chgData name="Aurelien Domont" userId="6da7715ce44349b3" providerId="LiveId" clId="{AFF9B0D5-CA7D-40FB-964A-23276295459E}" dt="2021-07-06T01:18:08.553" v="5766" actId="1037"/>
          <ac:picMkLst>
            <pc:docMk/>
            <pc:sldMk cId="1073937120" sldId="2160"/>
            <ac:picMk id="42" creationId="{31343271-C45F-467D-AA4A-4124839CA5E3}"/>
          </ac:picMkLst>
        </pc:picChg>
        <pc:picChg chg="add mod">
          <ac:chgData name="Aurelien Domont" userId="6da7715ce44349b3" providerId="LiveId" clId="{AFF9B0D5-CA7D-40FB-964A-23276295459E}" dt="2021-07-06T01:18:08.553" v="5766" actId="1037"/>
          <ac:picMkLst>
            <pc:docMk/>
            <pc:sldMk cId="1073937120" sldId="2160"/>
            <ac:picMk id="43" creationId="{50C1E75A-6425-4A9C-ABD3-BAFCF30AE0FC}"/>
          </ac:picMkLst>
        </pc:picChg>
        <pc:picChg chg="add mod">
          <ac:chgData name="Aurelien Domont" userId="6da7715ce44349b3" providerId="LiveId" clId="{AFF9B0D5-CA7D-40FB-964A-23276295459E}" dt="2021-07-06T01:18:08.553" v="5766" actId="1037"/>
          <ac:picMkLst>
            <pc:docMk/>
            <pc:sldMk cId="1073937120" sldId="2160"/>
            <ac:picMk id="44" creationId="{4D510F8B-D1F6-41E2-B9FD-D038A30AFC37}"/>
          </ac:picMkLst>
        </pc:picChg>
        <pc:picChg chg="add mod">
          <ac:chgData name="Aurelien Domont" userId="6da7715ce44349b3" providerId="LiveId" clId="{AFF9B0D5-CA7D-40FB-964A-23276295459E}" dt="2021-07-06T01:18:08.553" v="5766" actId="1037"/>
          <ac:picMkLst>
            <pc:docMk/>
            <pc:sldMk cId="1073937120" sldId="2160"/>
            <ac:picMk id="45" creationId="{18EBC665-B8FB-4DFC-B5CA-68E5E082DD4B}"/>
          </ac:picMkLst>
        </pc:picChg>
        <pc:picChg chg="add mod">
          <ac:chgData name="Aurelien Domont" userId="6da7715ce44349b3" providerId="LiveId" clId="{AFF9B0D5-CA7D-40FB-964A-23276295459E}" dt="2021-07-06T01:18:08.553" v="5766" actId="1037"/>
          <ac:picMkLst>
            <pc:docMk/>
            <pc:sldMk cId="1073937120" sldId="2160"/>
            <ac:picMk id="46" creationId="{DDD7D522-A1EE-4899-BEA4-A073505F8E80}"/>
          </ac:picMkLst>
        </pc:picChg>
        <pc:picChg chg="add mod">
          <ac:chgData name="Aurelien Domont" userId="6da7715ce44349b3" providerId="LiveId" clId="{AFF9B0D5-CA7D-40FB-964A-23276295459E}" dt="2021-07-06T01:18:08.553" v="5766" actId="1037"/>
          <ac:picMkLst>
            <pc:docMk/>
            <pc:sldMk cId="1073937120" sldId="2160"/>
            <ac:picMk id="47" creationId="{7099CF69-2587-4723-BDDC-C4F6D33AB3D2}"/>
          </ac:picMkLst>
        </pc:picChg>
        <pc:picChg chg="add mod">
          <ac:chgData name="Aurelien Domont" userId="6da7715ce44349b3" providerId="LiveId" clId="{AFF9B0D5-CA7D-40FB-964A-23276295459E}" dt="2021-07-06T01:18:08.553" v="5766" actId="1037"/>
          <ac:picMkLst>
            <pc:docMk/>
            <pc:sldMk cId="1073937120" sldId="2160"/>
            <ac:picMk id="48" creationId="{0FDD7080-CF55-4944-B213-9A68EF10F7F7}"/>
          </ac:picMkLst>
        </pc:picChg>
        <pc:picChg chg="add mod">
          <ac:chgData name="Aurelien Domont" userId="6da7715ce44349b3" providerId="LiveId" clId="{AFF9B0D5-CA7D-40FB-964A-23276295459E}" dt="2021-07-06T01:18:08.553" v="5766" actId="1037"/>
          <ac:picMkLst>
            <pc:docMk/>
            <pc:sldMk cId="1073937120" sldId="2160"/>
            <ac:picMk id="49" creationId="{9DAC47A1-5848-4981-80B4-EFBBC45F2565}"/>
          </ac:picMkLst>
        </pc:picChg>
        <pc:picChg chg="add mod">
          <ac:chgData name="Aurelien Domont" userId="6da7715ce44349b3" providerId="LiveId" clId="{AFF9B0D5-CA7D-40FB-964A-23276295459E}" dt="2021-07-06T01:18:08.553" v="5766" actId="1037"/>
          <ac:picMkLst>
            <pc:docMk/>
            <pc:sldMk cId="1073937120" sldId="2160"/>
            <ac:picMk id="50" creationId="{E2840E44-AE81-4EC8-A8F2-69A333075A70}"/>
          </ac:picMkLst>
        </pc:picChg>
      </pc:sldChg>
      <pc:sldChg chg="addSp delSp modSp add mod">
        <pc:chgData name="Aurelien Domont" userId="6da7715ce44349b3" providerId="LiveId" clId="{AFF9B0D5-CA7D-40FB-964A-23276295459E}" dt="2021-07-02T06:46:32.604" v="3988" actId="20577"/>
        <pc:sldMkLst>
          <pc:docMk/>
          <pc:sldMk cId="62308209" sldId="2161"/>
        </pc:sldMkLst>
        <pc:spChg chg="mod">
          <ac:chgData name="Aurelien Domont" userId="6da7715ce44349b3" providerId="LiveId" clId="{AFF9B0D5-CA7D-40FB-964A-23276295459E}" dt="2021-07-02T06:46:32.604" v="3988" actId="20577"/>
          <ac:spMkLst>
            <pc:docMk/>
            <pc:sldMk cId="62308209" sldId="2161"/>
            <ac:spMk id="16" creationId="{6C2BB713-9637-4B9B-938F-E9768876782A}"/>
          </ac:spMkLst>
        </pc:spChg>
        <pc:spChg chg="add mod">
          <ac:chgData name="Aurelien Domont" userId="6da7715ce44349b3" providerId="LiveId" clId="{AFF9B0D5-CA7D-40FB-964A-23276295459E}" dt="2021-07-02T06:40:58.844" v="3850" actId="404"/>
          <ac:spMkLst>
            <pc:docMk/>
            <pc:sldMk cId="62308209" sldId="2161"/>
            <ac:spMk id="26" creationId="{CA2E0E1F-11E9-4031-AA6D-14025F775F77}"/>
          </ac:spMkLst>
        </pc:spChg>
        <pc:spChg chg="add mod">
          <ac:chgData name="Aurelien Domont" userId="6da7715ce44349b3" providerId="LiveId" clId="{AFF9B0D5-CA7D-40FB-964A-23276295459E}" dt="2021-07-02T06:40:58.844" v="3850" actId="404"/>
          <ac:spMkLst>
            <pc:docMk/>
            <pc:sldMk cId="62308209" sldId="2161"/>
            <ac:spMk id="27" creationId="{196C8140-C22A-4B59-9D0E-7679D6D9A3E8}"/>
          </ac:spMkLst>
        </pc:spChg>
        <pc:spChg chg="add mod">
          <ac:chgData name="Aurelien Domont" userId="6da7715ce44349b3" providerId="LiveId" clId="{AFF9B0D5-CA7D-40FB-964A-23276295459E}" dt="2021-07-02T06:40:58.844" v="3850" actId="404"/>
          <ac:spMkLst>
            <pc:docMk/>
            <pc:sldMk cId="62308209" sldId="2161"/>
            <ac:spMk id="28" creationId="{32A2BFE8-85B3-4148-83BF-A51A301F6F94}"/>
          </ac:spMkLst>
        </pc:spChg>
        <pc:spChg chg="add mod">
          <ac:chgData name="Aurelien Domont" userId="6da7715ce44349b3" providerId="LiveId" clId="{AFF9B0D5-CA7D-40FB-964A-23276295459E}" dt="2021-07-02T06:40:58.844" v="3850" actId="404"/>
          <ac:spMkLst>
            <pc:docMk/>
            <pc:sldMk cId="62308209" sldId="2161"/>
            <ac:spMk id="29" creationId="{812B20EB-8ED9-486C-BDD9-E5ECC282D969}"/>
          </ac:spMkLst>
        </pc:spChg>
        <pc:spChg chg="add mod">
          <ac:chgData name="Aurelien Domont" userId="6da7715ce44349b3" providerId="LiveId" clId="{AFF9B0D5-CA7D-40FB-964A-23276295459E}" dt="2021-07-02T06:40:58.844" v="3850" actId="404"/>
          <ac:spMkLst>
            <pc:docMk/>
            <pc:sldMk cId="62308209" sldId="2161"/>
            <ac:spMk id="30" creationId="{97DDA4B4-EF57-42BB-898E-C548E3D6622E}"/>
          </ac:spMkLst>
        </pc:spChg>
        <pc:spChg chg="mod">
          <ac:chgData name="Aurelien Domont" userId="6da7715ce44349b3" providerId="LiveId" clId="{AFF9B0D5-CA7D-40FB-964A-23276295459E}" dt="2021-07-02T06:42:21.072" v="3900" actId="120"/>
          <ac:spMkLst>
            <pc:docMk/>
            <pc:sldMk cId="62308209" sldId="2161"/>
            <ac:spMk id="31" creationId="{80DB5C2A-CB4E-438A-8801-EB0869040D7B}"/>
          </ac:spMkLst>
        </pc:spChg>
        <pc:spChg chg="add mod">
          <ac:chgData name="Aurelien Domont" userId="6da7715ce44349b3" providerId="LiveId" clId="{AFF9B0D5-CA7D-40FB-964A-23276295459E}" dt="2021-07-02T06:40:58.844" v="3850" actId="404"/>
          <ac:spMkLst>
            <pc:docMk/>
            <pc:sldMk cId="62308209" sldId="2161"/>
            <ac:spMk id="32" creationId="{033F8E04-53E7-4A71-B4D6-FF10F98070ED}"/>
          </ac:spMkLst>
        </pc:spChg>
        <pc:spChg chg="del">
          <ac:chgData name="Aurelien Domont" userId="6da7715ce44349b3" providerId="LiveId" clId="{AFF9B0D5-CA7D-40FB-964A-23276295459E}" dt="2021-07-02T06:38:44.703" v="3846" actId="478"/>
          <ac:spMkLst>
            <pc:docMk/>
            <pc:sldMk cId="62308209" sldId="2161"/>
            <ac:spMk id="51" creationId="{7E31ED7F-C9D6-48C3-B1F3-EC53DABCBEF6}"/>
          </ac:spMkLst>
        </pc:spChg>
        <pc:spChg chg="add mod">
          <ac:chgData name="Aurelien Domont" userId="6da7715ce44349b3" providerId="LiveId" clId="{AFF9B0D5-CA7D-40FB-964A-23276295459E}" dt="2021-07-02T06:40:58.844" v="3850" actId="404"/>
          <ac:spMkLst>
            <pc:docMk/>
            <pc:sldMk cId="62308209" sldId="2161"/>
            <ac:spMk id="52" creationId="{B57B670F-66D2-4BBB-8ADD-DD425B918B4B}"/>
          </ac:spMkLst>
        </pc:spChg>
        <pc:spChg chg="add mod">
          <ac:chgData name="Aurelien Domont" userId="6da7715ce44349b3" providerId="LiveId" clId="{AFF9B0D5-CA7D-40FB-964A-23276295459E}" dt="2021-07-02T06:40:58.844" v="3850" actId="404"/>
          <ac:spMkLst>
            <pc:docMk/>
            <pc:sldMk cId="62308209" sldId="2161"/>
            <ac:spMk id="53" creationId="{8A071EFC-1A87-4FB3-A387-997200B32BCF}"/>
          </ac:spMkLst>
        </pc:spChg>
        <pc:spChg chg="add mod">
          <ac:chgData name="Aurelien Domont" userId="6da7715ce44349b3" providerId="LiveId" clId="{AFF9B0D5-CA7D-40FB-964A-23276295459E}" dt="2021-07-02T06:40:58.844" v="3850" actId="404"/>
          <ac:spMkLst>
            <pc:docMk/>
            <pc:sldMk cId="62308209" sldId="2161"/>
            <ac:spMk id="54" creationId="{E7D1A9F7-F376-48B5-ACD6-0ECF9A5D6033}"/>
          </ac:spMkLst>
        </pc:spChg>
        <pc:spChg chg="mod">
          <ac:chgData name="Aurelien Domont" userId="6da7715ce44349b3" providerId="LiveId" clId="{AFF9B0D5-CA7D-40FB-964A-23276295459E}" dt="2021-07-02T06:40:58.844" v="3850" actId="404"/>
          <ac:spMkLst>
            <pc:docMk/>
            <pc:sldMk cId="62308209" sldId="2161"/>
            <ac:spMk id="56" creationId="{8F580AAF-D82F-4402-8B8B-DF5D69E2E5AC}"/>
          </ac:spMkLst>
        </pc:spChg>
        <pc:spChg chg="mod">
          <ac:chgData name="Aurelien Domont" userId="6da7715ce44349b3" providerId="LiveId" clId="{AFF9B0D5-CA7D-40FB-964A-23276295459E}" dt="2021-07-02T06:40:58.844" v="3850" actId="404"/>
          <ac:spMkLst>
            <pc:docMk/>
            <pc:sldMk cId="62308209" sldId="2161"/>
            <ac:spMk id="57" creationId="{ED94E46C-75E5-4253-B48F-13AAF70595C9}"/>
          </ac:spMkLst>
        </pc:spChg>
        <pc:spChg chg="mod">
          <ac:chgData name="Aurelien Domont" userId="6da7715ce44349b3" providerId="LiveId" clId="{AFF9B0D5-CA7D-40FB-964A-23276295459E}" dt="2021-07-02T06:40:58.844" v="3850" actId="404"/>
          <ac:spMkLst>
            <pc:docMk/>
            <pc:sldMk cId="62308209" sldId="2161"/>
            <ac:spMk id="58" creationId="{91EFB211-2059-49C9-B55E-028664FF3920}"/>
          </ac:spMkLst>
        </pc:spChg>
        <pc:spChg chg="add mod">
          <ac:chgData name="Aurelien Domont" userId="6da7715ce44349b3" providerId="LiveId" clId="{AFF9B0D5-CA7D-40FB-964A-23276295459E}" dt="2021-07-02T06:42:28.885" v="3908" actId="1038"/>
          <ac:spMkLst>
            <pc:docMk/>
            <pc:sldMk cId="62308209" sldId="2161"/>
            <ac:spMk id="60" creationId="{6078E75A-95F9-4062-B971-DE37DF2475AE}"/>
          </ac:spMkLst>
        </pc:spChg>
        <pc:spChg chg="add mod">
          <ac:chgData name="Aurelien Domont" userId="6da7715ce44349b3" providerId="LiveId" clId="{AFF9B0D5-CA7D-40FB-964A-23276295459E}" dt="2021-07-02T06:42:42.024" v="3931" actId="1035"/>
          <ac:spMkLst>
            <pc:docMk/>
            <pc:sldMk cId="62308209" sldId="2161"/>
            <ac:spMk id="61" creationId="{EAB5CE94-774E-4911-BFC3-A660F1FCA6D3}"/>
          </ac:spMkLst>
        </pc:spChg>
        <pc:spChg chg="add mod">
          <ac:chgData name="Aurelien Domont" userId="6da7715ce44349b3" providerId="LiveId" clId="{AFF9B0D5-CA7D-40FB-964A-23276295459E}" dt="2021-07-02T06:42:33.856" v="3919" actId="1038"/>
          <ac:spMkLst>
            <pc:docMk/>
            <pc:sldMk cId="62308209" sldId="2161"/>
            <ac:spMk id="62" creationId="{ADE61CDA-E38F-4AB2-B7AD-D17F544B61C7}"/>
          </ac:spMkLst>
        </pc:spChg>
        <pc:spChg chg="add mod">
          <ac:chgData name="Aurelien Domont" userId="6da7715ce44349b3" providerId="LiveId" clId="{AFF9B0D5-CA7D-40FB-964A-23276295459E}" dt="2021-07-02T06:42:37.705" v="3924" actId="1038"/>
          <ac:spMkLst>
            <pc:docMk/>
            <pc:sldMk cId="62308209" sldId="2161"/>
            <ac:spMk id="63" creationId="{358A0373-39B5-474E-8421-DD6F0FB150FB}"/>
          </ac:spMkLst>
        </pc:spChg>
        <pc:spChg chg="add mod">
          <ac:chgData name="Aurelien Domont" userId="6da7715ce44349b3" providerId="LiveId" clId="{AFF9B0D5-CA7D-40FB-964A-23276295459E}" dt="2021-07-02T06:40:58.844" v="3850" actId="404"/>
          <ac:spMkLst>
            <pc:docMk/>
            <pc:sldMk cId="62308209" sldId="2161"/>
            <ac:spMk id="64" creationId="{9B3E9D2C-4278-4621-95A7-D27A6919FA86}"/>
          </ac:spMkLst>
        </pc:spChg>
        <pc:spChg chg="add mod">
          <ac:chgData name="Aurelien Domont" userId="6da7715ce44349b3" providerId="LiveId" clId="{AFF9B0D5-CA7D-40FB-964A-23276295459E}" dt="2021-07-02T06:42:47.446" v="3939" actId="1035"/>
          <ac:spMkLst>
            <pc:docMk/>
            <pc:sldMk cId="62308209" sldId="2161"/>
            <ac:spMk id="65" creationId="{B55073F2-1954-462C-A452-31F8233B9879}"/>
          </ac:spMkLst>
        </pc:spChg>
        <pc:spChg chg="add mod">
          <ac:chgData name="Aurelien Domont" userId="6da7715ce44349b3" providerId="LiveId" clId="{AFF9B0D5-CA7D-40FB-964A-23276295459E}" dt="2021-07-02T06:40:58.844" v="3850" actId="404"/>
          <ac:spMkLst>
            <pc:docMk/>
            <pc:sldMk cId="62308209" sldId="2161"/>
            <ac:spMk id="66" creationId="{796A31A2-C8F4-48B1-8462-32FD9A2EC610}"/>
          </ac:spMkLst>
        </pc:spChg>
        <pc:spChg chg="add mod">
          <ac:chgData name="Aurelien Domont" userId="6da7715ce44349b3" providerId="LiveId" clId="{AFF9B0D5-CA7D-40FB-964A-23276295459E}" dt="2021-07-02T06:40:58.844" v="3850" actId="404"/>
          <ac:spMkLst>
            <pc:docMk/>
            <pc:sldMk cId="62308209" sldId="2161"/>
            <ac:spMk id="72" creationId="{F3393F05-0676-4C98-8DAF-2DDEC3B3F675}"/>
          </ac:spMkLst>
        </pc:spChg>
        <pc:grpChg chg="add mod">
          <ac:chgData name="Aurelien Domont" userId="6da7715ce44349b3" providerId="LiveId" clId="{AFF9B0D5-CA7D-40FB-964A-23276295459E}" dt="2021-07-02T06:41:04.528" v="3851" actId="1076"/>
          <ac:grpSpMkLst>
            <pc:docMk/>
            <pc:sldMk cId="62308209" sldId="2161"/>
            <ac:grpSpMk id="2" creationId="{FFCD903C-2A8B-42A0-9428-7FD75FD8204A}"/>
          </ac:grpSpMkLst>
        </pc:grpChg>
        <pc:grpChg chg="del">
          <ac:chgData name="Aurelien Domont" userId="6da7715ce44349b3" providerId="LiveId" clId="{AFF9B0D5-CA7D-40FB-964A-23276295459E}" dt="2021-07-02T06:38:44.703" v="3846" actId="478"/>
          <ac:grpSpMkLst>
            <pc:docMk/>
            <pc:sldMk cId="62308209" sldId="2161"/>
            <ac:grpSpMk id="4" creationId="{BD5EFEE5-15B1-4D1C-9CCE-C42E69F4F8C9}"/>
          </ac:grpSpMkLst>
        </pc:grpChg>
        <pc:grpChg chg="add mod">
          <ac:chgData name="Aurelien Domont" userId="6da7715ce44349b3" providerId="LiveId" clId="{AFF9B0D5-CA7D-40FB-964A-23276295459E}" dt="2021-07-02T06:40:53.764" v="3848" actId="164"/>
          <ac:grpSpMkLst>
            <pc:docMk/>
            <pc:sldMk cId="62308209" sldId="2161"/>
            <ac:grpSpMk id="55" creationId="{5F173398-CF24-4A8B-BEFC-62A4F2CE4E3A}"/>
          </ac:grpSpMkLst>
        </pc:grpChg>
        <pc:picChg chg="add mod">
          <ac:chgData name="Aurelien Domont" userId="6da7715ce44349b3" providerId="LiveId" clId="{AFF9B0D5-CA7D-40FB-964A-23276295459E}" dt="2021-07-02T06:40:53.764" v="3848" actId="164"/>
          <ac:picMkLst>
            <pc:docMk/>
            <pc:sldMk cId="62308209" sldId="2161"/>
            <ac:picMk id="59" creationId="{92257B03-FF73-4623-89AC-5020CF4D5BC5}"/>
          </ac:picMkLst>
        </pc:picChg>
        <pc:picChg chg="add mod">
          <ac:chgData name="Aurelien Domont" userId="6da7715ce44349b3" providerId="LiveId" clId="{AFF9B0D5-CA7D-40FB-964A-23276295459E}" dt="2021-07-02T06:40:53.764" v="3848" actId="164"/>
          <ac:picMkLst>
            <pc:docMk/>
            <pc:sldMk cId="62308209" sldId="2161"/>
            <ac:picMk id="67" creationId="{59DE3361-E469-4F39-B393-EE897CA3545E}"/>
          </ac:picMkLst>
        </pc:picChg>
        <pc:picChg chg="add mod">
          <ac:chgData name="Aurelien Domont" userId="6da7715ce44349b3" providerId="LiveId" clId="{AFF9B0D5-CA7D-40FB-964A-23276295459E}" dt="2021-07-02T06:40:53.764" v="3848" actId="164"/>
          <ac:picMkLst>
            <pc:docMk/>
            <pc:sldMk cId="62308209" sldId="2161"/>
            <ac:picMk id="68" creationId="{E23B3C1A-4568-4858-A67F-5DB958054561}"/>
          </ac:picMkLst>
        </pc:picChg>
        <pc:picChg chg="add mod">
          <ac:chgData name="Aurelien Domont" userId="6da7715ce44349b3" providerId="LiveId" clId="{AFF9B0D5-CA7D-40FB-964A-23276295459E}" dt="2021-07-02T06:40:53.764" v="3848" actId="164"/>
          <ac:picMkLst>
            <pc:docMk/>
            <pc:sldMk cId="62308209" sldId="2161"/>
            <ac:picMk id="69" creationId="{427E90CE-7866-424A-B941-EF9E925D7355}"/>
          </ac:picMkLst>
        </pc:picChg>
        <pc:picChg chg="add mod">
          <ac:chgData name="Aurelien Domont" userId="6da7715ce44349b3" providerId="LiveId" clId="{AFF9B0D5-CA7D-40FB-964A-23276295459E}" dt="2021-07-02T06:40:53.764" v="3848" actId="164"/>
          <ac:picMkLst>
            <pc:docMk/>
            <pc:sldMk cId="62308209" sldId="2161"/>
            <ac:picMk id="70" creationId="{C9217D3E-347F-4A76-99E9-7D7CD95EF2C1}"/>
          </ac:picMkLst>
        </pc:picChg>
        <pc:picChg chg="add mod">
          <ac:chgData name="Aurelien Domont" userId="6da7715ce44349b3" providerId="LiveId" clId="{AFF9B0D5-CA7D-40FB-964A-23276295459E}" dt="2021-07-02T06:40:53.764" v="3848" actId="164"/>
          <ac:picMkLst>
            <pc:docMk/>
            <pc:sldMk cId="62308209" sldId="2161"/>
            <ac:picMk id="71" creationId="{F7AB70C5-DAFE-4354-8A89-D55658C61F19}"/>
          </ac:picMkLst>
        </pc:picChg>
      </pc:sldChg>
      <pc:sldChg chg="addSp delSp modSp add mod">
        <pc:chgData name="Aurelien Domont" userId="6da7715ce44349b3" providerId="LiveId" clId="{AFF9B0D5-CA7D-40FB-964A-23276295459E}" dt="2021-07-02T06:47:12.727" v="3991" actId="1036"/>
        <pc:sldMkLst>
          <pc:docMk/>
          <pc:sldMk cId="3272444503" sldId="2162"/>
        </pc:sldMkLst>
        <pc:spChg chg="mod">
          <ac:chgData name="Aurelien Domont" userId="6da7715ce44349b3" providerId="LiveId" clId="{AFF9B0D5-CA7D-40FB-964A-23276295459E}" dt="2021-07-02T06:43:36.925" v="3971" actId="20577"/>
          <ac:spMkLst>
            <pc:docMk/>
            <pc:sldMk cId="3272444503" sldId="2162"/>
            <ac:spMk id="16" creationId="{6C2BB713-9637-4B9B-938F-E9768876782A}"/>
          </ac:spMkLst>
        </pc:spChg>
        <pc:spChg chg="del">
          <ac:chgData name="Aurelien Domont" userId="6da7715ce44349b3" providerId="LiveId" clId="{AFF9B0D5-CA7D-40FB-964A-23276295459E}" dt="2021-07-02T06:43:47.718" v="3973" actId="478"/>
          <ac:spMkLst>
            <pc:docMk/>
            <pc:sldMk cId="3272444503" sldId="2162"/>
            <ac:spMk id="31" creationId="{80DB5C2A-CB4E-438A-8801-EB0869040D7B}"/>
          </ac:spMkLst>
        </pc:spChg>
        <pc:spChg chg="add mod">
          <ac:chgData name="Aurelien Domont" userId="6da7715ce44349b3" providerId="LiveId" clId="{AFF9B0D5-CA7D-40FB-964A-23276295459E}" dt="2021-07-02T06:47:12.727" v="3991" actId="1036"/>
          <ac:spMkLst>
            <pc:docMk/>
            <pc:sldMk cId="3272444503" sldId="2162"/>
            <ac:spMk id="34" creationId="{2B936149-E2A6-4141-A333-C5E1855245B1}"/>
          </ac:spMkLst>
        </pc:spChg>
        <pc:grpChg chg="del">
          <ac:chgData name="Aurelien Domont" userId="6da7715ce44349b3" providerId="LiveId" clId="{AFF9B0D5-CA7D-40FB-964A-23276295459E}" dt="2021-07-02T06:43:44.883" v="3972" actId="478"/>
          <ac:grpSpMkLst>
            <pc:docMk/>
            <pc:sldMk cId="3272444503" sldId="2162"/>
            <ac:grpSpMk id="2" creationId="{FFCD903C-2A8B-42A0-9428-7FD75FD8204A}"/>
          </ac:grpSpMkLst>
        </pc:grpChg>
      </pc:sldChg>
      <pc:sldChg chg="addSp modSp new del mod">
        <pc:chgData name="Aurelien Domont" userId="6da7715ce44349b3" providerId="LiveId" clId="{AFF9B0D5-CA7D-40FB-964A-23276295459E}" dt="2021-07-02T08:38:32.427" v="5616" actId="47"/>
        <pc:sldMkLst>
          <pc:docMk/>
          <pc:sldMk cId="2804548229" sldId="2163"/>
        </pc:sldMkLst>
        <pc:spChg chg="add mod">
          <ac:chgData name="Aurelien Domont" userId="6da7715ce44349b3" providerId="LiveId" clId="{AFF9B0D5-CA7D-40FB-964A-23276295459E}" dt="2021-07-02T06:47:42.087" v="3994" actId="207"/>
          <ac:spMkLst>
            <pc:docMk/>
            <pc:sldMk cId="2804548229" sldId="2163"/>
            <ac:spMk id="3" creationId="{A309BA6C-2CD1-4FF7-AEA6-6B4F4BAC4391}"/>
          </ac:spMkLst>
        </pc:spChg>
      </pc:sldChg>
      <pc:sldChg chg="addSp delSp modSp add mod">
        <pc:chgData name="Aurelien Domont" userId="6da7715ce44349b3" providerId="LiveId" clId="{AFF9B0D5-CA7D-40FB-964A-23276295459E}" dt="2021-07-06T01:53:34.327" v="6136" actId="20577"/>
        <pc:sldMkLst>
          <pc:docMk/>
          <pc:sldMk cId="3193088531" sldId="2164"/>
        </pc:sldMkLst>
        <pc:spChg chg="add mod">
          <ac:chgData name="Aurelien Domont" userId="6da7715ce44349b3" providerId="LiveId" clId="{AFF9B0D5-CA7D-40FB-964A-23276295459E}" dt="2021-07-02T06:54:01.482" v="4179"/>
          <ac:spMkLst>
            <pc:docMk/>
            <pc:sldMk cId="3193088531" sldId="2164"/>
            <ac:spMk id="6" creationId="{80C2FA24-C3FF-4F99-8694-BA262AB8070A}"/>
          </ac:spMkLst>
        </pc:spChg>
        <pc:spChg chg="add mod">
          <ac:chgData name="Aurelien Domont" userId="6da7715ce44349b3" providerId="LiveId" clId="{AFF9B0D5-CA7D-40FB-964A-23276295459E}" dt="2021-07-02T06:54:01.482" v="4179"/>
          <ac:spMkLst>
            <pc:docMk/>
            <pc:sldMk cId="3193088531" sldId="2164"/>
            <ac:spMk id="7" creationId="{AA474FA7-23F8-48D3-A4A1-46C7E7EF8CBF}"/>
          </ac:spMkLst>
        </pc:spChg>
        <pc:spChg chg="add mod">
          <ac:chgData name="Aurelien Domont" userId="6da7715ce44349b3" providerId="LiveId" clId="{AFF9B0D5-CA7D-40FB-964A-23276295459E}" dt="2021-07-02T06:54:01.482" v="4179"/>
          <ac:spMkLst>
            <pc:docMk/>
            <pc:sldMk cId="3193088531" sldId="2164"/>
            <ac:spMk id="8" creationId="{44D82846-5412-4854-9CE9-6BD4A4D3F201}"/>
          </ac:spMkLst>
        </pc:spChg>
        <pc:spChg chg="add mod">
          <ac:chgData name="Aurelien Domont" userId="6da7715ce44349b3" providerId="LiveId" clId="{AFF9B0D5-CA7D-40FB-964A-23276295459E}" dt="2021-07-02T06:54:01.482" v="4179"/>
          <ac:spMkLst>
            <pc:docMk/>
            <pc:sldMk cId="3193088531" sldId="2164"/>
            <ac:spMk id="10" creationId="{F6F130AE-016B-49E7-B056-02422308B35C}"/>
          </ac:spMkLst>
        </pc:spChg>
        <pc:spChg chg="add mod">
          <ac:chgData name="Aurelien Domont" userId="6da7715ce44349b3" providerId="LiveId" clId="{AFF9B0D5-CA7D-40FB-964A-23276295459E}" dt="2021-07-02T06:54:01.482" v="4179"/>
          <ac:spMkLst>
            <pc:docMk/>
            <pc:sldMk cId="3193088531" sldId="2164"/>
            <ac:spMk id="11" creationId="{381FC75F-03AC-4E06-95A5-77AA464D139B}"/>
          </ac:spMkLst>
        </pc:spChg>
        <pc:spChg chg="add mod">
          <ac:chgData name="Aurelien Domont" userId="6da7715ce44349b3" providerId="LiveId" clId="{AFF9B0D5-CA7D-40FB-964A-23276295459E}" dt="2021-07-02T06:54:01.482" v="4179"/>
          <ac:spMkLst>
            <pc:docMk/>
            <pc:sldMk cId="3193088531" sldId="2164"/>
            <ac:spMk id="12" creationId="{F22BF9F2-93B5-4D57-85D0-BA4BB3074ECE}"/>
          </ac:spMkLst>
        </pc:spChg>
        <pc:spChg chg="mod">
          <ac:chgData name="Aurelien Domont" userId="6da7715ce44349b3" providerId="LiveId" clId="{AFF9B0D5-CA7D-40FB-964A-23276295459E}" dt="2021-07-06T01:53:34.327" v="6136" actId="20577"/>
          <ac:spMkLst>
            <pc:docMk/>
            <pc:sldMk cId="3193088531" sldId="2164"/>
            <ac:spMk id="16" creationId="{6C2BB713-9637-4B9B-938F-E9768876782A}"/>
          </ac:spMkLst>
        </pc:spChg>
        <pc:spChg chg="del">
          <ac:chgData name="Aurelien Domont" userId="6da7715ce44349b3" providerId="LiveId" clId="{AFF9B0D5-CA7D-40FB-964A-23276295459E}" dt="2021-07-02T06:53:53.910" v="4178" actId="478"/>
          <ac:spMkLst>
            <pc:docMk/>
            <pc:sldMk cId="3193088531" sldId="2164"/>
            <ac:spMk id="34" creationId="{2B936149-E2A6-4141-A333-C5E1855245B1}"/>
          </ac:spMkLst>
        </pc:spChg>
        <pc:cxnChg chg="add mod">
          <ac:chgData name="Aurelien Domont" userId="6da7715ce44349b3" providerId="LiveId" clId="{AFF9B0D5-CA7D-40FB-964A-23276295459E}" dt="2021-07-02T06:54:01.482" v="4179"/>
          <ac:cxnSpMkLst>
            <pc:docMk/>
            <pc:sldMk cId="3193088531" sldId="2164"/>
            <ac:cxnSpMk id="9" creationId="{938E2F11-EEE6-4CE3-AA18-0A0EFEAFC83C}"/>
          </ac:cxnSpMkLst>
        </pc:cxnChg>
        <pc:cxnChg chg="add mod">
          <ac:chgData name="Aurelien Domont" userId="6da7715ce44349b3" providerId="LiveId" clId="{AFF9B0D5-CA7D-40FB-964A-23276295459E}" dt="2021-07-02T06:54:01.482" v="4179"/>
          <ac:cxnSpMkLst>
            <pc:docMk/>
            <pc:sldMk cId="3193088531" sldId="2164"/>
            <ac:cxnSpMk id="14" creationId="{BD538E77-947C-4FAE-B4B2-3DD1EF8F7624}"/>
          </ac:cxnSpMkLst>
        </pc:cxnChg>
      </pc:sldChg>
      <pc:sldChg chg="addSp delSp modSp add mod ord">
        <pc:chgData name="Aurelien Domont" userId="6da7715ce44349b3" providerId="LiveId" clId="{AFF9B0D5-CA7D-40FB-964A-23276295459E}" dt="2021-07-05T02:30:57.858" v="5704" actId="2085"/>
        <pc:sldMkLst>
          <pc:docMk/>
          <pc:sldMk cId="2400249224" sldId="2165"/>
        </pc:sldMkLst>
        <pc:spChg chg="add mod">
          <ac:chgData name="Aurelien Domont" userId="6da7715ce44349b3" providerId="LiveId" clId="{AFF9B0D5-CA7D-40FB-964A-23276295459E}" dt="2021-07-05T02:30:57.858" v="5704" actId="2085"/>
          <ac:spMkLst>
            <pc:docMk/>
            <pc:sldMk cId="2400249224" sldId="2165"/>
            <ac:spMk id="11" creationId="{C945D0E4-EB22-47D2-A223-70BD240B1835}"/>
          </ac:spMkLst>
        </pc:spChg>
        <pc:spChg chg="add mod">
          <ac:chgData name="Aurelien Domont" userId="6da7715ce44349b3" providerId="LiveId" clId="{AFF9B0D5-CA7D-40FB-964A-23276295459E}" dt="2021-07-02T08:08:32.337" v="5096" actId="1035"/>
          <ac:spMkLst>
            <pc:docMk/>
            <pc:sldMk cId="2400249224" sldId="2165"/>
            <ac:spMk id="12" creationId="{823B4944-65C4-4BB1-9DFE-E40E286EE30D}"/>
          </ac:spMkLst>
        </pc:spChg>
        <pc:spChg chg="mod">
          <ac:chgData name="Aurelien Domont" userId="6da7715ce44349b3" providerId="LiveId" clId="{AFF9B0D5-CA7D-40FB-964A-23276295459E}" dt="2021-07-02T08:06:29.897" v="5056"/>
          <ac:spMkLst>
            <pc:docMk/>
            <pc:sldMk cId="2400249224" sldId="2165"/>
            <ac:spMk id="16" creationId="{6C2BB713-9637-4B9B-938F-E9768876782A}"/>
          </ac:spMkLst>
        </pc:spChg>
        <pc:spChg chg="add mod">
          <ac:chgData name="Aurelien Domont" userId="6da7715ce44349b3" providerId="LiveId" clId="{AFF9B0D5-CA7D-40FB-964A-23276295459E}" dt="2021-07-05T02:30:57.858" v="5704" actId="2085"/>
          <ac:spMkLst>
            <pc:docMk/>
            <pc:sldMk cId="2400249224" sldId="2165"/>
            <ac:spMk id="18" creationId="{88429D78-7296-4BC5-B009-22D19FB81666}"/>
          </ac:spMkLst>
        </pc:spChg>
        <pc:spChg chg="add mod">
          <ac:chgData name="Aurelien Domont" userId="6da7715ce44349b3" providerId="LiveId" clId="{AFF9B0D5-CA7D-40FB-964A-23276295459E}" dt="2021-07-05T02:30:57.858" v="5704" actId="2085"/>
          <ac:spMkLst>
            <pc:docMk/>
            <pc:sldMk cId="2400249224" sldId="2165"/>
            <ac:spMk id="19" creationId="{D1342AC6-4D4C-4458-9891-9AB7B9818B31}"/>
          </ac:spMkLst>
        </pc:spChg>
        <pc:spChg chg="add mod">
          <ac:chgData name="Aurelien Domont" userId="6da7715ce44349b3" providerId="LiveId" clId="{AFF9B0D5-CA7D-40FB-964A-23276295459E}" dt="2021-07-05T02:30:57.858" v="5704" actId="2085"/>
          <ac:spMkLst>
            <pc:docMk/>
            <pc:sldMk cId="2400249224" sldId="2165"/>
            <ac:spMk id="20" creationId="{0C424759-6A53-4EB2-8AFA-918C5FBE1D15}"/>
          </ac:spMkLst>
        </pc:spChg>
        <pc:spChg chg="add del">
          <ac:chgData name="Aurelien Domont" userId="6da7715ce44349b3" providerId="LiveId" clId="{AFF9B0D5-CA7D-40FB-964A-23276295459E}" dt="2021-07-02T07:55:11.987" v="4633"/>
          <ac:spMkLst>
            <pc:docMk/>
            <pc:sldMk cId="2400249224" sldId="2165"/>
            <ac:spMk id="21" creationId="{15B7ADBE-C141-4946-B8B1-0AF5AA18ABAC}"/>
          </ac:spMkLst>
        </pc:spChg>
        <pc:spChg chg="add mod">
          <ac:chgData name="Aurelien Domont" userId="6da7715ce44349b3" providerId="LiveId" clId="{AFF9B0D5-CA7D-40FB-964A-23276295459E}" dt="2021-07-02T08:08:32.337" v="5096" actId="1035"/>
          <ac:spMkLst>
            <pc:docMk/>
            <pc:sldMk cId="2400249224" sldId="2165"/>
            <ac:spMk id="22" creationId="{2F78B30E-DA97-4E69-8F7E-6B67C7C7ACEC}"/>
          </ac:spMkLst>
        </pc:spChg>
        <pc:spChg chg="add mod">
          <ac:chgData name="Aurelien Domont" userId="6da7715ce44349b3" providerId="LiveId" clId="{AFF9B0D5-CA7D-40FB-964A-23276295459E}" dt="2021-07-02T08:08:32.337" v="5096" actId="1035"/>
          <ac:spMkLst>
            <pc:docMk/>
            <pc:sldMk cId="2400249224" sldId="2165"/>
            <ac:spMk id="23" creationId="{1EA029EC-6818-49F2-B572-01B2F5F20DEB}"/>
          </ac:spMkLst>
        </pc:spChg>
        <pc:spChg chg="add mod">
          <ac:chgData name="Aurelien Domont" userId="6da7715ce44349b3" providerId="LiveId" clId="{AFF9B0D5-CA7D-40FB-964A-23276295459E}" dt="2021-07-02T08:08:32.337" v="5096" actId="1035"/>
          <ac:spMkLst>
            <pc:docMk/>
            <pc:sldMk cId="2400249224" sldId="2165"/>
            <ac:spMk id="24" creationId="{C5DC413F-6B65-4481-B60E-C6DBB128152C}"/>
          </ac:spMkLst>
        </pc:spChg>
        <pc:spChg chg="add mod">
          <ac:chgData name="Aurelien Domont" userId="6da7715ce44349b3" providerId="LiveId" clId="{AFF9B0D5-CA7D-40FB-964A-23276295459E}" dt="2021-07-02T08:08:10.069" v="5081" actId="1036"/>
          <ac:spMkLst>
            <pc:docMk/>
            <pc:sldMk cId="2400249224" sldId="2165"/>
            <ac:spMk id="29" creationId="{29DBF3F6-943A-4401-86EA-08968460D530}"/>
          </ac:spMkLst>
        </pc:spChg>
        <pc:spChg chg="add mod">
          <ac:chgData name="Aurelien Domont" userId="6da7715ce44349b3" providerId="LiveId" clId="{AFF9B0D5-CA7D-40FB-964A-23276295459E}" dt="2021-07-02T08:08:10.069" v="5081" actId="1036"/>
          <ac:spMkLst>
            <pc:docMk/>
            <pc:sldMk cId="2400249224" sldId="2165"/>
            <ac:spMk id="30" creationId="{C38C2946-25FF-4699-86AA-50F5DEBCFD04}"/>
          </ac:spMkLst>
        </pc:spChg>
        <pc:spChg chg="add del">
          <ac:chgData name="Aurelien Domont" userId="6da7715ce44349b3" providerId="LiveId" clId="{AFF9B0D5-CA7D-40FB-964A-23276295459E}" dt="2021-07-02T07:57:50.851" v="4746" actId="478"/>
          <ac:spMkLst>
            <pc:docMk/>
            <pc:sldMk cId="2400249224" sldId="2165"/>
            <ac:spMk id="32" creationId="{FC195B7B-413E-45F8-B82B-FB042FA0BB43}"/>
          </ac:spMkLst>
        </pc:spChg>
        <pc:spChg chg="add del mod ord">
          <ac:chgData name="Aurelien Domont" userId="6da7715ce44349b3" providerId="LiveId" clId="{AFF9B0D5-CA7D-40FB-964A-23276295459E}" dt="2021-07-02T08:01:19.031" v="4891" actId="478"/>
          <ac:spMkLst>
            <pc:docMk/>
            <pc:sldMk cId="2400249224" sldId="2165"/>
            <ac:spMk id="33" creationId="{444D7D4A-170F-44FB-B38F-E61206D68C56}"/>
          </ac:spMkLst>
        </pc:spChg>
        <pc:spChg chg="del">
          <ac:chgData name="Aurelien Domont" userId="6da7715ce44349b3" providerId="LiveId" clId="{AFF9B0D5-CA7D-40FB-964A-23276295459E}" dt="2021-07-02T06:59:25.385" v="4284" actId="478"/>
          <ac:spMkLst>
            <pc:docMk/>
            <pc:sldMk cId="2400249224" sldId="2165"/>
            <ac:spMk id="34" creationId="{2B936149-E2A6-4141-A333-C5E1855245B1}"/>
          </ac:spMkLst>
        </pc:spChg>
        <pc:spChg chg="add del">
          <ac:chgData name="Aurelien Domont" userId="6da7715ce44349b3" providerId="LiveId" clId="{AFF9B0D5-CA7D-40FB-964A-23276295459E}" dt="2021-07-02T07:59:16.229" v="4864" actId="11529"/>
          <ac:spMkLst>
            <pc:docMk/>
            <pc:sldMk cId="2400249224" sldId="2165"/>
            <ac:spMk id="35" creationId="{9E5C7A3E-71D4-47F5-91B3-667217B31E98}"/>
          </ac:spMkLst>
        </pc:spChg>
        <pc:spChg chg="add del mod">
          <ac:chgData name="Aurelien Domont" userId="6da7715ce44349b3" providerId="LiveId" clId="{AFF9B0D5-CA7D-40FB-964A-23276295459E}" dt="2021-07-02T07:59:26.527" v="4867" actId="478"/>
          <ac:spMkLst>
            <pc:docMk/>
            <pc:sldMk cId="2400249224" sldId="2165"/>
            <ac:spMk id="36" creationId="{238A74CA-8FC4-45E2-BFB9-F2A11E0D838A}"/>
          </ac:spMkLst>
        </pc:spChg>
        <pc:spChg chg="add mod">
          <ac:chgData name="Aurelien Domont" userId="6da7715ce44349b3" providerId="LiveId" clId="{AFF9B0D5-CA7D-40FB-964A-23276295459E}" dt="2021-07-02T08:08:10.069" v="5081" actId="1036"/>
          <ac:spMkLst>
            <pc:docMk/>
            <pc:sldMk cId="2400249224" sldId="2165"/>
            <ac:spMk id="37" creationId="{E090C855-9260-479C-B65C-3952652E8DF4}"/>
          </ac:spMkLst>
        </pc:spChg>
        <pc:spChg chg="add del mod">
          <ac:chgData name="Aurelien Domont" userId="6da7715ce44349b3" providerId="LiveId" clId="{AFF9B0D5-CA7D-40FB-964A-23276295459E}" dt="2021-07-02T08:05:43.796" v="5041" actId="478"/>
          <ac:spMkLst>
            <pc:docMk/>
            <pc:sldMk cId="2400249224" sldId="2165"/>
            <ac:spMk id="50" creationId="{FED94474-2B2D-4855-8CBB-00860C129111}"/>
          </ac:spMkLst>
        </pc:spChg>
        <pc:spChg chg="add mod">
          <ac:chgData name="Aurelien Domont" userId="6da7715ce44349b3" providerId="LiveId" clId="{AFF9B0D5-CA7D-40FB-964A-23276295459E}" dt="2021-07-02T08:08:42.926" v="5098" actId="1036"/>
          <ac:spMkLst>
            <pc:docMk/>
            <pc:sldMk cId="2400249224" sldId="2165"/>
            <ac:spMk id="51" creationId="{89C21646-4673-48FC-8467-4C1C08EEAC56}"/>
          </ac:spMkLst>
        </pc:spChg>
        <pc:spChg chg="add mod">
          <ac:chgData name="Aurelien Domont" userId="6da7715ce44349b3" providerId="LiveId" clId="{AFF9B0D5-CA7D-40FB-964A-23276295459E}" dt="2021-07-02T08:08:42.926" v="5098" actId="1036"/>
          <ac:spMkLst>
            <pc:docMk/>
            <pc:sldMk cId="2400249224" sldId="2165"/>
            <ac:spMk id="54" creationId="{207750B2-0729-4BB5-BFF3-873815BFFE7B}"/>
          </ac:spMkLst>
        </pc:spChg>
        <pc:spChg chg="add mod">
          <ac:chgData name="Aurelien Domont" userId="6da7715ce44349b3" providerId="LiveId" clId="{AFF9B0D5-CA7D-40FB-964A-23276295459E}" dt="2021-07-02T08:08:42.926" v="5098" actId="1036"/>
          <ac:spMkLst>
            <pc:docMk/>
            <pc:sldMk cId="2400249224" sldId="2165"/>
            <ac:spMk id="55" creationId="{D510DCA3-5B46-483C-A161-635432637180}"/>
          </ac:spMkLst>
        </pc:spChg>
        <pc:spChg chg="add mod">
          <ac:chgData name="Aurelien Domont" userId="6da7715ce44349b3" providerId="LiveId" clId="{AFF9B0D5-CA7D-40FB-964A-23276295459E}" dt="2021-07-02T08:08:42.926" v="5098" actId="1036"/>
          <ac:spMkLst>
            <pc:docMk/>
            <pc:sldMk cId="2400249224" sldId="2165"/>
            <ac:spMk id="56" creationId="{149F8417-C82B-4D73-84CD-1D791D410559}"/>
          </ac:spMkLst>
        </pc:spChg>
        <pc:spChg chg="add mod ord">
          <ac:chgData name="Aurelien Domont" userId="6da7715ce44349b3" providerId="LiveId" clId="{AFF9B0D5-CA7D-40FB-964A-23276295459E}" dt="2021-07-02T08:08:10.069" v="5081" actId="1036"/>
          <ac:spMkLst>
            <pc:docMk/>
            <pc:sldMk cId="2400249224" sldId="2165"/>
            <ac:spMk id="57" creationId="{6881C0D3-7F7F-4F87-A07A-1B0585F319D1}"/>
          </ac:spMkLst>
        </pc:spChg>
        <pc:picChg chg="add mod">
          <ac:chgData name="Aurelien Domont" userId="6da7715ce44349b3" providerId="LiveId" clId="{AFF9B0D5-CA7D-40FB-964A-23276295459E}" dt="2021-07-05T02:29:59.750" v="5698" actId="207"/>
          <ac:picMkLst>
            <pc:docMk/>
            <pc:sldMk cId="2400249224" sldId="2165"/>
            <ac:picMk id="3" creationId="{71758693-EE1D-4F29-A184-12C0424C4705}"/>
          </ac:picMkLst>
        </pc:picChg>
        <pc:picChg chg="add del mod">
          <ac:chgData name="Aurelien Domont" userId="6da7715ce44349b3" providerId="LiveId" clId="{AFF9B0D5-CA7D-40FB-964A-23276295459E}" dt="2021-07-02T07:08:05.450" v="4316" actId="478"/>
          <ac:picMkLst>
            <pc:docMk/>
            <pc:sldMk cId="2400249224" sldId="2165"/>
            <ac:picMk id="6" creationId="{68AF59FD-3FDC-409A-A1AF-EA4C0C2E64DE}"/>
          </ac:picMkLst>
        </pc:picChg>
        <pc:picChg chg="add del mod">
          <ac:chgData name="Aurelien Domont" userId="6da7715ce44349b3" providerId="LiveId" clId="{AFF9B0D5-CA7D-40FB-964A-23276295459E}" dt="2021-07-02T07:07:56.221" v="4313" actId="478"/>
          <ac:picMkLst>
            <pc:docMk/>
            <pc:sldMk cId="2400249224" sldId="2165"/>
            <ac:picMk id="8" creationId="{8DD36EE1-7030-49BA-BB4D-CCA7286A4374}"/>
          </ac:picMkLst>
        </pc:picChg>
        <pc:picChg chg="add del mod">
          <ac:chgData name="Aurelien Domont" userId="6da7715ce44349b3" providerId="LiveId" clId="{AFF9B0D5-CA7D-40FB-964A-23276295459E}" dt="2021-07-02T07:08:56.841" v="4325" actId="478"/>
          <ac:picMkLst>
            <pc:docMk/>
            <pc:sldMk cId="2400249224" sldId="2165"/>
            <ac:picMk id="10" creationId="{85F68A0B-00ED-4E65-9593-2D230B1D8EEE}"/>
          </ac:picMkLst>
        </pc:picChg>
        <pc:picChg chg="add mod">
          <ac:chgData name="Aurelien Domont" userId="6da7715ce44349b3" providerId="LiveId" clId="{AFF9B0D5-CA7D-40FB-964A-23276295459E}" dt="2021-07-05T02:29:59.750" v="5698" actId="207"/>
          <ac:picMkLst>
            <pc:docMk/>
            <pc:sldMk cId="2400249224" sldId="2165"/>
            <ac:picMk id="14" creationId="{74CA0334-E7F2-4E00-8F48-A0C54D7E9AC0}"/>
          </ac:picMkLst>
        </pc:picChg>
        <pc:picChg chg="add mod">
          <ac:chgData name="Aurelien Domont" userId="6da7715ce44349b3" providerId="LiveId" clId="{AFF9B0D5-CA7D-40FB-964A-23276295459E}" dt="2021-07-05T02:29:59.750" v="5698" actId="207"/>
          <ac:picMkLst>
            <pc:docMk/>
            <pc:sldMk cId="2400249224" sldId="2165"/>
            <ac:picMk id="15" creationId="{70E9EE01-614F-4CDA-95D1-0894D8A6384F}"/>
          </ac:picMkLst>
        </pc:picChg>
        <pc:picChg chg="add mod">
          <ac:chgData name="Aurelien Domont" userId="6da7715ce44349b3" providerId="LiveId" clId="{AFF9B0D5-CA7D-40FB-964A-23276295459E}" dt="2021-07-05T02:29:59.750" v="5698" actId="207"/>
          <ac:picMkLst>
            <pc:docMk/>
            <pc:sldMk cId="2400249224" sldId="2165"/>
            <ac:picMk id="17" creationId="{2D239190-B59B-474E-8796-CC98D3CA8AC1}"/>
          </ac:picMkLst>
        </pc:picChg>
        <pc:picChg chg="add del">
          <ac:chgData name="Aurelien Domont" userId="6da7715ce44349b3" providerId="LiveId" clId="{AFF9B0D5-CA7D-40FB-964A-23276295459E}" dt="2021-07-02T07:55:13.760" v="4635"/>
          <ac:picMkLst>
            <pc:docMk/>
            <pc:sldMk cId="2400249224" sldId="2165"/>
            <ac:picMk id="25" creationId="{26A399CD-A245-4DA9-BECE-1559DC266587}"/>
          </ac:picMkLst>
        </pc:picChg>
        <pc:picChg chg="add del mod">
          <ac:chgData name="Aurelien Domont" userId="6da7715ce44349b3" providerId="LiveId" clId="{AFF9B0D5-CA7D-40FB-964A-23276295459E}" dt="2021-07-05T02:28:48.248" v="5694"/>
          <ac:picMkLst>
            <pc:docMk/>
            <pc:sldMk cId="2400249224" sldId="2165"/>
            <ac:picMk id="27" creationId="{11BF715A-C0A1-4715-8BF3-B03BF93E3FFA}"/>
          </ac:picMkLst>
        </pc:picChg>
        <pc:picChg chg="add mod">
          <ac:chgData name="Aurelien Domont" userId="6da7715ce44349b3" providerId="LiveId" clId="{AFF9B0D5-CA7D-40FB-964A-23276295459E}" dt="2021-07-02T08:08:10.069" v="5081" actId="1036"/>
          <ac:picMkLst>
            <pc:docMk/>
            <pc:sldMk cId="2400249224" sldId="2165"/>
            <ac:picMk id="3074" creationId="{0AC0D32F-D87D-4B83-8BFC-E6D05DAEC117}"/>
          </ac:picMkLst>
        </pc:picChg>
        <pc:picChg chg="add mod">
          <ac:chgData name="Aurelien Domont" userId="6da7715ce44349b3" providerId="LiveId" clId="{AFF9B0D5-CA7D-40FB-964A-23276295459E}" dt="2021-07-02T08:08:10.069" v="5081" actId="1036"/>
          <ac:picMkLst>
            <pc:docMk/>
            <pc:sldMk cId="2400249224" sldId="2165"/>
            <ac:picMk id="3078" creationId="{C3956BAD-05A7-4E7C-B3FC-6E893538FA78}"/>
          </ac:picMkLst>
        </pc:picChg>
        <pc:cxnChg chg="add del mod">
          <ac:chgData name="Aurelien Domont" userId="6da7715ce44349b3" providerId="LiveId" clId="{AFF9B0D5-CA7D-40FB-964A-23276295459E}" dt="2021-07-02T07:57:25.564" v="4736" actId="478"/>
          <ac:cxnSpMkLst>
            <pc:docMk/>
            <pc:sldMk cId="2400249224" sldId="2165"/>
            <ac:cxnSpMk id="27" creationId="{B7A3B84A-2CEC-4A7A-A610-139D3635DDB5}"/>
          </ac:cxnSpMkLst>
        </pc:cxnChg>
        <pc:cxnChg chg="add del mod">
          <ac:chgData name="Aurelien Domont" userId="6da7715ce44349b3" providerId="LiveId" clId="{AFF9B0D5-CA7D-40FB-964A-23276295459E}" dt="2021-07-02T07:57:25.564" v="4736" actId="478"/>
          <ac:cxnSpMkLst>
            <pc:docMk/>
            <pc:sldMk cId="2400249224" sldId="2165"/>
            <ac:cxnSpMk id="31" creationId="{FDA8CC01-A41B-4047-B592-7D020AFE2FFC}"/>
          </ac:cxnSpMkLst>
        </pc:cxnChg>
        <pc:cxnChg chg="add del mod">
          <ac:chgData name="Aurelien Domont" userId="6da7715ce44349b3" providerId="LiveId" clId="{AFF9B0D5-CA7D-40FB-964A-23276295459E}" dt="2021-07-02T08:01:25.443" v="4892" actId="478"/>
          <ac:cxnSpMkLst>
            <pc:docMk/>
            <pc:sldMk cId="2400249224" sldId="2165"/>
            <ac:cxnSpMk id="39" creationId="{0476287B-115F-4DFC-B17B-AAA1C5E7E386}"/>
          </ac:cxnSpMkLst>
        </pc:cxnChg>
        <pc:cxnChg chg="add del mod">
          <ac:chgData name="Aurelien Domont" userId="6da7715ce44349b3" providerId="LiveId" clId="{AFF9B0D5-CA7D-40FB-964A-23276295459E}" dt="2021-07-02T08:01:25.443" v="4892" actId="478"/>
          <ac:cxnSpMkLst>
            <pc:docMk/>
            <pc:sldMk cId="2400249224" sldId="2165"/>
            <ac:cxnSpMk id="41" creationId="{05928C74-AF54-46EB-892B-273FDA88C507}"/>
          </ac:cxnSpMkLst>
        </pc:cxnChg>
        <pc:cxnChg chg="add del mod">
          <ac:chgData name="Aurelien Domont" userId="6da7715ce44349b3" providerId="LiveId" clId="{AFF9B0D5-CA7D-40FB-964A-23276295459E}" dt="2021-07-02T08:01:25.443" v="4892" actId="478"/>
          <ac:cxnSpMkLst>
            <pc:docMk/>
            <pc:sldMk cId="2400249224" sldId="2165"/>
            <ac:cxnSpMk id="43" creationId="{2E0CAC20-5F97-4E91-93F7-E518B417FF6D}"/>
          </ac:cxnSpMkLst>
        </pc:cxnChg>
        <pc:cxnChg chg="add del mod">
          <ac:chgData name="Aurelien Domont" userId="6da7715ce44349b3" providerId="LiveId" clId="{AFF9B0D5-CA7D-40FB-964A-23276295459E}" dt="2021-07-02T08:01:25.443" v="4892" actId="478"/>
          <ac:cxnSpMkLst>
            <pc:docMk/>
            <pc:sldMk cId="2400249224" sldId="2165"/>
            <ac:cxnSpMk id="45" creationId="{6B6DD873-1562-4340-86C2-B2C023DEA74C}"/>
          </ac:cxnSpMkLst>
        </pc:cxnChg>
      </pc:sldChg>
      <pc:sldChg chg="add del">
        <pc:chgData name="Aurelien Domont" userId="6da7715ce44349b3" providerId="LiveId" clId="{AFF9B0D5-CA7D-40FB-964A-23276295459E}" dt="2021-07-02T08:38:32.427" v="5616" actId="47"/>
        <pc:sldMkLst>
          <pc:docMk/>
          <pc:sldMk cId="3057889348" sldId="2166"/>
        </pc:sldMkLst>
      </pc:sldChg>
      <pc:sldChg chg="addSp delSp modSp add mod">
        <pc:chgData name="Aurelien Domont" userId="6da7715ce44349b3" providerId="LiveId" clId="{AFF9B0D5-CA7D-40FB-964A-23276295459E}" dt="2021-07-06T01:59:26.933" v="6194" actId="478"/>
        <pc:sldMkLst>
          <pc:docMk/>
          <pc:sldMk cId="2369505737" sldId="2167"/>
        </pc:sldMkLst>
        <pc:spChg chg="add mod">
          <ac:chgData name="Aurelien Domont" userId="6da7715ce44349b3" providerId="LiveId" clId="{AFF9B0D5-CA7D-40FB-964A-23276295459E}" dt="2021-07-06T01:47:45.575" v="6014" actId="108"/>
          <ac:spMkLst>
            <pc:docMk/>
            <pc:sldMk cId="2369505737" sldId="2167"/>
            <ac:spMk id="6" creationId="{61BD4388-6F9D-4C31-90C2-680E7FD1FB33}"/>
          </ac:spMkLst>
        </pc:spChg>
        <pc:spChg chg="del">
          <ac:chgData name="Aurelien Domont" userId="6da7715ce44349b3" providerId="LiveId" clId="{AFF9B0D5-CA7D-40FB-964A-23276295459E}" dt="2021-07-02T07:53:15.492" v="4628" actId="478"/>
          <ac:spMkLst>
            <pc:docMk/>
            <pc:sldMk cId="2369505737" sldId="2167"/>
            <ac:spMk id="6" creationId="{80C2FA24-C3FF-4F99-8694-BA262AB8070A}"/>
          </ac:spMkLst>
        </pc:spChg>
        <pc:spChg chg="add mod">
          <ac:chgData name="Aurelien Domont" userId="6da7715ce44349b3" providerId="LiveId" clId="{AFF9B0D5-CA7D-40FB-964A-23276295459E}" dt="2021-07-02T08:36:17.101" v="5512"/>
          <ac:spMkLst>
            <pc:docMk/>
            <pc:sldMk cId="2369505737" sldId="2167"/>
            <ac:spMk id="7" creationId="{058165D9-C6C5-41CE-8E4E-2D521B573407}"/>
          </ac:spMkLst>
        </pc:spChg>
        <pc:spChg chg="del">
          <ac:chgData name="Aurelien Domont" userId="6da7715ce44349b3" providerId="LiveId" clId="{AFF9B0D5-CA7D-40FB-964A-23276295459E}" dt="2021-07-02T07:53:15.492" v="4628" actId="478"/>
          <ac:spMkLst>
            <pc:docMk/>
            <pc:sldMk cId="2369505737" sldId="2167"/>
            <ac:spMk id="7" creationId="{AA474FA7-23F8-48D3-A4A1-46C7E7EF8CBF}"/>
          </ac:spMkLst>
        </pc:spChg>
        <pc:spChg chg="del">
          <ac:chgData name="Aurelien Domont" userId="6da7715ce44349b3" providerId="LiveId" clId="{AFF9B0D5-CA7D-40FB-964A-23276295459E}" dt="2021-07-02T07:53:15.492" v="4628" actId="478"/>
          <ac:spMkLst>
            <pc:docMk/>
            <pc:sldMk cId="2369505737" sldId="2167"/>
            <ac:spMk id="8" creationId="{44D82846-5412-4854-9CE9-6BD4A4D3F201}"/>
          </ac:spMkLst>
        </pc:spChg>
        <pc:spChg chg="add mod">
          <ac:chgData name="Aurelien Domont" userId="6da7715ce44349b3" providerId="LiveId" clId="{AFF9B0D5-CA7D-40FB-964A-23276295459E}" dt="2021-07-02T08:36:17.101" v="5512"/>
          <ac:spMkLst>
            <pc:docMk/>
            <pc:sldMk cId="2369505737" sldId="2167"/>
            <ac:spMk id="8" creationId="{5E265501-976D-4DCF-A6F8-A1059EF162B8}"/>
          </ac:spMkLst>
        </pc:spChg>
        <pc:spChg chg="add mod">
          <ac:chgData name="Aurelien Domont" userId="6da7715ce44349b3" providerId="LiveId" clId="{AFF9B0D5-CA7D-40FB-964A-23276295459E}" dt="2021-07-02T08:36:17.101" v="5512"/>
          <ac:spMkLst>
            <pc:docMk/>
            <pc:sldMk cId="2369505737" sldId="2167"/>
            <ac:spMk id="10" creationId="{B4598AEF-78F8-475E-AC7D-E8372096BAB2}"/>
          </ac:spMkLst>
        </pc:spChg>
        <pc:spChg chg="del">
          <ac:chgData name="Aurelien Domont" userId="6da7715ce44349b3" providerId="LiveId" clId="{AFF9B0D5-CA7D-40FB-964A-23276295459E}" dt="2021-07-02T07:53:15.492" v="4628" actId="478"/>
          <ac:spMkLst>
            <pc:docMk/>
            <pc:sldMk cId="2369505737" sldId="2167"/>
            <ac:spMk id="10" creationId="{F6F130AE-016B-49E7-B056-02422308B35C}"/>
          </ac:spMkLst>
        </pc:spChg>
        <pc:spChg chg="del">
          <ac:chgData name="Aurelien Domont" userId="6da7715ce44349b3" providerId="LiveId" clId="{AFF9B0D5-CA7D-40FB-964A-23276295459E}" dt="2021-07-02T07:53:15.492" v="4628" actId="478"/>
          <ac:spMkLst>
            <pc:docMk/>
            <pc:sldMk cId="2369505737" sldId="2167"/>
            <ac:spMk id="11" creationId="{381FC75F-03AC-4E06-95A5-77AA464D139B}"/>
          </ac:spMkLst>
        </pc:spChg>
        <pc:spChg chg="add mod">
          <ac:chgData name="Aurelien Domont" userId="6da7715ce44349b3" providerId="LiveId" clId="{AFF9B0D5-CA7D-40FB-964A-23276295459E}" dt="2021-07-02T08:36:17.101" v="5512"/>
          <ac:spMkLst>
            <pc:docMk/>
            <pc:sldMk cId="2369505737" sldId="2167"/>
            <ac:spMk id="11" creationId="{45404312-C950-45DC-812F-5152B826E641}"/>
          </ac:spMkLst>
        </pc:spChg>
        <pc:spChg chg="add mod">
          <ac:chgData name="Aurelien Domont" userId="6da7715ce44349b3" providerId="LiveId" clId="{AFF9B0D5-CA7D-40FB-964A-23276295459E}" dt="2021-07-02T08:36:17.101" v="5512"/>
          <ac:spMkLst>
            <pc:docMk/>
            <pc:sldMk cId="2369505737" sldId="2167"/>
            <ac:spMk id="12" creationId="{19A483B2-8F29-40FE-8DE1-64429566E02B}"/>
          </ac:spMkLst>
        </pc:spChg>
        <pc:spChg chg="del">
          <ac:chgData name="Aurelien Domont" userId="6da7715ce44349b3" providerId="LiveId" clId="{AFF9B0D5-CA7D-40FB-964A-23276295459E}" dt="2021-07-02T07:53:15.492" v="4628" actId="478"/>
          <ac:spMkLst>
            <pc:docMk/>
            <pc:sldMk cId="2369505737" sldId="2167"/>
            <ac:spMk id="12" creationId="{F22BF9F2-93B5-4D57-85D0-BA4BB3074ECE}"/>
          </ac:spMkLst>
        </pc:spChg>
        <pc:spChg chg="add del mod ord">
          <ac:chgData name="Aurelien Domont" userId="6da7715ce44349b3" providerId="LiveId" clId="{AFF9B0D5-CA7D-40FB-964A-23276295459E}" dt="2021-07-06T01:59:26.933" v="6194" actId="478"/>
          <ac:spMkLst>
            <pc:docMk/>
            <pc:sldMk cId="2369505737" sldId="2167"/>
            <ac:spMk id="15" creationId="{173F3409-5225-450B-9E19-0E199D73E9FA}"/>
          </ac:spMkLst>
        </pc:spChg>
        <pc:spChg chg="mod">
          <ac:chgData name="Aurelien Domont" userId="6da7715ce44349b3" providerId="LiveId" clId="{AFF9B0D5-CA7D-40FB-964A-23276295459E}" dt="2021-07-06T01:47:52.453" v="6024" actId="20577"/>
          <ac:spMkLst>
            <pc:docMk/>
            <pc:sldMk cId="2369505737" sldId="2167"/>
            <ac:spMk id="16" creationId="{6C2BB713-9637-4B9B-938F-E9768876782A}"/>
          </ac:spMkLst>
        </pc:spChg>
        <pc:cxnChg chg="add mod">
          <ac:chgData name="Aurelien Domont" userId="6da7715ce44349b3" providerId="LiveId" clId="{AFF9B0D5-CA7D-40FB-964A-23276295459E}" dt="2021-07-02T08:36:17.101" v="5512"/>
          <ac:cxnSpMkLst>
            <pc:docMk/>
            <pc:sldMk cId="2369505737" sldId="2167"/>
            <ac:cxnSpMk id="9" creationId="{29940A68-0B12-4DB4-B6BF-26CE87860A62}"/>
          </ac:cxnSpMkLst>
        </pc:cxnChg>
        <pc:cxnChg chg="del">
          <ac:chgData name="Aurelien Domont" userId="6da7715ce44349b3" providerId="LiveId" clId="{AFF9B0D5-CA7D-40FB-964A-23276295459E}" dt="2021-07-02T07:53:15.492" v="4628" actId="478"/>
          <ac:cxnSpMkLst>
            <pc:docMk/>
            <pc:sldMk cId="2369505737" sldId="2167"/>
            <ac:cxnSpMk id="9" creationId="{938E2F11-EEE6-4CE3-AA18-0A0EFEAFC83C}"/>
          </ac:cxnSpMkLst>
        </pc:cxnChg>
        <pc:cxnChg chg="add mod">
          <ac:chgData name="Aurelien Domont" userId="6da7715ce44349b3" providerId="LiveId" clId="{AFF9B0D5-CA7D-40FB-964A-23276295459E}" dt="2021-07-02T08:36:17.101" v="5512"/>
          <ac:cxnSpMkLst>
            <pc:docMk/>
            <pc:sldMk cId="2369505737" sldId="2167"/>
            <ac:cxnSpMk id="14" creationId="{14CD9B99-0907-4DB9-B10F-F0E0E658423E}"/>
          </ac:cxnSpMkLst>
        </pc:cxnChg>
        <pc:cxnChg chg="del">
          <ac:chgData name="Aurelien Domont" userId="6da7715ce44349b3" providerId="LiveId" clId="{AFF9B0D5-CA7D-40FB-964A-23276295459E}" dt="2021-07-02T07:53:15.492" v="4628" actId="478"/>
          <ac:cxnSpMkLst>
            <pc:docMk/>
            <pc:sldMk cId="2369505737" sldId="2167"/>
            <ac:cxnSpMk id="14" creationId="{BD538E77-947C-4FAE-B4B2-3DD1EF8F7624}"/>
          </ac:cxnSpMkLst>
        </pc:cxnChg>
      </pc:sldChg>
      <pc:sldChg chg="delSp modSp add del mod">
        <pc:chgData name="Aurelien Domont" userId="6da7715ce44349b3" providerId="LiveId" clId="{AFF9B0D5-CA7D-40FB-964A-23276295459E}" dt="2021-07-06T02:00:42.042" v="6200" actId="47"/>
        <pc:sldMkLst>
          <pc:docMk/>
          <pc:sldMk cId="13669963" sldId="2168"/>
        </pc:sldMkLst>
        <pc:spChg chg="del">
          <ac:chgData name="Aurelien Domont" userId="6da7715ce44349b3" providerId="LiveId" clId="{AFF9B0D5-CA7D-40FB-964A-23276295459E}" dt="2021-07-02T08:37:15.437" v="5586" actId="478"/>
          <ac:spMkLst>
            <pc:docMk/>
            <pc:sldMk cId="13669963" sldId="2168"/>
            <ac:spMk id="6" creationId="{61BD4388-6F9D-4C31-90C2-680E7FD1FB33}"/>
          </ac:spMkLst>
        </pc:spChg>
        <pc:spChg chg="del">
          <ac:chgData name="Aurelien Domont" userId="6da7715ce44349b3" providerId="LiveId" clId="{AFF9B0D5-CA7D-40FB-964A-23276295459E}" dt="2021-07-02T08:37:15.437" v="5586" actId="478"/>
          <ac:spMkLst>
            <pc:docMk/>
            <pc:sldMk cId="13669963" sldId="2168"/>
            <ac:spMk id="7" creationId="{058165D9-C6C5-41CE-8E4E-2D521B573407}"/>
          </ac:spMkLst>
        </pc:spChg>
        <pc:spChg chg="del">
          <ac:chgData name="Aurelien Domont" userId="6da7715ce44349b3" providerId="LiveId" clId="{AFF9B0D5-CA7D-40FB-964A-23276295459E}" dt="2021-07-02T08:37:15.437" v="5586" actId="478"/>
          <ac:spMkLst>
            <pc:docMk/>
            <pc:sldMk cId="13669963" sldId="2168"/>
            <ac:spMk id="8" creationId="{5E265501-976D-4DCF-A6F8-A1059EF162B8}"/>
          </ac:spMkLst>
        </pc:spChg>
        <pc:spChg chg="del">
          <ac:chgData name="Aurelien Domont" userId="6da7715ce44349b3" providerId="LiveId" clId="{AFF9B0D5-CA7D-40FB-964A-23276295459E}" dt="2021-07-02T08:37:15.437" v="5586" actId="478"/>
          <ac:spMkLst>
            <pc:docMk/>
            <pc:sldMk cId="13669963" sldId="2168"/>
            <ac:spMk id="10" creationId="{B4598AEF-78F8-475E-AC7D-E8372096BAB2}"/>
          </ac:spMkLst>
        </pc:spChg>
        <pc:spChg chg="del">
          <ac:chgData name="Aurelien Domont" userId="6da7715ce44349b3" providerId="LiveId" clId="{AFF9B0D5-CA7D-40FB-964A-23276295459E}" dt="2021-07-02T08:37:15.437" v="5586" actId="478"/>
          <ac:spMkLst>
            <pc:docMk/>
            <pc:sldMk cId="13669963" sldId="2168"/>
            <ac:spMk id="11" creationId="{45404312-C950-45DC-812F-5152B826E641}"/>
          </ac:spMkLst>
        </pc:spChg>
        <pc:spChg chg="del">
          <ac:chgData name="Aurelien Domont" userId="6da7715ce44349b3" providerId="LiveId" clId="{AFF9B0D5-CA7D-40FB-964A-23276295459E}" dt="2021-07-02T08:37:15.437" v="5586" actId="478"/>
          <ac:spMkLst>
            <pc:docMk/>
            <pc:sldMk cId="13669963" sldId="2168"/>
            <ac:spMk id="12" creationId="{19A483B2-8F29-40FE-8DE1-64429566E02B}"/>
          </ac:spMkLst>
        </pc:spChg>
        <pc:spChg chg="mod">
          <ac:chgData name="Aurelien Domont" userId="6da7715ce44349b3" providerId="LiveId" clId="{AFF9B0D5-CA7D-40FB-964A-23276295459E}" dt="2021-07-02T08:37:54.411" v="5615" actId="20577"/>
          <ac:spMkLst>
            <pc:docMk/>
            <pc:sldMk cId="13669963" sldId="2168"/>
            <ac:spMk id="16" creationId="{6C2BB713-9637-4B9B-938F-E9768876782A}"/>
          </ac:spMkLst>
        </pc:spChg>
        <pc:cxnChg chg="del">
          <ac:chgData name="Aurelien Domont" userId="6da7715ce44349b3" providerId="LiveId" clId="{AFF9B0D5-CA7D-40FB-964A-23276295459E}" dt="2021-07-02T08:37:15.437" v="5586" actId="478"/>
          <ac:cxnSpMkLst>
            <pc:docMk/>
            <pc:sldMk cId="13669963" sldId="2168"/>
            <ac:cxnSpMk id="9" creationId="{29940A68-0B12-4DB4-B6BF-26CE87860A62}"/>
          </ac:cxnSpMkLst>
        </pc:cxnChg>
        <pc:cxnChg chg="del">
          <ac:chgData name="Aurelien Domont" userId="6da7715ce44349b3" providerId="LiveId" clId="{AFF9B0D5-CA7D-40FB-964A-23276295459E}" dt="2021-07-02T08:37:15.437" v="5586" actId="478"/>
          <ac:cxnSpMkLst>
            <pc:docMk/>
            <pc:sldMk cId="13669963" sldId="2168"/>
            <ac:cxnSpMk id="14" creationId="{14CD9B99-0907-4DB9-B10F-F0E0E658423E}"/>
          </ac:cxnSpMkLst>
        </pc:cxnChg>
      </pc:sldChg>
      <pc:sldChg chg="add del">
        <pc:chgData name="Aurelien Domont" userId="6da7715ce44349b3" providerId="LiveId" clId="{AFF9B0D5-CA7D-40FB-964A-23276295459E}" dt="2021-07-02T08:08:59.746" v="5100" actId="47"/>
        <pc:sldMkLst>
          <pc:docMk/>
          <pc:sldMk cId="2135055012" sldId="2168"/>
        </pc:sldMkLst>
      </pc:sldChg>
      <pc:sldChg chg="add del">
        <pc:chgData name="Aurelien Domont" userId="6da7715ce44349b3" providerId="LiveId" clId="{AFF9B0D5-CA7D-40FB-964A-23276295459E}" dt="2021-07-02T08:04:53.695" v="5034" actId="47"/>
        <pc:sldMkLst>
          <pc:docMk/>
          <pc:sldMk cId="2939201030" sldId="2169"/>
        </pc:sldMkLst>
      </pc:sldChg>
      <pc:sldChg chg="add del">
        <pc:chgData name="Aurelien Domont" userId="6da7715ce44349b3" providerId="LiveId" clId="{AFF9B0D5-CA7D-40FB-964A-23276295459E}" dt="2021-07-02T08:08:58.802" v="5099" actId="47"/>
        <pc:sldMkLst>
          <pc:docMk/>
          <pc:sldMk cId="3735244596" sldId="2169"/>
        </pc:sldMkLst>
      </pc:sldChg>
      <pc:sldChg chg="addSp delSp modSp add mod">
        <pc:chgData name="Aurelien Domont" userId="6da7715ce44349b3" providerId="LiveId" clId="{AFF9B0D5-CA7D-40FB-964A-23276295459E}" dt="2021-07-06T03:56:46.026" v="6365" actId="20577"/>
        <pc:sldMkLst>
          <pc:docMk/>
          <pc:sldMk cId="4178836903" sldId="2169"/>
        </pc:sldMkLst>
        <pc:spChg chg="del">
          <ac:chgData name="Aurelien Domont" userId="6da7715ce44349b3" providerId="LiveId" clId="{AFF9B0D5-CA7D-40FB-964A-23276295459E}" dt="2021-07-02T08:39:20.765" v="5618" actId="478"/>
          <ac:spMkLst>
            <pc:docMk/>
            <pc:sldMk cId="4178836903" sldId="2169"/>
            <ac:spMk id="6" creationId="{61BD4388-6F9D-4C31-90C2-680E7FD1FB33}"/>
          </ac:spMkLst>
        </pc:spChg>
        <pc:spChg chg="del">
          <ac:chgData name="Aurelien Domont" userId="6da7715ce44349b3" providerId="LiveId" clId="{AFF9B0D5-CA7D-40FB-964A-23276295459E}" dt="2021-07-02T08:39:20.765" v="5618" actId="478"/>
          <ac:spMkLst>
            <pc:docMk/>
            <pc:sldMk cId="4178836903" sldId="2169"/>
            <ac:spMk id="7" creationId="{058165D9-C6C5-41CE-8E4E-2D521B573407}"/>
          </ac:spMkLst>
        </pc:spChg>
        <pc:spChg chg="mod">
          <ac:chgData name="Aurelien Domont" userId="6da7715ce44349b3" providerId="LiveId" clId="{AFF9B0D5-CA7D-40FB-964A-23276295459E}" dt="2021-07-06T01:49:58.373" v="6025"/>
          <ac:spMkLst>
            <pc:docMk/>
            <pc:sldMk cId="4178836903" sldId="2169"/>
            <ac:spMk id="7" creationId="{586EBA78-DFE9-49C7-BB2A-CBE2EE9B7FA1}"/>
          </ac:spMkLst>
        </pc:spChg>
        <pc:spChg chg="mod">
          <ac:chgData name="Aurelien Domont" userId="6da7715ce44349b3" providerId="LiveId" clId="{AFF9B0D5-CA7D-40FB-964A-23276295459E}" dt="2021-07-06T01:50:06.776" v="6038" actId="20577"/>
          <ac:spMkLst>
            <pc:docMk/>
            <pc:sldMk cId="4178836903" sldId="2169"/>
            <ac:spMk id="8" creationId="{349A5370-D44D-4891-B58A-A16D74C07572}"/>
          </ac:spMkLst>
        </pc:spChg>
        <pc:spChg chg="del">
          <ac:chgData name="Aurelien Domont" userId="6da7715ce44349b3" providerId="LiveId" clId="{AFF9B0D5-CA7D-40FB-964A-23276295459E}" dt="2021-07-02T08:39:20.765" v="5618" actId="478"/>
          <ac:spMkLst>
            <pc:docMk/>
            <pc:sldMk cId="4178836903" sldId="2169"/>
            <ac:spMk id="8" creationId="{5E265501-976D-4DCF-A6F8-A1059EF162B8}"/>
          </ac:spMkLst>
        </pc:spChg>
        <pc:spChg chg="del">
          <ac:chgData name="Aurelien Domont" userId="6da7715ce44349b3" providerId="LiveId" clId="{AFF9B0D5-CA7D-40FB-964A-23276295459E}" dt="2021-07-02T08:39:20.765" v="5618" actId="478"/>
          <ac:spMkLst>
            <pc:docMk/>
            <pc:sldMk cId="4178836903" sldId="2169"/>
            <ac:spMk id="10" creationId="{B4598AEF-78F8-475E-AC7D-E8372096BAB2}"/>
          </ac:spMkLst>
        </pc:spChg>
        <pc:spChg chg="del">
          <ac:chgData name="Aurelien Domont" userId="6da7715ce44349b3" providerId="LiveId" clId="{AFF9B0D5-CA7D-40FB-964A-23276295459E}" dt="2021-07-02T08:39:23.713" v="5619" actId="478"/>
          <ac:spMkLst>
            <pc:docMk/>
            <pc:sldMk cId="4178836903" sldId="2169"/>
            <ac:spMk id="11" creationId="{45404312-C950-45DC-812F-5152B826E641}"/>
          </ac:spMkLst>
        </pc:spChg>
        <pc:spChg chg="del">
          <ac:chgData name="Aurelien Domont" userId="6da7715ce44349b3" providerId="LiveId" clId="{AFF9B0D5-CA7D-40FB-964A-23276295459E}" dt="2021-07-02T08:39:20.765" v="5618" actId="478"/>
          <ac:spMkLst>
            <pc:docMk/>
            <pc:sldMk cId="4178836903" sldId="2169"/>
            <ac:spMk id="12" creationId="{19A483B2-8F29-40FE-8DE1-64429566E02B}"/>
          </ac:spMkLst>
        </pc:spChg>
        <pc:spChg chg="mod">
          <ac:chgData name="Aurelien Domont" userId="6da7715ce44349b3" providerId="LiveId" clId="{AFF9B0D5-CA7D-40FB-964A-23276295459E}" dt="2021-07-06T03:56:46.026" v="6365" actId="20577"/>
          <ac:spMkLst>
            <pc:docMk/>
            <pc:sldMk cId="4178836903" sldId="2169"/>
            <ac:spMk id="16" creationId="{6C2BB713-9637-4B9B-938F-E9768876782A}"/>
          </ac:spMkLst>
        </pc:spChg>
        <pc:grpChg chg="add mod">
          <ac:chgData name="Aurelien Domont" userId="6da7715ce44349b3" providerId="LiveId" clId="{AFF9B0D5-CA7D-40FB-964A-23276295459E}" dt="2021-07-06T01:49:58.373" v="6025"/>
          <ac:grpSpMkLst>
            <pc:docMk/>
            <pc:sldMk cId="4178836903" sldId="2169"/>
            <ac:grpSpMk id="6" creationId="{33747CCF-50E7-4EB5-9B4D-8E887AE145E7}"/>
          </ac:grpSpMkLst>
        </pc:grpChg>
        <pc:picChg chg="add mod">
          <ac:chgData name="Aurelien Domont" userId="6da7715ce44349b3" providerId="LiveId" clId="{AFF9B0D5-CA7D-40FB-964A-23276295459E}" dt="2021-07-06T01:57:47.260" v="6193" actId="1038"/>
          <ac:picMkLst>
            <pc:docMk/>
            <pc:sldMk cId="4178836903" sldId="2169"/>
            <ac:picMk id="2" creationId="{84E5CC93-D5AA-458E-BB87-714F1E53178E}"/>
          </ac:picMkLst>
        </pc:picChg>
        <pc:picChg chg="add mod">
          <ac:chgData name="Aurelien Domont" userId="6da7715ce44349b3" providerId="LiveId" clId="{AFF9B0D5-CA7D-40FB-964A-23276295459E}" dt="2021-07-06T01:57:39.076" v="6176" actId="1038"/>
          <ac:picMkLst>
            <pc:docMk/>
            <pc:sldMk cId="4178836903" sldId="2169"/>
            <ac:picMk id="3" creationId="{097ECFA8-B152-4816-9DCE-7FB11FD32803}"/>
          </ac:picMkLst>
        </pc:picChg>
        <pc:picChg chg="add mod">
          <ac:chgData name="Aurelien Domont" userId="6da7715ce44349b3" providerId="LiveId" clId="{AFF9B0D5-CA7D-40FB-964A-23276295459E}" dt="2021-07-06T01:57:39.076" v="6176" actId="1038"/>
          <ac:picMkLst>
            <pc:docMk/>
            <pc:sldMk cId="4178836903" sldId="2169"/>
            <ac:picMk id="4" creationId="{71090539-4853-42C0-8BB5-619FDF372F84}"/>
          </ac:picMkLst>
        </pc:picChg>
        <pc:picChg chg="add mod">
          <ac:chgData name="Aurelien Domont" userId="6da7715ce44349b3" providerId="LiveId" clId="{AFF9B0D5-CA7D-40FB-964A-23276295459E}" dt="2021-07-06T01:57:47.260" v="6193" actId="1038"/>
          <ac:picMkLst>
            <pc:docMk/>
            <pc:sldMk cId="4178836903" sldId="2169"/>
            <ac:picMk id="11" creationId="{F7A9918B-B7CD-4643-8B6A-74AEBFA4B2C2}"/>
          </ac:picMkLst>
        </pc:picChg>
        <pc:cxnChg chg="mod">
          <ac:chgData name="Aurelien Domont" userId="6da7715ce44349b3" providerId="LiveId" clId="{AFF9B0D5-CA7D-40FB-964A-23276295459E}" dt="2021-07-06T01:49:58.373" v="6025"/>
          <ac:cxnSpMkLst>
            <pc:docMk/>
            <pc:sldMk cId="4178836903" sldId="2169"/>
            <ac:cxnSpMk id="9" creationId="{14BBF9DD-58F2-49E1-9965-CAD08C2777D2}"/>
          </ac:cxnSpMkLst>
        </pc:cxnChg>
        <pc:cxnChg chg="del">
          <ac:chgData name="Aurelien Domont" userId="6da7715ce44349b3" providerId="LiveId" clId="{AFF9B0D5-CA7D-40FB-964A-23276295459E}" dt="2021-07-02T08:39:20.765" v="5618" actId="478"/>
          <ac:cxnSpMkLst>
            <pc:docMk/>
            <pc:sldMk cId="4178836903" sldId="2169"/>
            <ac:cxnSpMk id="9" creationId="{29940A68-0B12-4DB4-B6BF-26CE87860A62}"/>
          </ac:cxnSpMkLst>
        </pc:cxnChg>
        <pc:cxnChg chg="mod">
          <ac:chgData name="Aurelien Domont" userId="6da7715ce44349b3" providerId="LiveId" clId="{AFF9B0D5-CA7D-40FB-964A-23276295459E}" dt="2021-07-06T01:49:58.373" v="6025"/>
          <ac:cxnSpMkLst>
            <pc:docMk/>
            <pc:sldMk cId="4178836903" sldId="2169"/>
            <ac:cxnSpMk id="10" creationId="{88BB188B-1F6D-450B-8387-5364B3DC1A89}"/>
          </ac:cxnSpMkLst>
        </pc:cxnChg>
        <pc:cxnChg chg="del">
          <ac:chgData name="Aurelien Domont" userId="6da7715ce44349b3" providerId="LiveId" clId="{AFF9B0D5-CA7D-40FB-964A-23276295459E}" dt="2021-07-02T08:39:20.765" v="5618" actId="478"/>
          <ac:cxnSpMkLst>
            <pc:docMk/>
            <pc:sldMk cId="4178836903" sldId="2169"/>
            <ac:cxnSpMk id="14" creationId="{14CD9B99-0907-4DB9-B10F-F0E0E658423E}"/>
          </ac:cxnSpMkLst>
        </pc:cxnChg>
      </pc:sldChg>
      <pc:sldChg chg="add del">
        <pc:chgData name="Aurelien Domont" userId="6da7715ce44349b3" providerId="LiveId" clId="{AFF9B0D5-CA7D-40FB-964A-23276295459E}" dt="2021-07-05T02:29:39.938" v="5697" actId="47"/>
        <pc:sldMkLst>
          <pc:docMk/>
          <pc:sldMk cId="2294969423" sldId="2170"/>
        </pc:sldMkLst>
      </pc:sldChg>
      <pc:sldChg chg="addSp modSp add mod">
        <pc:chgData name="Aurelien Domont" userId="6da7715ce44349b3" providerId="LiveId" clId="{AFF9B0D5-CA7D-40FB-964A-23276295459E}" dt="2021-07-06T02:07:33.780" v="6238" actId="1036"/>
        <pc:sldMkLst>
          <pc:docMk/>
          <pc:sldMk cId="2678382071" sldId="2170"/>
        </pc:sldMkLst>
        <pc:spChg chg="mod">
          <ac:chgData name="Aurelien Domont" userId="6da7715ce44349b3" providerId="LiveId" clId="{AFF9B0D5-CA7D-40FB-964A-23276295459E}" dt="2021-07-06T02:07:33.780" v="6238" actId="1036"/>
          <ac:spMkLst>
            <pc:docMk/>
            <pc:sldMk cId="2678382071" sldId="2170"/>
            <ac:spMk id="20" creationId="{4B145E06-1CE4-4D20-9711-8C167F887A82}"/>
          </ac:spMkLst>
        </pc:spChg>
        <pc:spChg chg="mod">
          <ac:chgData name="Aurelien Domont" userId="6da7715ce44349b3" providerId="LiveId" clId="{AFF9B0D5-CA7D-40FB-964A-23276295459E}" dt="2021-07-06T01:39:21.490" v="5937"/>
          <ac:spMkLst>
            <pc:docMk/>
            <pc:sldMk cId="2678382071" sldId="2170"/>
            <ac:spMk id="22" creationId="{4DE672E0-B848-4704-8674-02BC1CC880B4}"/>
          </ac:spMkLst>
        </pc:spChg>
        <pc:spChg chg="mod">
          <ac:chgData name="Aurelien Domont" userId="6da7715ce44349b3" providerId="LiveId" clId="{AFF9B0D5-CA7D-40FB-964A-23276295459E}" dt="2021-07-06T01:45:08.378" v="5992" actId="20577"/>
          <ac:spMkLst>
            <pc:docMk/>
            <pc:sldMk cId="2678382071" sldId="2170"/>
            <ac:spMk id="36" creationId="{9CA6E787-8E7B-4BDD-94D3-93BAF40CAFD4}"/>
          </ac:spMkLst>
        </pc:spChg>
        <pc:grpChg chg="add mod">
          <ac:chgData name="Aurelien Domont" userId="6da7715ce44349b3" providerId="LiveId" clId="{AFF9B0D5-CA7D-40FB-964A-23276295459E}" dt="2021-07-06T01:39:21.490" v="5937"/>
          <ac:grpSpMkLst>
            <pc:docMk/>
            <pc:sldMk cId="2678382071" sldId="2170"/>
            <ac:grpSpMk id="21" creationId="{ABE541F4-E3F1-4AC5-8ABF-F3169156ADCA}"/>
          </ac:grpSpMkLst>
        </pc:grpChg>
        <pc:cxnChg chg="mod">
          <ac:chgData name="Aurelien Domont" userId="6da7715ce44349b3" providerId="LiveId" clId="{AFF9B0D5-CA7D-40FB-964A-23276295459E}" dt="2021-07-06T01:39:21.490" v="5937"/>
          <ac:cxnSpMkLst>
            <pc:docMk/>
            <pc:sldMk cId="2678382071" sldId="2170"/>
            <ac:cxnSpMk id="37" creationId="{33E38237-CD78-4D4D-BF52-D7C7F2269871}"/>
          </ac:cxnSpMkLst>
        </pc:cxnChg>
        <pc:cxnChg chg="mod">
          <ac:chgData name="Aurelien Domont" userId="6da7715ce44349b3" providerId="LiveId" clId="{AFF9B0D5-CA7D-40FB-964A-23276295459E}" dt="2021-07-06T01:39:21.490" v="5937"/>
          <ac:cxnSpMkLst>
            <pc:docMk/>
            <pc:sldMk cId="2678382071" sldId="2170"/>
            <ac:cxnSpMk id="38" creationId="{F8230E22-3B9C-4AC7-BA54-E01C7A116954}"/>
          </ac:cxnSpMkLst>
        </pc:cxnChg>
      </pc:sldChg>
      <pc:sldChg chg="addSp delSp modSp add mod">
        <pc:chgData name="Aurelien Domont" userId="6da7715ce44349b3" providerId="LiveId" clId="{AFF9B0D5-CA7D-40FB-964A-23276295459E}" dt="2021-07-06T02:07:06.680" v="6233" actId="1036"/>
        <pc:sldMkLst>
          <pc:docMk/>
          <pc:sldMk cId="4258618140" sldId="2187"/>
        </pc:sldMkLst>
        <pc:spChg chg="mod">
          <ac:chgData name="Aurelien Domont" userId="6da7715ce44349b3" providerId="LiveId" clId="{AFF9B0D5-CA7D-40FB-964A-23276295459E}" dt="2021-07-06T01:43:35.136" v="5964" actId="20577"/>
          <ac:spMkLst>
            <pc:docMk/>
            <pc:sldMk cId="4258618140" sldId="2187"/>
            <ac:spMk id="6" creationId="{58640601-4D44-4B49-A731-7641730D8799}"/>
          </ac:spMkLst>
        </pc:spChg>
        <pc:spChg chg="mod">
          <ac:chgData name="Aurelien Domont" userId="6da7715ce44349b3" providerId="LiveId" clId="{AFF9B0D5-CA7D-40FB-964A-23276295459E}" dt="2021-07-06T02:07:06.680" v="6233" actId="1036"/>
          <ac:spMkLst>
            <pc:docMk/>
            <pc:sldMk cId="4258618140" sldId="2187"/>
            <ac:spMk id="20" creationId="{4B145E06-1CE4-4D20-9711-8C167F887A82}"/>
          </ac:spMkLst>
        </pc:spChg>
        <pc:spChg chg="mod">
          <ac:chgData name="Aurelien Domont" userId="6da7715ce44349b3" providerId="LiveId" clId="{AFF9B0D5-CA7D-40FB-964A-23276295459E}" dt="2021-07-06T01:39:23.224" v="5938"/>
          <ac:spMkLst>
            <pc:docMk/>
            <pc:sldMk cId="4258618140" sldId="2187"/>
            <ac:spMk id="26" creationId="{89B9D8FA-055B-4786-9119-343B9A4FA83C}"/>
          </ac:spMkLst>
        </pc:spChg>
        <pc:spChg chg="mod">
          <ac:chgData name="Aurelien Domont" userId="6da7715ce44349b3" providerId="LiveId" clId="{AFF9B0D5-CA7D-40FB-964A-23276295459E}" dt="2021-07-06T01:45:14.140" v="5999" actId="20577"/>
          <ac:spMkLst>
            <pc:docMk/>
            <pc:sldMk cId="4258618140" sldId="2187"/>
            <ac:spMk id="27" creationId="{1F307364-06D1-4C5B-80F7-6F3566DCF013}"/>
          </ac:spMkLst>
        </pc:spChg>
        <pc:spChg chg="add mod">
          <ac:chgData name="Aurelien Domont" userId="6da7715ce44349b3" providerId="LiveId" clId="{AFF9B0D5-CA7D-40FB-964A-23276295459E}" dt="2021-07-06T02:06:57.812" v="6227"/>
          <ac:spMkLst>
            <pc:docMk/>
            <pc:sldMk cId="4258618140" sldId="2187"/>
            <ac:spMk id="30" creationId="{AE6119AB-6883-4169-8370-D3A496514CD1}"/>
          </ac:spMkLst>
        </pc:spChg>
        <pc:spChg chg="add mod">
          <ac:chgData name="Aurelien Domont" userId="6da7715ce44349b3" providerId="LiveId" clId="{AFF9B0D5-CA7D-40FB-964A-23276295459E}" dt="2021-07-06T02:06:57.812" v="6227"/>
          <ac:spMkLst>
            <pc:docMk/>
            <pc:sldMk cId="4258618140" sldId="2187"/>
            <ac:spMk id="33" creationId="{5BC7619B-12EE-45EC-90CD-328D07D4451F}"/>
          </ac:spMkLst>
        </pc:spChg>
        <pc:spChg chg="del">
          <ac:chgData name="Aurelien Domont" userId="6da7715ce44349b3" providerId="LiveId" clId="{AFF9B0D5-CA7D-40FB-964A-23276295459E}" dt="2021-07-06T02:06:57.421" v="6226" actId="478"/>
          <ac:spMkLst>
            <pc:docMk/>
            <pc:sldMk cId="4258618140" sldId="2187"/>
            <ac:spMk id="39" creationId="{69D38A31-7087-4BC6-A749-CE3E92C5E5AC}"/>
          </ac:spMkLst>
        </pc:spChg>
        <pc:spChg chg="del">
          <ac:chgData name="Aurelien Domont" userId="6da7715ce44349b3" providerId="LiveId" clId="{AFF9B0D5-CA7D-40FB-964A-23276295459E}" dt="2021-07-06T02:06:57.421" v="6226" actId="478"/>
          <ac:spMkLst>
            <pc:docMk/>
            <pc:sldMk cId="4258618140" sldId="2187"/>
            <ac:spMk id="42" creationId="{541AAE88-AB15-4CF5-907E-50289267AA28}"/>
          </ac:spMkLst>
        </pc:spChg>
        <pc:grpChg chg="add mod">
          <ac:chgData name="Aurelien Domont" userId="6da7715ce44349b3" providerId="LiveId" clId="{AFF9B0D5-CA7D-40FB-964A-23276295459E}" dt="2021-07-06T01:39:23.224" v="5938"/>
          <ac:grpSpMkLst>
            <pc:docMk/>
            <pc:sldMk cId="4258618140" sldId="2187"/>
            <ac:grpSpMk id="25" creationId="{580D2986-90B8-49CB-9D7C-E3CD562E7128}"/>
          </ac:grpSpMkLst>
        </pc:grpChg>
        <pc:cxnChg chg="mod">
          <ac:chgData name="Aurelien Domont" userId="6da7715ce44349b3" providerId="LiveId" clId="{AFF9B0D5-CA7D-40FB-964A-23276295459E}" dt="2021-07-06T01:39:23.224" v="5938"/>
          <ac:cxnSpMkLst>
            <pc:docMk/>
            <pc:sldMk cId="4258618140" sldId="2187"/>
            <ac:cxnSpMk id="28" creationId="{B6436C00-3644-4C3F-A09C-F58808116780}"/>
          </ac:cxnSpMkLst>
        </pc:cxnChg>
        <pc:cxnChg chg="mod">
          <ac:chgData name="Aurelien Domont" userId="6da7715ce44349b3" providerId="LiveId" clId="{AFF9B0D5-CA7D-40FB-964A-23276295459E}" dt="2021-07-06T01:39:23.224" v="5938"/>
          <ac:cxnSpMkLst>
            <pc:docMk/>
            <pc:sldMk cId="4258618140" sldId="2187"/>
            <ac:cxnSpMk id="29" creationId="{B053B582-54F5-4610-B47A-710CBEAF9720}"/>
          </ac:cxnSpMkLst>
        </pc:cxnChg>
      </pc:sldChg>
      <pc:sldChg chg="modSp add mod">
        <pc:chgData name="Aurelien Domont" userId="6da7715ce44349b3" providerId="LiveId" clId="{AFF9B0D5-CA7D-40FB-964A-23276295459E}" dt="2021-07-06T02:00:05.018" v="6199" actId="108"/>
        <pc:sldMkLst>
          <pc:docMk/>
          <pc:sldMk cId="1390113814" sldId="2188"/>
        </pc:sldMkLst>
        <pc:spChg chg="mod">
          <ac:chgData name="Aurelien Domont" userId="6da7715ce44349b3" providerId="LiveId" clId="{AFF9B0D5-CA7D-40FB-964A-23276295459E}" dt="2021-07-06T02:00:05.018" v="6199" actId="108"/>
          <ac:spMkLst>
            <pc:docMk/>
            <pc:sldMk cId="1390113814" sldId="2188"/>
            <ac:spMk id="6" creationId="{61BD4388-6F9D-4C31-90C2-680E7FD1FB33}"/>
          </ac:spMkLst>
        </pc:spChg>
        <pc:spChg chg="mod">
          <ac:chgData name="Aurelien Domont" userId="6da7715ce44349b3" providerId="LiveId" clId="{AFF9B0D5-CA7D-40FB-964A-23276295459E}" dt="2021-07-06T02:00:01.591" v="6198" actId="108"/>
          <ac:spMkLst>
            <pc:docMk/>
            <pc:sldMk cId="1390113814" sldId="2188"/>
            <ac:spMk id="7" creationId="{058165D9-C6C5-41CE-8E4E-2D521B573407}"/>
          </ac:spMkLst>
        </pc:spChg>
        <pc:spChg chg="mod">
          <ac:chgData name="Aurelien Domont" userId="6da7715ce44349b3" providerId="LiveId" clId="{AFF9B0D5-CA7D-40FB-964A-23276295459E}" dt="2021-07-06T01:59:58.054" v="6197" actId="20577"/>
          <ac:spMkLst>
            <pc:docMk/>
            <pc:sldMk cId="1390113814" sldId="2188"/>
            <ac:spMk id="16" creationId="{6C2BB713-9637-4B9B-938F-E9768876782A}"/>
          </ac:spMkLst>
        </pc:spChg>
      </pc:sldChg>
      <pc:sldChg chg="modSp add mod">
        <pc:chgData name="Aurelien Domont" userId="6da7715ce44349b3" providerId="LiveId" clId="{AFF9B0D5-CA7D-40FB-964A-23276295459E}" dt="2021-07-06T02:03:39.483" v="6225" actId="20577"/>
        <pc:sldMkLst>
          <pc:docMk/>
          <pc:sldMk cId="1002747840" sldId="2189"/>
        </pc:sldMkLst>
        <pc:spChg chg="mod">
          <ac:chgData name="Aurelien Domont" userId="6da7715ce44349b3" providerId="LiveId" clId="{AFF9B0D5-CA7D-40FB-964A-23276295459E}" dt="2021-07-06T02:03:37.384" v="6223" actId="108"/>
          <ac:spMkLst>
            <pc:docMk/>
            <pc:sldMk cId="1002747840" sldId="2189"/>
            <ac:spMk id="7" creationId="{058165D9-C6C5-41CE-8E4E-2D521B573407}"/>
          </ac:spMkLst>
        </pc:spChg>
        <pc:spChg chg="mod">
          <ac:chgData name="Aurelien Domont" userId="6da7715ce44349b3" providerId="LiveId" clId="{AFF9B0D5-CA7D-40FB-964A-23276295459E}" dt="2021-07-06T02:03:34.241" v="6222" actId="108"/>
          <ac:spMkLst>
            <pc:docMk/>
            <pc:sldMk cId="1002747840" sldId="2189"/>
            <ac:spMk id="8" creationId="{5E265501-976D-4DCF-A6F8-A1059EF162B8}"/>
          </ac:spMkLst>
        </pc:spChg>
        <pc:spChg chg="mod">
          <ac:chgData name="Aurelien Domont" userId="6da7715ce44349b3" providerId="LiveId" clId="{AFF9B0D5-CA7D-40FB-964A-23276295459E}" dt="2021-07-06T02:03:39.483" v="6225" actId="20577"/>
          <ac:spMkLst>
            <pc:docMk/>
            <pc:sldMk cId="1002747840" sldId="2189"/>
            <ac:spMk id="16" creationId="{6C2BB713-9637-4B9B-938F-E9768876782A}"/>
          </ac:spMkLst>
        </pc:spChg>
      </pc:sldChg>
      <pc:sldChg chg="addSp delSp modSp add mod">
        <pc:chgData name="Aurelien Domont" userId="6da7715ce44349b3" providerId="LiveId" clId="{AFF9B0D5-CA7D-40FB-964A-23276295459E}" dt="2021-07-06T03:57:00.268" v="6367" actId="20577"/>
        <pc:sldMkLst>
          <pc:docMk/>
          <pc:sldMk cId="2349979947" sldId="2190"/>
        </pc:sldMkLst>
        <pc:spChg chg="mod">
          <ac:chgData name="Aurelien Domont" userId="6da7715ce44349b3" providerId="LiveId" clId="{AFF9B0D5-CA7D-40FB-964A-23276295459E}" dt="2021-07-06T03:57:00.268" v="6367" actId="20577"/>
          <ac:spMkLst>
            <pc:docMk/>
            <pc:sldMk cId="2349979947" sldId="2190"/>
            <ac:spMk id="16" creationId="{6C2BB713-9637-4B9B-938F-E9768876782A}"/>
          </ac:spMkLst>
        </pc:spChg>
        <pc:picChg chg="del">
          <ac:chgData name="Aurelien Domont" userId="6da7715ce44349b3" providerId="LiveId" clId="{AFF9B0D5-CA7D-40FB-964A-23276295459E}" dt="2021-07-06T03:34:06.580" v="6275" actId="478"/>
          <ac:picMkLst>
            <pc:docMk/>
            <pc:sldMk cId="2349979947" sldId="2190"/>
            <ac:picMk id="2" creationId="{84E5CC93-D5AA-458E-BB87-714F1E53178E}"/>
          </ac:picMkLst>
        </pc:picChg>
        <pc:picChg chg="del">
          <ac:chgData name="Aurelien Domont" userId="6da7715ce44349b3" providerId="LiveId" clId="{AFF9B0D5-CA7D-40FB-964A-23276295459E}" dt="2021-07-06T03:34:06.580" v="6275" actId="478"/>
          <ac:picMkLst>
            <pc:docMk/>
            <pc:sldMk cId="2349979947" sldId="2190"/>
            <ac:picMk id="3" creationId="{097ECFA8-B152-4816-9DCE-7FB11FD32803}"/>
          </ac:picMkLst>
        </pc:picChg>
        <pc:picChg chg="del">
          <ac:chgData name="Aurelien Domont" userId="6da7715ce44349b3" providerId="LiveId" clId="{AFF9B0D5-CA7D-40FB-964A-23276295459E}" dt="2021-07-06T03:34:06.580" v="6275" actId="478"/>
          <ac:picMkLst>
            <pc:docMk/>
            <pc:sldMk cId="2349979947" sldId="2190"/>
            <ac:picMk id="4" creationId="{71090539-4853-42C0-8BB5-619FDF372F84}"/>
          </ac:picMkLst>
        </pc:picChg>
        <pc:picChg chg="del">
          <ac:chgData name="Aurelien Domont" userId="6da7715ce44349b3" providerId="LiveId" clId="{AFF9B0D5-CA7D-40FB-964A-23276295459E}" dt="2021-07-06T03:34:06.580" v="6275" actId="478"/>
          <ac:picMkLst>
            <pc:docMk/>
            <pc:sldMk cId="2349979947" sldId="2190"/>
            <ac:picMk id="11" creationId="{F7A9918B-B7CD-4643-8B6A-74AEBFA4B2C2}"/>
          </ac:picMkLst>
        </pc:picChg>
        <pc:picChg chg="add mod ord">
          <ac:chgData name="Aurelien Domont" userId="6da7715ce44349b3" providerId="LiveId" clId="{AFF9B0D5-CA7D-40FB-964A-23276295459E}" dt="2021-07-06T03:34:02.278" v="6274" actId="167"/>
          <ac:picMkLst>
            <pc:docMk/>
            <pc:sldMk cId="2349979947" sldId="2190"/>
            <ac:picMk id="12" creationId="{FE9B9E94-357E-4B04-9B76-B64A2AD3319C}"/>
          </ac:picMkLst>
        </pc:picChg>
        <pc:picChg chg="add mod ord">
          <ac:chgData name="Aurelien Domont" userId="6da7715ce44349b3" providerId="LiveId" clId="{AFF9B0D5-CA7D-40FB-964A-23276295459E}" dt="2021-07-06T03:34:02.278" v="6274" actId="167"/>
          <ac:picMkLst>
            <pc:docMk/>
            <pc:sldMk cId="2349979947" sldId="2190"/>
            <ac:picMk id="14" creationId="{4D3A6F3A-8786-441E-90A3-61E8C8D72553}"/>
          </ac:picMkLst>
        </pc:picChg>
        <pc:picChg chg="add mod ord">
          <ac:chgData name="Aurelien Domont" userId="6da7715ce44349b3" providerId="LiveId" clId="{AFF9B0D5-CA7D-40FB-964A-23276295459E}" dt="2021-07-06T03:34:02.278" v="6274" actId="167"/>
          <ac:picMkLst>
            <pc:docMk/>
            <pc:sldMk cId="2349979947" sldId="2190"/>
            <ac:picMk id="15" creationId="{659A23D5-65DD-4CEA-855D-90A0B5E2BE2A}"/>
          </ac:picMkLst>
        </pc:picChg>
        <pc:picChg chg="add del mod ord">
          <ac:chgData name="Aurelien Domont" userId="6da7715ce44349b3" providerId="LiveId" clId="{AFF9B0D5-CA7D-40FB-964A-23276295459E}" dt="2021-07-06T03:37:32.824" v="6293" actId="167"/>
          <ac:picMkLst>
            <pc:docMk/>
            <pc:sldMk cId="2349979947" sldId="2190"/>
            <ac:picMk id="17" creationId="{3A1116B0-8834-4AD7-B5A9-FC56ADD00397}"/>
          </ac:picMkLst>
        </pc:picChg>
        <pc:picChg chg="add del mod ord">
          <ac:chgData name="Aurelien Domont" userId="6da7715ce44349b3" providerId="LiveId" clId="{AFF9B0D5-CA7D-40FB-964A-23276295459E}" dt="2021-07-06T03:37:53.470" v="6299" actId="478"/>
          <ac:picMkLst>
            <pc:docMk/>
            <pc:sldMk cId="2349979947" sldId="2190"/>
            <ac:picMk id="19" creationId="{510380BB-04DC-414E-AEA0-0A102EFB8B64}"/>
          </ac:picMkLst>
        </pc:picChg>
      </pc:sldChg>
      <pc:sldChg chg="addSp delSp modSp add mod">
        <pc:chgData name="Aurelien Domont" userId="6da7715ce44349b3" providerId="LiveId" clId="{AFF9B0D5-CA7D-40FB-964A-23276295459E}" dt="2021-07-06T03:56:34.192" v="6363" actId="20577"/>
        <pc:sldMkLst>
          <pc:docMk/>
          <pc:sldMk cId="3340324934" sldId="2191"/>
        </pc:sldMkLst>
        <pc:spChg chg="mod">
          <ac:chgData name="Aurelien Domont" userId="6da7715ce44349b3" providerId="LiveId" clId="{AFF9B0D5-CA7D-40FB-964A-23276295459E}" dt="2021-07-06T03:56:34.192" v="6363" actId="20577"/>
          <ac:spMkLst>
            <pc:docMk/>
            <pc:sldMk cId="3340324934" sldId="2191"/>
            <ac:spMk id="16" creationId="{6C2BB713-9637-4B9B-938F-E9768876782A}"/>
          </ac:spMkLst>
        </pc:spChg>
        <pc:picChg chg="add mod ord">
          <ac:chgData name="Aurelien Domont" userId="6da7715ce44349b3" providerId="LiveId" clId="{AFF9B0D5-CA7D-40FB-964A-23276295459E}" dt="2021-07-06T03:44:15.886" v="6353" actId="108"/>
          <ac:picMkLst>
            <pc:docMk/>
            <pc:sldMk cId="3340324934" sldId="2191"/>
            <ac:picMk id="3" creationId="{15370C7C-145F-4349-AE96-1E50E9582145}"/>
          </ac:picMkLst>
        </pc:picChg>
        <pc:picChg chg="add mod ord">
          <ac:chgData name="Aurelien Domont" userId="6da7715ce44349b3" providerId="LiveId" clId="{AFF9B0D5-CA7D-40FB-964A-23276295459E}" dt="2021-07-06T03:44:16.372" v="6354" actId="108"/>
          <ac:picMkLst>
            <pc:docMk/>
            <pc:sldMk cId="3340324934" sldId="2191"/>
            <ac:picMk id="11" creationId="{25D5DDB8-F1BB-4113-A087-0C0A746C7EB2}"/>
          </ac:picMkLst>
        </pc:picChg>
        <pc:picChg chg="del ord">
          <ac:chgData name="Aurelien Domont" userId="6da7715ce44349b3" providerId="LiveId" clId="{AFF9B0D5-CA7D-40FB-964A-23276295459E}" dt="2021-07-06T03:44:09.620" v="6352" actId="478"/>
          <ac:picMkLst>
            <pc:docMk/>
            <pc:sldMk cId="3340324934" sldId="2191"/>
            <ac:picMk id="12" creationId="{FE9B9E94-357E-4B04-9B76-B64A2AD3319C}"/>
          </ac:picMkLst>
        </pc:picChg>
        <pc:picChg chg="del ord">
          <ac:chgData name="Aurelien Domont" userId="6da7715ce44349b3" providerId="LiveId" clId="{AFF9B0D5-CA7D-40FB-964A-23276295459E}" dt="2021-07-06T03:44:09.620" v="6352" actId="478"/>
          <ac:picMkLst>
            <pc:docMk/>
            <pc:sldMk cId="3340324934" sldId="2191"/>
            <ac:picMk id="14" creationId="{4D3A6F3A-8786-441E-90A3-61E8C8D72553}"/>
          </ac:picMkLst>
        </pc:picChg>
        <pc:picChg chg="del ord">
          <ac:chgData name="Aurelien Domont" userId="6da7715ce44349b3" providerId="LiveId" clId="{AFF9B0D5-CA7D-40FB-964A-23276295459E}" dt="2021-07-06T03:44:09.620" v="6352" actId="478"/>
          <ac:picMkLst>
            <pc:docMk/>
            <pc:sldMk cId="3340324934" sldId="2191"/>
            <ac:picMk id="15" creationId="{659A23D5-65DD-4CEA-855D-90A0B5E2BE2A}"/>
          </ac:picMkLst>
        </pc:picChg>
        <pc:picChg chg="del">
          <ac:chgData name="Aurelien Domont" userId="6da7715ce44349b3" providerId="LiveId" clId="{AFF9B0D5-CA7D-40FB-964A-23276295459E}" dt="2021-07-06T03:38:00.537" v="6301" actId="478"/>
          <ac:picMkLst>
            <pc:docMk/>
            <pc:sldMk cId="3340324934" sldId="2191"/>
            <ac:picMk id="17" creationId="{3A1116B0-8834-4AD7-B5A9-FC56ADD00397}"/>
          </ac:picMkLst>
        </pc:picChg>
        <pc:picChg chg="mod ord">
          <ac:chgData name="Aurelien Domont" userId="6da7715ce44349b3" providerId="LiveId" clId="{AFF9B0D5-CA7D-40FB-964A-23276295459E}" dt="2021-07-06T03:44:06.370" v="6351" actId="171"/>
          <ac:picMkLst>
            <pc:docMk/>
            <pc:sldMk cId="3340324934" sldId="2191"/>
            <ac:picMk id="19" creationId="{510380BB-04DC-414E-AEA0-0A102EFB8B64}"/>
          </ac:picMkLst>
        </pc:picChg>
        <pc:picChg chg="add mod ord">
          <ac:chgData name="Aurelien Domont" userId="6da7715ce44349b3" providerId="LiveId" clId="{AFF9B0D5-CA7D-40FB-964A-23276295459E}" dt="2021-07-06T03:44:16.877" v="6355" actId="108"/>
          <ac:picMkLst>
            <pc:docMk/>
            <pc:sldMk cId="3340324934" sldId="2191"/>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3379055426" sldId="2192"/>
        </pc:sldMkLst>
        <pc:spChg chg="mod">
          <ac:chgData name="Aurelien Domont" userId="6da7715ce44349b3" providerId="LiveId" clId="{AFF9B0D5-CA7D-40FB-964A-23276295459E}" dt="2021-07-06T04:49:53.743" v="6421" actId="20577"/>
          <ac:spMkLst>
            <pc:docMk/>
            <pc:sldMk cId="3379055426" sldId="2192"/>
            <ac:spMk id="16" creationId="{6C2BB713-9637-4B9B-938F-E9768876782A}"/>
          </ac:spMkLst>
        </pc:spChg>
        <pc:spChg chg="mod topLvl">
          <ac:chgData name="Aurelien Domont" userId="6da7715ce44349b3" providerId="LiveId" clId="{AFF9B0D5-CA7D-40FB-964A-23276295459E}" dt="2021-07-06T04:50:43.896" v="6426" actId="165"/>
          <ac:spMkLst>
            <pc:docMk/>
            <pc:sldMk cId="3379055426" sldId="2192"/>
            <ac:spMk id="18" creationId="{B771EFD1-480A-49D1-8311-D1631ADDCAE0}"/>
          </ac:spMkLst>
        </pc:spChg>
        <pc:spChg chg="mod topLvl">
          <ac:chgData name="Aurelien Domont" userId="6da7715ce44349b3" providerId="LiveId" clId="{AFF9B0D5-CA7D-40FB-964A-23276295459E}" dt="2021-07-06T04:50:43.896" v="6426" actId="165"/>
          <ac:spMkLst>
            <pc:docMk/>
            <pc:sldMk cId="3379055426" sldId="2192"/>
            <ac:spMk id="22" creationId="{65469F66-D281-4ED1-A6A4-53FB0256ADF0}"/>
          </ac:spMkLst>
        </pc:spChg>
        <pc:spChg chg="mod topLvl">
          <ac:chgData name="Aurelien Domont" userId="6da7715ce44349b3" providerId="LiveId" clId="{AFF9B0D5-CA7D-40FB-964A-23276295459E}" dt="2021-07-06T04:50:43.896" v="6426" actId="165"/>
          <ac:spMkLst>
            <pc:docMk/>
            <pc:sldMk cId="3379055426" sldId="2192"/>
            <ac:spMk id="23" creationId="{23E57CB2-F110-433B-8E68-828A876E73FC}"/>
          </ac:spMkLst>
        </pc:spChg>
        <pc:spChg chg="mod topLvl">
          <ac:chgData name="Aurelien Domont" userId="6da7715ce44349b3" providerId="LiveId" clId="{AFF9B0D5-CA7D-40FB-964A-23276295459E}" dt="2021-07-06T04:50:43.896" v="6426" actId="165"/>
          <ac:spMkLst>
            <pc:docMk/>
            <pc:sldMk cId="3379055426" sldId="2192"/>
            <ac:spMk id="24" creationId="{74E6FD3E-697E-437E-BCCF-D4036C531968}"/>
          </ac:spMkLst>
        </pc:spChg>
        <pc:spChg chg="mod topLvl">
          <ac:chgData name="Aurelien Domont" userId="6da7715ce44349b3" providerId="LiveId" clId="{AFF9B0D5-CA7D-40FB-964A-23276295459E}" dt="2021-07-06T04:50:43.896" v="6426" actId="165"/>
          <ac:spMkLst>
            <pc:docMk/>
            <pc:sldMk cId="3379055426" sldId="2192"/>
            <ac:spMk id="25" creationId="{92AABBE3-B444-4BEC-82DD-5644BBA7A771}"/>
          </ac:spMkLst>
        </pc:spChg>
        <pc:spChg chg="mod topLvl">
          <ac:chgData name="Aurelien Domont" userId="6da7715ce44349b3" providerId="LiveId" clId="{AFF9B0D5-CA7D-40FB-964A-23276295459E}" dt="2021-07-06T04:50:43.896" v="6426" actId="165"/>
          <ac:spMkLst>
            <pc:docMk/>
            <pc:sldMk cId="3379055426" sldId="2192"/>
            <ac:spMk id="26" creationId="{97B58A29-1D94-499B-8733-3910F9AD6F4A}"/>
          </ac:spMkLst>
        </pc:spChg>
        <pc:spChg chg="mod topLvl">
          <ac:chgData name="Aurelien Domont" userId="6da7715ce44349b3" providerId="LiveId" clId="{AFF9B0D5-CA7D-40FB-964A-23276295459E}" dt="2021-07-06T04:50:43.896" v="6426" actId="165"/>
          <ac:spMkLst>
            <pc:docMk/>
            <pc:sldMk cId="3379055426" sldId="2192"/>
            <ac:spMk id="27" creationId="{5D999E87-6D47-44EB-AA80-FAB1044E50B3}"/>
          </ac:spMkLst>
        </pc:spChg>
        <pc:spChg chg="mod topLvl">
          <ac:chgData name="Aurelien Domont" userId="6da7715ce44349b3" providerId="LiveId" clId="{AFF9B0D5-CA7D-40FB-964A-23276295459E}" dt="2021-07-06T04:50:43.896" v="6426" actId="165"/>
          <ac:spMkLst>
            <pc:docMk/>
            <pc:sldMk cId="3379055426" sldId="2192"/>
            <ac:spMk id="29" creationId="{3C06A61B-7951-49EC-954F-20BCE045D88C}"/>
          </ac:spMkLst>
        </pc:spChg>
        <pc:spChg chg="mod topLvl">
          <ac:chgData name="Aurelien Domont" userId="6da7715ce44349b3" providerId="LiveId" clId="{AFF9B0D5-CA7D-40FB-964A-23276295459E}" dt="2021-07-06T04:50:43.896" v="6426" actId="165"/>
          <ac:spMkLst>
            <pc:docMk/>
            <pc:sldMk cId="3379055426" sldId="2192"/>
            <ac:spMk id="30" creationId="{CEF0D8C1-C31C-434B-AE35-55B3471F9C9D}"/>
          </ac:spMkLst>
        </pc:spChg>
        <pc:spChg chg="mod topLvl">
          <ac:chgData name="Aurelien Domont" userId="6da7715ce44349b3" providerId="LiveId" clId="{AFF9B0D5-CA7D-40FB-964A-23276295459E}" dt="2021-07-06T04:50:43.896" v="6426" actId="165"/>
          <ac:spMkLst>
            <pc:docMk/>
            <pc:sldMk cId="3379055426" sldId="2192"/>
            <ac:spMk id="31" creationId="{811A9C04-9509-4F96-B5E1-2683FDB0AA62}"/>
          </ac:spMkLst>
        </pc:spChg>
        <pc:spChg chg="mod topLvl">
          <ac:chgData name="Aurelien Domont" userId="6da7715ce44349b3" providerId="LiveId" clId="{AFF9B0D5-CA7D-40FB-964A-23276295459E}" dt="2021-07-06T04:50:43.896" v="6426" actId="165"/>
          <ac:spMkLst>
            <pc:docMk/>
            <pc:sldMk cId="3379055426" sldId="2192"/>
            <ac:spMk id="33" creationId="{7C047B58-FCD5-4D1B-B651-61CF38F9DD85}"/>
          </ac:spMkLst>
        </pc:spChg>
        <pc:spChg chg="mod topLvl">
          <ac:chgData name="Aurelien Domont" userId="6da7715ce44349b3" providerId="LiveId" clId="{AFF9B0D5-CA7D-40FB-964A-23276295459E}" dt="2021-07-06T04:50:43.896" v="6426" actId="165"/>
          <ac:spMkLst>
            <pc:docMk/>
            <pc:sldMk cId="3379055426" sldId="2192"/>
            <ac:spMk id="34" creationId="{2E14BF7D-6F99-4D98-A8DA-8EB723F87710}"/>
          </ac:spMkLst>
        </pc:spChg>
        <pc:spChg chg="mod topLvl">
          <ac:chgData name="Aurelien Domont" userId="6da7715ce44349b3" providerId="LiveId" clId="{AFF9B0D5-CA7D-40FB-964A-23276295459E}" dt="2021-07-06T04:50:43.896" v="6426" actId="165"/>
          <ac:spMkLst>
            <pc:docMk/>
            <pc:sldMk cId="3379055426" sldId="2192"/>
            <ac:spMk id="35" creationId="{3882020F-C56B-44AB-8637-035FEE81CF3D}"/>
          </ac:spMkLst>
        </pc:spChg>
        <pc:spChg chg="mod topLvl">
          <ac:chgData name="Aurelien Domont" userId="6da7715ce44349b3" providerId="LiveId" clId="{AFF9B0D5-CA7D-40FB-964A-23276295459E}" dt="2021-07-06T04:50:43.896" v="6426" actId="165"/>
          <ac:spMkLst>
            <pc:docMk/>
            <pc:sldMk cId="3379055426" sldId="2192"/>
            <ac:spMk id="37" creationId="{BD423BD5-6D69-49BE-A67A-B9649D95191D}"/>
          </ac:spMkLst>
        </pc:spChg>
        <pc:spChg chg="mod topLvl">
          <ac:chgData name="Aurelien Domont" userId="6da7715ce44349b3" providerId="LiveId" clId="{AFF9B0D5-CA7D-40FB-964A-23276295459E}" dt="2021-07-06T04:50:43.896" v="6426" actId="165"/>
          <ac:spMkLst>
            <pc:docMk/>
            <pc:sldMk cId="3379055426" sldId="2192"/>
            <ac:spMk id="38" creationId="{E0BF46F7-A9D8-4C09-978A-75A9D4B5E441}"/>
          </ac:spMkLst>
        </pc:spChg>
        <pc:spChg chg="mod topLvl">
          <ac:chgData name="Aurelien Domont" userId="6da7715ce44349b3" providerId="LiveId" clId="{AFF9B0D5-CA7D-40FB-964A-23276295459E}" dt="2021-07-06T04:50:43.896" v="6426" actId="165"/>
          <ac:spMkLst>
            <pc:docMk/>
            <pc:sldMk cId="3379055426" sldId="2192"/>
            <ac:spMk id="39" creationId="{0C3749C6-D983-40E9-B6FE-9E314EE56A35}"/>
          </ac:spMkLst>
        </pc:spChg>
        <pc:spChg chg="mod topLvl">
          <ac:chgData name="Aurelien Domont" userId="6da7715ce44349b3" providerId="LiveId" clId="{AFF9B0D5-CA7D-40FB-964A-23276295459E}" dt="2021-07-06T04:50:43.896" v="6426" actId="165"/>
          <ac:spMkLst>
            <pc:docMk/>
            <pc:sldMk cId="3379055426" sldId="2192"/>
            <ac:spMk id="40" creationId="{1CE55E94-F6B3-43A5-8C94-74729058DAFB}"/>
          </ac:spMkLst>
        </pc:spChg>
        <pc:spChg chg="mod topLvl">
          <ac:chgData name="Aurelien Domont" userId="6da7715ce44349b3" providerId="LiveId" clId="{AFF9B0D5-CA7D-40FB-964A-23276295459E}" dt="2021-07-06T04:50:43.896" v="6426" actId="165"/>
          <ac:spMkLst>
            <pc:docMk/>
            <pc:sldMk cId="3379055426" sldId="2192"/>
            <ac:spMk id="41" creationId="{6EBB98D6-908A-4551-B26F-10C6768274FA}"/>
          </ac:spMkLst>
        </pc:spChg>
        <pc:spChg chg="mod topLvl">
          <ac:chgData name="Aurelien Domont" userId="6da7715ce44349b3" providerId="LiveId" clId="{AFF9B0D5-CA7D-40FB-964A-23276295459E}" dt="2021-07-06T04:50:43.896" v="6426" actId="165"/>
          <ac:spMkLst>
            <pc:docMk/>
            <pc:sldMk cId="3379055426" sldId="2192"/>
            <ac:spMk id="42" creationId="{E4CBA9D9-791A-4B6D-A6F5-C58BC1196434}"/>
          </ac:spMkLst>
        </pc:spChg>
        <pc:spChg chg="mod topLvl">
          <ac:chgData name="Aurelien Domont" userId="6da7715ce44349b3" providerId="LiveId" clId="{AFF9B0D5-CA7D-40FB-964A-23276295459E}" dt="2021-07-06T04:50:43.896" v="6426" actId="165"/>
          <ac:spMkLst>
            <pc:docMk/>
            <pc:sldMk cId="3379055426" sldId="2192"/>
            <ac:spMk id="44" creationId="{2324D931-C446-4406-A3B2-7EEF109E1330}"/>
          </ac:spMkLst>
        </pc:spChg>
        <pc:spChg chg="mod topLvl">
          <ac:chgData name="Aurelien Domont" userId="6da7715ce44349b3" providerId="LiveId" clId="{AFF9B0D5-CA7D-40FB-964A-23276295459E}" dt="2021-07-06T04:50:43.896" v="6426" actId="165"/>
          <ac:spMkLst>
            <pc:docMk/>
            <pc:sldMk cId="3379055426" sldId="2192"/>
            <ac:spMk id="47" creationId="{066BFCAB-9359-47E6-85A9-6446EEE47684}"/>
          </ac:spMkLst>
        </pc:spChg>
        <pc:spChg chg="mod topLvl">
          <ac:chgData name="Aurelien Domont" userId="6da7715ce44349b3" providerId="LiveId" clId="{AFF9B0D5-CA7D-40FB-964A-23276295459E}" dt="2021-07-06T04:50:43.896" v="6426" actId="165"/>
          <ac:spMkLst>
            <pc:docMk/>
            <pc:sldMk cId="3379055426" sldId="2192"/>
            <ac:spMk id="48" creationId="{596BEE1A-9790-483E-96EB-CDEEB9ED8E4A}"/>
          </ac:spMkLst>
        </pc:spChg>
        <pc:spChg chg="mod topLvl">
          <ac:chgData name="Aurelien Domont" userId="6da7715ce44349b3" providerId="LiveId" clId="{AFF9B0D5-CA7D-40FB-964A-23276295459E}" dt="2021-07-06T04:50:43.896" v="6426" actId="165"/>
          <ac:spMkLst>
            <pc:docMk/>
            <pc:sldMk cId="3379055426" sldId="2192"/>
            <ac:spMk id="49" creationId="{6C51E034-D463-40F4-A6FE-1AD0EECC2E18}"/>
          </ac:spMkLst>
        </pc:spChg>
        <pc:spChg chg="mod topLvl">
          <ac:chgData name="Aurelien Domont" userId="6da7715ce44349b3" providerId="LiveId" clId="{AFF9B0D5-CA7D-40FB-964A-23276295459E}" dt="2021-07-06T04:50:43.896" v="6426" actId="165"/>
          <ac:spMkLst>
            <pc:docMk/>
            <pc:sldMk cId="3379055426" sldId="2192"/>
            <ac:spMk id="50" creationId="{4DB629D9-D3D7-42A5-B2E5-376B2910CE6E}"/>
          </ac:spMkLst>
        </pc:spChg>
        <pc:spChg chg="mod topLvl">
          <ac:chgData name="Aurelien Domont" userId="6da7715ce44349b3" providerId="LiveId" clId="{AFF9B0D5-CA7D-40FB-964A-23276295459E}" dt="2021-07-06T04:50:43.896" v="6426" actId="165"/>
          <ac:spMkLst>
            <pc:docMk/>
            <pc:sldMk cId="3379055426" sldId="2192"/>
            <ac:spMk id="51" creationId="{0508A820-EDC6-4023-B09A-569DACAA89BC}"/>
          </ac:spMkLst>
        </pc:spChg>
        <pc:spChg chg="mod topLvl">
          <ac:chgData name="Aurelien Domont" userId="6da7715ce44349b3" providerId="LiveId" clId="{AFF9B0D5-CA7D-40FB-964A-23276295459E}" dt="2021-07-06T04:50:43.896" v="6426" actId="165"/>
          <ac:spMkLst>
            <pc:docMk/>
            <pc:sldMk cId="3379055426" sldId="2192"/>
            <ac:spMk id="52" creationId="{0598C82B-5B19-4ECD-A9F9-210E620301CE}"/>
          </ac:spMkLst>
        </pc:spChg>
        <pc:spChg chg="mod topLvl">
          <ac:chgData name="Aurelien Domont" userId="6da7715ce44349b3" providerId="LiveId" clId="{AFF9B0D5-CA7D-40FB-964A-23276295459E}" dt="2021-07-06T04:50:43.896" v="6426" actId="165"/>
          <ac:spMkLst>
            <pc:docMk/>
            <pc:sldMk cId="3379055426" sldId="2192"/>
            <ac:spMk id="53" creationId="{69AA8412-F4FC-49E9-8098-BA5431F25AEC}"/>
          </ac:spMkLst>
        </pc:spChg>
        <pc:spChg chg="mod topLvl">
          <ac:chgData name="Aurelien Domont" userId="6da7715ce44349b3" providerId="LiveId" clId="{AFF9B0D5-CA7D-40FB-964A-23276295459E}" dt="2021-07-06T04:50:43.896" v="6426" actId="165"/>
          <ac:spMkLst>
            <pc:docMk/>
            <pc:sldMk cId="3379055426" sldId="2192"/>
            <ac:spMk id="54" creationId="{FD10D8C9-608D-4706-9C95-87B692F7BC52}"/>
          </ac:spMkLst>
        </pc:spChg>
        <pc:spChg chg="mod topLvl">
          <ac:chgData name="Aurelien Domont" userId="6da7715ce44349b3" providerId="LiveId" clId="{AFF9B0D5-CA7D-40FB-964A-23276295459E}" dt="2021-07-06T04:50:43.896" v="6426" actId="165"/>
          <ac:spMkLst>
            <pc:docMk/>
            <pc:sldMk cId="3379055426" sldId="2192"/>
            <ac:spMk id="55" creationId="{F96E8F5D-13F7-4F5F-B0C7-43F495BBE507}"/>
          </ac:spMkLst>
        </pc:spChg>
        <pc:spChg chg="mod topLvl">
          <ac:chgData name="Aurelien Domont" userId="6da7715ce44349b3" providerId="LiveId" clId="{AFF9B0D5-CA7D-40FB-964A-23276295459E}" dt="2021-07-06T04:50:43.896" v="6426" actId="165"/>
          <ac:spMkLst>
            <pc:docMk/>
            <pc:sldMk cId="3379055426" sldId="2192"/>
            <ac:spMk id="56" creationId="{1944C13D-7976-4FFF-9C1A-50B916EBC481}"/>
          </ac:spMkLst>
        </pc:spChg>
        <pc:spChg chg="mod topLvl">
          <ac:chgData name="Aurelien Domont" userId="6da7715ce44349b3" providerId="LiveId" clId="{AFF9B0D5-CA7D-40FB-964A-23276295459E}" dt="2021-07-06T04:50:43.896" v="6426" actId="165"/>
          <ac:spMkLst>
            <pc:docMk/>
            <pc:sldMk cId="3379055426" sldId="2192"/>
            <ac:spMk id="57" creationId="{596979FA-5547-40C5-9D2D-03C54409A1FB}"/>
          </ac:spMkLst>
        </pc:spChg>
        <pc:spChg chg="mod topLvl">
          <ac:chgData name="Aurelien Domont" userId="6da7715ce44349b3" providerId="LiveId" clId="{AFF9B0D5-CA7D-40FB-964A-23276295459E}" dt="2021-07-06T04:50:43.896" v="6426" actId="165"/>
          <ac:spMkLst>
            <pc:docMk/>
            <pc:sldMk cId="3379055426" sldId="2192"/>
            <ac:spMk id="58" creationId="{E2562560-CC9C-4394-9A98-D6C4F0C35DF1}"/>
          </ac:spMkLst>
        </pc:spChg>
        <pc:spChg chg="mod topLvl">
          <ac:chgData name="Aurelien Domont" userId="6da7715ce44349b3" providerId="LiveId" clId="{AFF9B0D5-CA7D-40FB-964A-23276295459E}" dt="2021-07-06T04:50:43.896" v="6426" actId="165"/>
          <ac:spMkLst>
            <pc:docMk/>
            <pc:sldMk cId="3379055426" sldId="2192"/>
            <ac:spMk id="59" creationId="{FBF447C9-790F-4E87-A5F0-245B9CBB2C5C}"/>
          </ac:spMkLst>
        </pc:spChg>
        <pc:spChg chg="mod topLvl">
          <ac:chgData name="Aurelien Domont" userId="6da7715ce44349b3" providerId="LiveId" clId="{AFF9B0D5-CA7D-40FB-964A-23276295459E}" dt="2021-07-06T04:50:43.896" v="6426" actId="165"/>
          <ac:spMkLst>
            <pc:docMk/>
            <pc:sldMk cId="3379055426" sldId="2192"/>
            <ac:spMk id="60" creationId="{70CE53DD-117C-493D-AD1D-1AB8E2D5511C}"/>
          </ac:spMkLst>
        </pc:spChg>
        <pc:spChg chg="mod topLvl">
          <ac:chgData name="Aurelien Domont" userId="6da7715ce44349b3" providerId="LiveId" clId="{AFF9B0D5-CA7D-40FB-964A-23276295459E}" dt="2021-07-06T04:50:43.896" v="6426" actId="165"/>
          <ac:spMkLst>
            <pc:docMk/>
            <pc:sldMk cId="3379055426" sldId="2192"/>
            <ac:spMk id="62" creationId="{4656F7B9-B091-4F59-B888-6DEA15CF287B}"/>
          </ac:spMkLst>
        </pc:spChg>
        <pc:spChg chg="mod topLvl">
          <ac:chgData name="Aurelien Domont" userId="6da7715ce44349b3" providerId="LiveId" clId="{AFF9B0D5-CA7D-40FB-964A-23276295459E}" dt="2021-07-06T04:50:43.896" v="6426" actId="165"/>
          <ac:spMkLst>
            <pc:docMk/>
            <pc:sldMk cId="3379055426" sldId="2192"/>
            <ac:spMk id="63" creationId="{F743838F-4369-4298-8BDF-24B1A81D7CC9}"/>
          </ac:spMkLst>
        </pc:spChg>
        <pc:spChg chg="mod topLvl">
          <ac:chgData name="Aurelien Domont" userId="6da7715ce44349b3" providerId="LiveId" clId="{AFF9B0D5-CA7D-40FB-964A-23276295459E}" dt="2021-07-06T04:50:43.896" v="6426" actId="165"/>
          <ac:spMkLst>
            <pc:docMk/>
            <pc:sldMk cId="3379055426" sldId="2192"/>
            <ac:spMk id="64" creationId="{84D7C36D-FE20-4E88-8829-94E2EC4CEE79}"/>
          </ac:spMkLst>
        </pc:spChg>
        <pc:spChg chg="mod topLvl">
          <ac:chgData name="Aurelien Domont" userId="6da7715ce44349b3" providerId="LiveId" clId="{AFF9B0D5-CA7D-40FB-964A-23276295459E}" dt="2021-07-06T04:50:43.896" v="6426" actId="165"/>
          <ac:spMkLst>
            <pc:docMk/>
            <pc:sldMk cId="3379055426" sldId="2192"/>
            <ac:spMk id="65" creationId="{8AA055DE-5DEA-480F-9D58-EB35AB60A4AF}"/>
          </ac:spMkLst>
        </pc:spChg>
        <pc:spChg chg="mod topLvl">
          <ac:chgData name="Aurelien Domont" userId="6da7715ce44349b3" providerId="LiveId" clId="{AFF9B0D5-CA7D-40FB-964A-23276295459E}" dt="2021-07-06T04:50:43.896" v="6426" actId="165"/>
          <ac:spMkLst>
            <pc:docMk/>
            <pc:sldMk cId="3379055426" sldId="2192"/>
            <ac:spMk id="66" creationId="{5B305A7E-46F5-43B2-ACBF-71567A90F965}"/>
          </ac:spMkLst>
        </pc:spChg>
        <pc:spChg chg="mod topLvl">
          <ac:chgData name="Aurelien Domont" userId="6da7715ce44349b3" providerId="LiveId" clId="{AFF9B0D5-CA7D-40FB-964A-23276295459E}" dt="2021-07-06T04:50:43.896" v="6426" actId="165"/>
          <ac:spMkLst>
            <pc:docMk/>
            <pc:sldMk cId="3379055426" sldId="2192"/>
            <ac:spMk id="67" creationId="{7455C64C-AFC5-4C29-93D3-4332E1BAEE9C}"/>
          </ac:spMkLst>
        </pc:spChg>
        <pc:spChg chg="mod topLvl">
          <ac:chgData name="Aurelien Domont" userId="6da7715ce44349b3" providerId="LiveId" clId="{AFF9B0D5-CA7D-40FB-964A-23276295459E}" dt="2021-07-06T04:50:43.896" v="6426" actId="165"/>
          <ac:spMkLst>
            <pc:docMk/>
            <pc:sldMk cId="3379055426" sldId="2192"/>
            <ac:spMk id="68" creationId="{5E8A23BD-D375-4967-ACA7-E1CCA49242EA}"/>
          </ac:spMkLst>
        </pc:spChg>
        <pc:spChg chg="mod topLvl">
          <ac:chgData name="Aurelien Domont" userId="6da7715ce44349b3" providerId="LiveId" clId="{AFF9B0D5-CA7D-40FB-964A-23276295459E}" dt="2021-07-06T04:50:43.896" v="6426" actId="165"/>
          <ac:spMkLst>
            <pc:docMk/>
            <pc:sldMk cId="3379055426" sldId="2192"/>
            <ac:spMk id="69" creationId="{4030F0B9-06DB-4A6A-968B-33EF931731CE}"/>
          </ac:spMkLst>
        </pc:spChg>
        <pc:spChg chg="mod topLvl">
          <ac:chgData name="Aurelien Domont" userId="6da7715ce44349b3" providerId="LiveId" clId="{AFF9B0D5-CA7D-40FB-964A-23276295459E}" dt="2021-07-06T04:50:43.896" v="6426" actId="165"/>
          <ac:spMkLst>
            <pc:docMk/>
            <pc:sldMk cId="3379055426" sldId="2192"/>
            <ac:spMk id="70" creationId="{A2C60355-D617-4490-8E3E-1D6F4CB8A214}"/>
          </ac:spMkLst>
        </pc:spChg>
        <pc:spChg chg="mod topLvl">
          <ac:chgData name="Aurelien Domont" userId="6da7715ce44349b3" providerId="LiveId" clId="{AFF9B0D5-CA7D-40FB-964A-23276295459E}" dt="2021-07-06T04:50:43.896" v="6426" actId="165"/>
          <ac:spMkLst>
            <pc:docMk/>
            <pc:sldMk cId="3379055426" sldId="2192"/>
            <ac:spMk id="71" creationId="{CA9EB5AA-76BB-4143-A0DE-34A4DC0010AC}"/>
          </ac:spMkLst>
        </pc:spChg>
        <pc:spChg chg="mod topLvl">
          <ac:chgData name="Aurelien Domont" userId="6da7715ce44349b3" providerId="LiveId" clId="{AFF9B0D5-CA7D-40FB-964A-23276295459E}" dt="2021-07-06T04:50:43.896" v="6426" actId="165"/>
          <ac:spMkLst>
            <pc:docMk/>
            <pc:sldMk cId="3379055426" sldId="2192"/>
            <ac:spMk id="72" creationId="{966691BF-5126-4A33-8916-C81706F25C90}"/>
          </ac:spMkLst>
        </pc:spChg>
        <pc:spChg chg="mod topLvl">
          <ac:chgData name="Aurelien Domont" userId="6da7715ce44349b3" providerId="LiveId" clId="{AFF9B0D5-CA7D-40FB-964A-23276295459E}" dt="2021-07-06T04:50:43.896" v="6426" actId="165"/>
          <ac:spMkLst>
            <pc:docMk/>
            <pc:sldMk cId="3379055426" sldId="2192"/>
            <ac:spMk id="73" creationId="{5390EC5E-7055-4804-84A3-7E70E3904E93}"/>
          </ac:spMkLst>
        </pc:spChg>
        <pc:spChg chg="mod topLvl">
          <ac:chgData name="Aurelien Domont" userId="6da7715ce44349b3" providerId="LiveId" clId="{AFF9B0D5-CA7D-40FB-964A-23276295459E}" dt="2021-07-06T04:50:43.896" v="6426" actId="165"/>
          <ac:spMkLst>
            <pc:docMk/>
            <pc:sldMk cId="3379055426" sldId="2192"/>
            <ac:spMk id="74" creationId="{E65D02F2-FDEC-478F-8C7C-EF6B6E889CDF}"/>
          </ac:spMkLst>
        </pc:spChg>
        <pc:spChg chg="mod topLvl">
          <ac:chgData name="Aurelien Domont" userId="6da7715ce44349b3" providerId="LiveId" clId="{AFF9B0D5-CA7D-40FB-964A-23276295459E}" dt="2021-07-06T04:50:43.896" v="6426" actId="165"/>
          <ac:spMkLst>
            <pc:docMk/>
            <pc:sldMk cId="3379055426" sldId="2192"/>
            <ac:spMk id="75" creationId="{10C7DD6A-EDF4-4E97-BF30-74BFFFD36441}"/>
          </ac:spMkLst>
        </pc:spChg>
        <pc:spChg chg="mod topLvl">
          <ac:chgData name="Aurelien Domont" userId="6da7715ce44349b3" providerId="LiveId" clId="{AFF9B0D5-CA7D-40FB-964A-23276295459E}" dt="2021-07-06T04:50:43.896" v="6426" actId="165"/>
          <ac:spMkLst>
            <pc:docMk/>
            <pc:sldMk cId="3379055426" sldId="2192"/>
            <ac:spMk id="76" creationId="{12F4E801-8132-4F0C-B8DA-A36568ECCC40}"/>
          </ac:spMkLst>
        </pc:spChg>
        <pc:spChg chg="mod topLvl">
          <ac:chgData name="Aurelien Domont" userId="6da7715ce44349b3" providerId="LiveId" clId="{AFF9B0D5-CA7D-40FB-964A-23276295459E}" dt="2021-07-06T04:50:43.896" v="6426" actId="165"/>
          <ac:spMkLst>
            <pc:docMk/>
            <pc:sldMk cId="3379055426" sldId="2192"/>
            <ac:spMk id="77" creationId="{C5615F12-CE48-4C91-BA28-3C8B3DDC3F58}"/>
          </ac:spMkLst>
        </pc:spChg>
        <pc:spChg chg="mod topLvl">
          <ac:chgData name="Aurelien Domont" userId="6da7715ce44349b3" providerId="LiveId" clId="{AFF9B0D5-CA7D-40FB-964A-23276295459E}" dt="2021-07-06T04:50:43.896" v="6426" actId="165"/>
          <ac:spMkLst>
            <pc:docMk/>
            <pc:sldMk cId="3379055426" sldId="2192"/>
            <ac:spMk id="78" creationId="{22A89C04-5EB4-44E9-A32D-27408ED8CB56}"/>
          </ac:spMkLst>
        </pc:spChg>
        <pc:spChg chg="mod topLvl">
          <ac:chgData name="Aurelien Domont" userId="6da7715ce44349b3" providerId="LiveId" clId="{AFF9B0D5-CA7D-40FB-964A-23276295459E}" dt="2021-07-06T04:50:43.896" v="6426" actId="165"/>
          <ac:spMkLst>
            <pc:docMk/>
            <pc:sldMk cId="3379055426" sldId="2192"/>
            <ac:spMk id="79" creationId="{56A025F8-D352-4D26-97E8-71FDE85A31BB}"/>
          </ac:spMkLst>
        </pc:spChg>
        <pc:spChg chg="mod topLvl">
          <ac:chgData name="Aurelien Domont" userId="6da7715ce44349b3" providerId="LiveId" clId="{AFF9B0D5-CA7D-40FB-964A-23276295459E}" dt="2021-07-06T04:50:43.896" v="6426" actId="165"/>
          <ac:spMkLst>
            <pc:docMk/>
            <pc:sldMk cId="3379055426" sldId="2192"/>
            <ac:spMk id="80" creationId="{9A3331CC-8CC9-46B2-B479-BF612DE96A49}"/>
          </ac:spMkLst>
        </pc:spChg>
        <pc:spChg chg="mod topLvl">
          <ac:chgData name="Aurelien Domont" userId="6da7715ce44349b3" providerId="LiveId" clId="{AFF9B0D5-CA7D-40FB-964A-23276295459E}" dt="2021-07-06T04:50:43.896" v="6426" actId="165"/>
          <ac:spMkLst>
            <pc:docMk/>
            <pc:sldMk cId="3379055426" sldId="2192"/>
            <ac:spMk id="81" creationId="{AE32AB5F-2BE3-4D9C-A624-18BF13205C37}"/>
          </ac:spMkLst>
        </pc:spChg>
        <pc:spChg chg="mod topLvl">
          <ac:chgData name="Aurelien Domont" userId="6da7715ce44349b3" providerId="LiveId" clId="{AFF9B0D5-CA7D-40FB-964A-23276295459E}" dt="2021-07-06T04:50:43.896" v="6426" actId="165"/>
          <ac:spMkLst>
            <pc:docMk/>
            <pc:sldMk cId="3379055426" sldId="2192"/>
            <ac:spMk id="82" creationId="{3F3D471F-019C-499B-849A-3C0555B66D7C}"/>
          </ac:spMkLst>
        </pc:spChg>
        <pc:spChg chg="mod topLvl">
          <ac:chgData name="Aurelien Domont" userId="6da7715ce44349b3" providerId="LiveId" clId="{AFF9B0D5-CA7D-40FB-964A-23276295459E}" dt="2021-07-06T04:50:43.896" v="6426" actId="165"/>
          <ac:spMkLst>
            <pc:docMk/>
            <pc:sldMk cId="3379055426" sldId="2192"/>
            <ac:spMk id="83" creationId="{89794A8E-92B0-4F14-BCC8-8E09C4E8EB7B}"/>
          </ac:spMkLst>
        </pc:spChg>
        <pc:spChg chg="mod topLvl">
          <ac:chgData name="Aurelien Domont" userId="6da7715ce44349b3" providerId="LiveId" clId="{AFF9B0D5-CA7D-40FB-964A-23276295459E}" dt="2021-07-06T04:50:43.896" v="6426" actId="165"/>
          <ac:spMkLst>
            <pc:docMk/>
            <pc:sldMk cId="3379055426" sldId="2192"/>
            <ac:spMk id="84" creationId="{7CD25A7C-1C59-4AF8-8A24-ADDD1091CAA3}"/>
          </ac:spMkLst>
        </pc:spChg>
        <pc:spChg chg="mod topLvl">
          <ac:chgData name="Aurelien Domont" userId="6da7715ce44349b3" providerId="LiveId" clId="{AFF9B0D5-CA7D-40FB-964A-23276295459E}" dt="2021-07-06T04:50:43.896" v="6426" actId="165"/>
          <ac:spMkLst>
            <pc:docMk/>
            <pc:sldMk cId="3379055426" sldId="2192"/>
            <ac:spMk id="85" creationId="{C4050E01-DB91-4148-825F-4017F471C329}"/>
          </ac:spMkLst>
        </pc:spChg>
        <pc:spChg chg="mod topLvl">
          <ac:chgData name="Aurelien Domont" userId="6da7715ce44349b3" providerId="LiveId" clId="{AFF9B0D5-CA7D-40FB-964A-23276295459E}" dt="2021-07-06T04:50:43.896" v="6426" actId="165"/>
          <ac:spMkLst>
            <pc:docMk/>
            <pc:sldMk cId="3379055426" sldId="2192"/>
            <ac:spMk id="86" creationId="{7EA15ED6-46A5-43A0-B67C-11BDD4BF88EB}"/>
          </ac:spMkLst>
        </pc:spChg>
        <pc:spChg chg="mod topLvl">
          <ac:chgData name="Aurelien Domont" userId="6da7715ce44349b3" providerId="LiveId" clId="{AFF9B0D5-CA7D-40FB-964A-23276295459E}" dt="2021-07-06T04:50:43.896" v="6426" actId="165"/>
          <ac:spMkLst>
            <pc:docMk/>
            <pc:sldMk cId="3379055426" sldId="2192"/>
            <ac:spMk id="87" creationId="{FC2D8D47-DCE8-41DC-B4D8-D14FEC5472C2}"/>
          </ac:spMkLst>
        </pc:spChg>
        <pc:spChg chg="mod topLvl">
          <ac:chgData name="Aurelien Domont" userId="6da7715ce44349b3" providerId="LiveId" clId="{AFF9B0D5-CA7D-40FB-964A-23276295459E}" dt="2021-07-06T04:50:43.896" v="6426" actId="165"/>
          <ac:spMkLst>
            <pc:docMk/>
            <pc:sldMk cId="3379055426" sldId="2192"/>
            <ac:spMk id="88" creationId="{4C383830-3025-4A26-80CA-D9DD9FFC4366}"/>
          </ac:spMkLst>
        </pc:spChg>
        <pc:spChg chg="mod topLvl">
          <ac:chgData name="Aurelien Domont" userId="6da7715ce44349b3" providerId="LiveId" clId="{AFF9B0D5-CA7D-40FB-964A-23276295459E}" dt="2021-07-06T04:50:43.896" v="6426" actId="165"/>
          <ac:spMkLst>
            <pc:docMk/>
            <pc:sldMk cId="3379055426" sldId="2192"/>
            <ac:spMk id="89" creationId="{0A9438A0-9A3F-408D-8570-5955D7D53414}"/>
          </ac:spMkLst>
        </pc:spChg>
        <pc:spChg chg="mod topLvl">
          <ac:chgData name="Aurelien Domont" userId="6da7715ce44349b3" providerId="LiveId" clId="{AFF9B0D5-CA7D-40FB-964A-23276295459E}" dt="2021-07-06T04:50:43.896" v="6426" actId="165"/>
          <ac:spMkLst>
            <pc:docMk/>
            <pc:sldMk cId="3379055426" sldId="2192"/>
            <ac:spMk id="90" creationId="{CCF6A828-CC27-43AB-81DC-A5E4A45B8030}"/>
          </ac:spMkLst>
        </pc:spChg>
        <pc:spChg chg="mod topLvl">
          <ac:chgData name="Aurelien Domont" userId="6da7715ce44349b3" providerId="LiveId" clId="{AFF9B0D5-CA7D-40FB-964A-23276295459E}" dt="2021-07-06T04:50:43.896" v="6426" actId="165"/>
          <ac:spMkLst>
            <pc:docMk/>
            <pc:sldMk cId="3379055426" sldId="2192"/>
            <ac:spMk id="91" creationId="{EDB86CFC-23D4-4473-B846-3DA806F5108D}"/>
          </ac:spMkLst>
        </pc:spChg>
        <pc:spChg chg="mod topLvl">
          <ac:chgData name="Aurelien Domont" userId="6da7715ce44349b3" providerId="LiveId" clId="{AFF9B0D5-CA7D-40FB-964A-23276295459E}" dt="2021-07-06T04:50:43.896" v="6426" actId="165"/>
          <ac:spMkLst>
            <pc:docMk/>
            <pc:sldMk cId="3379055426" sldId="2192"/>
            <ac:spMk id="92" creationId="{9E27841A-5BBF-4869-8CB3-6677215968FD}"/>
          </ac:spMkLst>
        </pc:spChg>
        <pc:spChg chg="mod topLvl">
          <ac:chgData name="Aurelien Domont" userId="6da7715ce44349b3" providerId="LiveId" clId="{AFF9B0D5-CA7D-40FB-964A-23276295459E}" dt="2021-07-06T04:50:43.896" v="6426" actId="165"/>
          <ac:spMkLst>
            <pc:docMk/>
            <pc:sldMk cId="3379055426" sldId="2192"/>
            <ac:spMk id="93" creationId="{848846B1-BA0C-4806-B1DC-2FCF6F3B46EF}"/>
          </ac:spMkLst>
        </pc:spChg>
        <pc:spChg chg="mod topLvl">
          <ac:chgData name="Aurelien Domont" userId="6da7715ce44349b3" providerId="LiveId" clId="{AFF9B0D5-CA7D-40FB-964A-23276295459E}" dt="2021-07-06T04:50:43.896" v="6426" actId="165"/>
          <ac:spMkLst>
            <pc:docMk/>
            <pc:sldMk cId="3379055426" sldId="2192"/>
            <ac:spMk id="94" creationId="{B32F85AD-308E-4382-B339-9D0E3532E3B1}"/>
          </ac:spMkLst>
        </pc:spChg>
        <pc:spChg chg="mod topLvl">
          <ac:chgData name="Aurelien Domont" userId="6da7715ce44349b3" providerId="LiveId" clId="{AFF9B0D5-CA7D-40FB-964A-23276295459E}" dt="2021-07-06T04:50:43.896" v="6426" actId="165"/>
          <ac:spMkLst>
            <pc:docMk/>
            <pc:sldMk cId="3379055426" sldId="2192"/>
            <ac:spMk id="95" creationId="{F081A304-2C8F-4778-8EC0-5DCF78B4211E}"/>
          </ac:spMkLst>
        </pc:spChg>
        <pc:spChg chg="mod topLvl">
          <ac:chgData name="Aurelien Domont" userId="6da7715ce44349b3" providerId="LiveId" clId="{AFF9B0D5-CA7D-40FB-964A-23276295459E}" dt="2021-07-06T04:50:43.896" v="6426" actId="165"/>
          <ac:spMkLst>
            <pc:docMk/>
            <pc:sldMk cId="3379055426" sldId="2192"/>
            <ac:spMk id="96" creationId="{5B9E9E35-688A-4E46-AD17-958B53B2A9BD}"/>
          </ac:spMkLst>
        </pc:spChg>
        <pc:spChg chg="mod topLvl">
          <ac:chgData name="Aurelien Domont" userId="6da7715ce44349b3" providerId="LiveId" clId="{AFF9B0D5-CA7D-40FB-964A-23276295459E}" dt="2021-07-06T04:50:43.896" v="6426" actId="165"/>
          <ac:spMkLst>
            <pc:docMk/>
            <pc:sldMk cId="3379055426" sldId="2192"/>
            <ac:spMk id="97" creationId="{A76194B1-A38E-4BB8-8B3F-AE4835F7AC4E}"/>
          </ac:spMkLst>
        </pc:spChg>
        <pc:spChg chg="mod topLvl">
          <ac:chgData name="Aurelien Domont" userId="6da7715ce44349b3" providerId="LiveId" clId="{AFF9B0D5-CA7D-40FB-964A-23276295459E}" dt="2021-07-06T04:50:43.896" v="6426" actId="165"/>
          <ac:spMkLst>
            <pc:docMk/>
            <pc:sldMk cId="3379055426" sldId="2192"/>
            <ac:spMk id="98" creationId="{55792372-BB82-4ECA-8C77-C82715CC6A14}"/>
          </ac:spMkLst>
        </pc:spChg>
        <pc:spChg chg="mod topLvl">
          <ac:chgData name="Aurelien Domont" userId="6da7715ce44349b3" providerId="LiveId" clId="{AFF9B0D5-CA7D-40FB-964A-23276295459E}" dt="2021-07-06T04:50:43.896" v="6426" actId="165"/>
          <ac:spMkLst>
            <pc:docMk/>
            <pc:sldMk cId="3379055426" sldId="2192"/>
            <ac:spMk id="99" creationId="{90896AAA-AEDF-49B2-8503-7CA2DF421D32}"/>
          </ac:spMkLst>
        </pc:spChg>
        <pc:spChg chg="mod topLvl">
          <ac:chgData name="Aurelien Domont" userId="6da7715ce44349b3" providerId="LiveId" clId="{AFF9B0D5-CA7D-40FB-964A-23276295459E}" dt="2021-07-06T04:50:43.896" v="6426" actId="165"/>
          <ac:spMkLst>
            <pc:docMk/>
            <pc:sldMk cId="3379055426" sldId="2192"/>
            <ac:spMk id="100" creationId="{4E419948-B362-4317-B94F-EB6EEF93D5F8}"/>
          </ac:spMkLst>
        </pc:spChg>
        <pc:spChg chg="mod topLvl">
          <ac:chgData name="Aurelien Domont" userId="6da7715ce44349b3" providerId="LiveId" clId="{AFF9B0D5-CA7D-40FB-964A-23276295459E}" dt="2021-07-06T04:50:43.896" v="6426" actId="165"/>
          <ac:spMkLst>
            <pc:docMk/>
            <pc:sldMk cId="3379055426" sldId="2192"/>
            <ac:spMk id="101" creationId="{F0E0088D-D528-4463-A7EF-0CD7ED8D8194}"/>
          </ac:spMkLst>
        </pc:spChg>
        <pc:spChg chg="mod topLvl">
          <ac:chgData name="Aurelien Domont" userId="6da7715ce44349b3" providerId="LiveId" clId="{AFF9B0D5-CA7D-40FB-964A-23276295459E}" dt="2021-07-06T04:50:43.896" v="6426" actId="165"/>
          <ac:spMkLst>
            <pc:docMk/>
            <pc:sldMk cId="3379055426" sldId="2192"/>
            <ac:spMk id="102" creationId="{75C95256-B79D-4118-9B21-A8859DCC2637}"/>
          </ac:spMkLst>
        </pc:spChg>
        <pc:spChg chg="mod topLvl">
          <ac:chgData name="Aurelien Domont" userId="6da7715ce44349b3" providerId="LiveId" clId="{AFF9B0D5-CA7D-40FB-964A-23276295459E}" dt="2021-07-06T04:50:43.896" v="6426" actId="165"/>
          <ac:spMkLst>
            <pc:docMk/>
            <pc:sldMk cId="3379055426" sldId="2192"/>
            <ac:spMk id="103" creationId="{65BF41B5-CFC3-43AD-A8E2-6B26904CC06B}"/>
          </ac:spMkLst>
        </pc:spChg>
        <pc:spChg chg="mod topLvl">
          <ac:chgData name="Aurelien Domont" userId="6da7715ce44349b3" providerId="LiveId" clId="{AFF9B0D5-CA7D-40FB-964A-23276295459E}" dt="2021-07-06T04:50:43.896" v="6426" actId="165"/>
          <ac:spMkLst>
            <pc:docMk/>
            <pc:sldMk cId="3379055426" sldId="2192"/>
            <ac:spMk id="104" creationId="{E1AE7574-E20A-43ED-86E1-67FF47EE59E9}"/>
          </ac:spMkLst>
        </pc:spChg>
        <pc:spChg chg="mod topLvl">
          <ac:chgData name="Aurelien Domont" userId="6da7715ce44349b3" providerId="LiveId" clId="{AFF9B0D5-CA7D-40FB-964A-23276295459E}" dt="2021-07-06T04:50:43.896" v="6426" actId="165"/>
          <ac:spMkLst>
            <pc:docMk/>
            <pc:sldMk cId="3379055426" sldId="2192"/>
            <ac:spMk id="105" creationId="{1CA686F3-4B48-4FCA-9990-4A687AED190F}"/>
          </ac:spMkLst>
        </pc:spChg>
        <pc:spChg chg="mod topLvl">
          <ac:chgData name="Aurelien Domont" userId="6da7715ce44349b3" providerId="LiveId" clId="{AFF9B0D5-CA7D-40FB-964A-23276295459E}" dt="2021-07-06T04:50:43.896" v="6426" actId="165"/>
          <ac:spMkLst>
            <pc:docMk/>
            <pc:sldMk cId="3379055426" sldId="2192"/>
            <ac:spMk id="106" creationId="{230C6DFA-375D-4416-9E4E-067C619F1BFF}"/>
          </ac:spMkLst>
        </pc:spChg>
        <pc:spChg chg="mod topLvl">
          <ac:chgData name="Aurelien Domont" userId="6da7715ce44349b3" providerId="LiveId" clId="{AFF9B0D5-CA7D-40FB-964A-23276295459E}" dt="2021-07-06T04:50:43.896" v="6426" actId="165"/>
          <ac:spMkLst>
            <pc:docMk/>
            <pc:sldMk cId="3379055426" sldId="2192"/>
            <ac:spMk id="107" creationId="{77E2697D-9897-4A3B-A255-C96C05DFB65E}"/>
          </ac:spMkLst>
        </pc:spChg>
        <pc:spChg chg="mod topLvl">
          <ac:chgData name="Aurelien Domont" userId="6da7715ce44349b3" providerId="LiveId" clId="{AFF9B0D5-CA7D-40FB-964A-23276295459E}" dt="2021-07-06T04:50:43.896" v="6426" actId="165"/>
          <ac:spMkLst>
            <pc:docMk/>
            <pc:sldMk cId="3379055426" sldId="2192"/>
            <ac:spMk id="108" creationId="{FC706995-E8AA-43E2-8476-DA80D70E249C}"/>
          </ac:spMkLst>
        </pc:spChg>
        <pc:spChg chg="mod topLvl">
          <ac:chgData name="Aurelien Domont" userId="6da7715ce44349b3" providerId="LiveId" clId="{AFF9B0D5-CA7D-40FB-964A-23276295459E}" dt="2021-07-06T04:50:43.896" v="6426" actId="165"/>
          <ac:spMkLst>
            <pc:docMk/>
            <pc:sldMk cId="3379055426" sldId="2192"/>
            <ac:spMk id="109" creationId="{2B07D6D4-194B-4146-A1AE-508C73D392A6}"/>
          </ac:spMkLst>
        </pc:spChg>
        <pc:spChg chg="mod topLvl">
          <ac:chgData name="Aurelien Domont" userId="6da7715ce44349b3" providerId="LiveId" clId="{AFF9B0D5-CA7D-40FB-964A-23276295459E}" dt="2021-07-06T04:50:43.896" v="6426" actId="165"/>
          <ac:spMkLst>
            <pc:docMk/>
            <pc:sldMk cId="3379055426" sldId="2192"/>
            <ac:spMk id="110" creationId="{C5A5E31E-BC3F-4031-B4BD-96322C581A05}"/>
          </ac:spMkLst>
        </pc:spChg>
        <pc:spChg chg="mod topLvl">
          <ac:chgData name="Aurelien Domont" userId="6da7715ce44349b3" providerId="LiveId" clId="{AFF9B0D5-CA7D-40FB-964A-23276295459E}" dt="2021-07-06T04:50:43.896" v="6426" actId="165"/>
          <ac:spMkLst>
            <pc:docMk/>
            <pc:sldMk cId="3379055426" sldId="2192"/>
            <ac:spMk id="111" creationId="{632D5824-AD44-4E4F-AF47-F307A1FA0E2C}"/>
          </ac:spMkLst>
        </pc:spChg>
        <pc:spChg chg="mod topLvl">
          <ac:chgData name="Aurelien Domont" userId="6da7715ce44349b3" providerId="LiveId" clId="{AFF9B0D5-CA7D-40FB-964A-23276295459E}" dt="2021-07-06T04:50:43.896" v="6426" actId="165"/>
          <ac:spMkLst>
            <pc:docMk/>
            <pc:sldMk cId="3379055426" sldId="2192"/>
            <ac:spMk id="112" creationId="{6F83E090-B402-410D-AFC1-C419C6F8E4CB}"/>
          </ac:spMkLst>
        </pc:spChg>
        <pc:spChg chg="mod topLvl">
          <ac:chgData name="Aurelien Domont" userId="6da7715ce44349b3" providerId="LiveId" clId="{AFF9B0D5-CA7D-40FB-964A-23276295459E}" dt="2021-07-06T04:50:43.896" v="6426" actId="165"/>
          <ac:spMkLst>
            <pc:docMk/>
            <pc:sldMk cId="3379055426" sldId="2192"/>
            <ac:spMk id="113" creationId="{651407DE-861B-4C05-842D-A44085EFF369}"/>
          </ac:spMkLst>
        </pc:spChg>
        <pc:spChg chg="mod topLvl">
          <ac:chgData name="Aurelien Domont" userId="6da7715ce44349b3" providerId="LiveId" clId="{AFF9B0D5-CA7D-40FB-964A-23276295459E}" dt="2021-07-06T04:50:43.896" v="6426" actId="165"/>
          <ac:spMkLst>
            <pc:docMk/>
            <pc:sldMk cId="3379055426" sldId="2192"/>
            <ac:spMk id="114" creationId="{783A9BBE-48DB-4AE1-8421-30B47ED6B068}"/>
          </ac:spMkLst>
        </pc:spChg>
        <pc:spChg chg="mod topLvl">
          <ac:chgData name="Aurelien Domont" userId="6da7715ce44349b3" providerId="LiveId" clId="{AFF9B0D5-CA7D-40FB-964A-23276295459E}" dt="2021-07-06T04:50:43.896" v="6426" actId="165"/>
          <ac:spMkLst>
            <pc:docMk/>
            <pc:sldMk cId="3379055426" sldId="2192"/>
            <ac:spMk id="115" creationId="{BF2EC1BE-F8C3-4855-8D2E-4C26D0C250BD}"/>
          </ac:spMkLst>
        </pc:spChg>
        <pc:spChg chg="mod topLvl">
          <ac:chgData name="Aurelien Domont" userId="6da7715ce44349b3" providerId="LiveId" clId="{AFF9B0D5-CA7D-40FB-964A-23276295459E}" dt="2021-07-06T04:50:43.896" v="6426" actId="165"/>
          <ac:spMkLst>
            <pc:docMk/>
            <pc:sldMk cId="3379055426" sldId="2192"/>
            <ac:spMk id="116" creationId="{3B25F4FD-B5EE-4E5D-A3A5-1ABDEAD5F06B}"/>
          </ac:spMkLst>
        </pc:spChg>
        <pc:spChg chg="mod topLvl">
          <ac:chgData name="Aurelien Domont" userId="6da7715ce44349b3" providerId="LiveId" clId="{AFF9B0D5-CA7D-40FB-964A-23276295459E}" dt="2021-07-06T04:50:43.896" v="6426" actId="165"/>
          <ac:spMkLst>
            <pc:docMk/>
            <pc:sldMk cId="3379055426" sldId="2192"/>
            <ac:spMk id="117" creationId="{4150CB89-F485-436E-97D1-4FB1609F4986}"/>
          </ac:spMkLst>
        </pc:spChg>
        <pc:spChg chg="mod topLvl">
          <ac:chgData name="Aurelien Domont" userId="6da7715ce44349b3" providerId="LiveId" clId="{AFF9B0D5-CA7D-40FB-964A-23276295459E}" dt="2021-07-06T04:50:43.896" v="6426" actId="165"/>
          <ac:spMkLst>
            <pc:docMk/>
            <pc:sldMk cId="3379055426" sldId="2192"/>
            <ac:spMk id="118" creationId="{49E8AE7E-7F5A-4A11-9512-6C7079D464A2}"/>
          </ac:spMkLst>
        </pc:spChg>
        <pc:spChg chg="mod topLvl">
          <ac:chgData name="Aurelien Domont" userId="6da7715ce44349b3" providerId="LiveId" clId="{AFF9B0D5-CA7D-40FB-964A-23276295459E}" dt="2021-07-06T04:50:43.896" v="6426" actId="165"/>
          <ac:spMkLst>
            <pc:docMk/>
            <pc:sldMk cId="3379055426" sldId="2192"/>
            <ac:spMk id="119" creationId="{82534475-B316-4ED5-BDD3-1061DFF13294}"/>
          </ac:spMkLst>
        </pc:spChg>
        <pc:spChg chg="mod topLvl">
          <ac:chgData name="Aurelien Domont" userId="6da7715ce44349b3" providerId="LiveId" clId="{AFF9B0D5-CA7D-40FB-964A-23276295459E}" dt="2021-07-06T04:50:43.896" v="6426" actId="165"/>
          <ac:spMkLst>
            <pc:docMk/>
            <pc:sldMk cId="3379055426" sldId="2192"/>
            <ac:spMk id="120" creationId="{894A3104-C61D-488C-BD9D-15689C082991}"/>
          </ac:spMkLst>
        </pc:spChg>
        <pc:spChg chg="mod topLvl">
          <ac:chgData name="Aurelien Domont" userId="6da7715ce44349b3" providerId="LiveId" clId="{AFF9B0D5-CA7D-40FB-964A-23276295459E}" dt="2021-07-06T04:50:43.896" v="6426" actId="165"/>
          <ac:spMkLst>
            <pc:docMk/>
            <pc:sldMk cId="3379055426" sldId="2192"/>
            <ac:spMk id="121" creationId="{19010C2B-F3E6-484A-A3F9-6592B0831B41}"/>
          </ac:spMkLst>
        </pc:spChg>
        <pc:spChg chg="mod topLvl">
          <ac:chgData name="Aurelien Domont" userId="6da7715ce44349b3" providerId="LiveId" clId="{AFF9B0D5-CA7D-40FB-964A-23276295459E}" dt="2021-07-06T04:50:43.896" v="6426" actId="165"/>
          <ac:spMkLst>
            <pc:docMk/>
            <pc:sldMk cId="3379055426" sldId="2192"/>
            <ac:spMk id="122" creationId="{39FEB8F0-3332-4428-AEEA-741658E4FDC4}"/>
          </ac:spMkLst>
        </pc:spChg>
        <pc:spChg chg="mod topLvl">
          <ac:chgData name="Aurelien Domont" userId="6da7715ce44349b3" providerId="LiveId" clId="{AFF9B0D5-CA7D-40FB-964A-23276295459E}" dt="2021-07-06T04:50:43.896" v="6426" actId="165"/>
          <ac:spMkLst>
            <pc:docMk/>
            <pc:sldMk cId="3379055426" sldId="2192"/>
            <ac:spMk id="123" creationId="{7499BFA2-541F-43A4-8B7D-28E1FABD6E23}"/>
          </ac:spMkLst>
        </pc:spChg>
        <pc:spChg chg="mod topLvl">
          <ac:chgData name="Aurelien Domont" userId="6da7715ce44349b3" providerId="LiveId" clId="{AFF9B0D5-CA7D-40FB-964A-23276295459E}" dt="2021-07-06T04:50:43.896" v="6426" actId="165"/>
          <ac:spMkLst>
            <pc:docMk/>
            <pc:sldMk cId="3379055426" sldId="2192"/>
            <ac:spMk id="125" creationId="{2C9E90AE-B1D5-4F9C-BFCF-DCC3E4BCD4E2}"/>
          </ac:spMkLst>
        </pc:spChg>
        <pc:spChg chg="mod topLvl">
          <ac:chgData name="Aurelien Domont" userId="6da7715ce44349b3" providerId="LiveId" clId="{AFF9B0D5-CA7D-40FB-964A-23276295459E}" dt="2021-07-06T04:50:43.896" v="6426" actId="165"/>
          <ac:spMkLst>
            <pc:docMk/>
            <pc:sldMk cId="3379055426" sldId="2192"/>
            <ac:spMk id="127" creationId="{378FBEAB-0A9B-4243-98E7-1FEF1F9571B3}"/>
          </ac:spMkLst>
        </pc:spChg>
        <pc:spChg chg="mod topLvl">
          <ac:chgData name="Aurelien Domont" userId="6da7715ce44349b3" providerId="LiveId" clId="{AFF9B0D5-CA7D-40FB-964A-23276295459E}" dt="2021-07-06T04:50:43.896" v="6426" actId="165"/>
          <ac:spMkLst>
            <pc:docMk/>
            <pc:sldMk cId="3379055426" sldId="2192"/>
            <ac:spMk id="129" creationId="{C5A5F10F-556A-4AE1-A4ED-861F2945FF0C}"/>
          </ac:spMkLst>
        </pc:spChg>
        <pc:spChg chg="mod topLvl">
          <ac:chgData name="Aurelien Domont" userId="6da7715ce44349b3" providerId="LiveId" clId="{AFF9B0D5-CA7D-40FB-964A-23276295459E}" dt="2021-07-06T04:50:43.896" v="6426" actId="165"/>
          <ac:spMkLst>
            <pc:docMk/>
            <pc:sldMk cId="3379055426" sldId="2192"/>
            <ac:spMk id="131" creationId="{350273C7-56F8-484A-88FB-9CC9C5B030D4}"/>
          </ac:spMkLst>
        </pc:spChg>
        <pc:spChg chg="mod topLvl">
          <ac:chgData name="Aurelien Domont" userId="6da7715ce44349b3" providerId="LiveId" clId="{AFF9B0D5-CA7D-40FB-964A-23276295459E}" dt="2021-07-06T04:50:43.896" v="6426" actId="165"/>
          <ac:spMkLst>
            <pc:docMk/>
            <pc:sldMk cId="3379055426" sldId="2192"/>
            <ac:spMk id="132" creationId="{BC6174EC-1DA5-446D-880E-B7EA6E2BB114}"/>
          </ac:spMkLst>
        </pc:spChg>
        <pc:spChg chg="mod topLvl">
          <ac:chgData name="Aurelien Domont" userId="6da7715ce44349b3" providerId="LiveId" clId="{AFF9B0D5-CA7D-40FB-964A-23276295459E}" dt="2021-07-06T04:50:43.896" v="6426" actId="165"/>
          <ac:spMkLst>
            <pc:docMk/>
            <pc:sldMk cId="3379055426" sldId="2192"/>
            <ac:spMk id="133" creationId="{512FA95D-9A9C-4659-B363-4DC368AFFBCF}"/>
          </ac:spMkLst>
        </pc:spChg>
        <pc:spChg chg="mod topLvl">
          <ac:chgData name="Aurelien Domont" userId="6da7715ce44349b3" providerId="LiveId" clId="{AFF9B0D5-CA7D-40FB-964A-23276295459E}" dt="2021-07-06T04:50:43.896" v="6426" actId="165"/>
          <ac:spMkLst>
            <pc:docMk/>
            <pc:sldMk cId="3379055426" sldId="2192"/>
            <ac:spMk id="134" creationId="{CF8EEA38-F094-4816-918B-C5ECB1F04613}"/>
          </ac:spMkLst>
        </pc:spChg>
        <pc:spChg chg="mod topLvl">
          <ac:chgData name="Aurelien Domont" userId="6da7715ce44349b3" providerId="LiveId" clId="{AFF9B0D5-CA7D-40FB-964A-23276295459E}" dt="2021-07-06T04:50:43.896" v="6426" actId="165"/>
          <ac:spMkLst>
            <pc:docMk/>
            <pc:sldMk cId="3379055426" sldId="2192"/>
            <ac:spMk id="135" creationId="{B477CF5F-A7AF-43CE-8582-FAB481858132}"/>
          </ac:spMkLst>
        </pc:spChg>
        <pc:spChg chg="mod topLvl">
          <ac:chgData name="Aurelien Domont" userId="6da7715ce44349b3" providerId="LiveId" clId="{AFF9B0D5-CA7D-40FB-964A-23276295459E}" dt="2021-07-06T04:50:43.896" v="6426" actId="165"/>
          <ac:spMkLst>
            <pc:docMk/>
            <pc:sldMk cId="3379055426" sldId="2192"/>
            <ac:spMk id="136" creationId="{3A8CD19A-AC64-4532-A17D-3F89472AF0E5}"/>
          </ac:spMkLst>
        </pc:spChg>
        <pc:spChg chg="mod topLvl">
          <ac:chgData name="Aurelien Domont" userId="6da7715ce44349b3" providerId="LiveId" clId="{AFF9B0D5-CA7D-40FB-964A-23276295459E}" dt="2021-07-06T04:50:43.896" v="6426" actId="165"/>
          <ac:spMkLst>
            <pc:docMk/>
            <pc:sldMk cId="3379055426" sldId="2192"/>
            <ac:spMk id="137" creationId="{CAE23BEF-B51F-4CF7-8DEE-8420F4B8CC48}"/>
          </ac:spMkLst>
        </pc:spChg>
        <pc:spChg chg="mod topLvl">
          <ac:chgData name="Aurelien Domont" userId="6da7715ce44349b3" providerId="LiveId" clId="{AFF9B0D5-CA7D-40FB-964A-23276295459E}" dt="2021-07-06T04:50:43.896" v="6426" actId="165"/>
          <ac:spMkLst>
            <pc:docMk/>
            <pc:sldMk cId="3379055426" sldId="2192"/>
            <ac:spMk id="138" creationId="{985FBAC8-C39C-4F76-BF89-235488B6688A}"/>
          </ac:spMkLst>
        </pc:spChg>
        <pc:spChg chg="mod topLvl">
          <ac:chgData name="Aurelien Domont" userId="6da7715ce44349b3" providerId="LiveId" clId="{AFF9B0D5-CA7D-40FB-964A-23276295459E}" dt="2021-07-06T04:50:43.896" v="6426" actId="165"/>
          <ac:spMkLst>
            <pc:docMk/>
            <pc:sldMk cId="3379055426" sldId="2192"/>
            <ac:spMk id="139" creationId="{B2B8939D-415D-4191-AE3F-6BF5ACDF3066}"/>
          </ac:spMkLst>
        </pc:spChg>
        <pc:spChg chg="mod topLvl">
          <ac:chgData name="Aurelien Domont" userId="6da7715ce44349b3" providerId="LiveId" clId="{AFF9B0D5-CA7D-40FB-964A-23276295459E}" dt="2021-07-06T04:50:43.896" v="6426" actId="165"/>
          <ac:spMkLst>
            <pc:docMk/>
            <pc:sldMk cId="3379055426" sldId="2192"/>
            <ac:spMk id="140" creationId="{7752E709-95CB-4091-AB1E-A5086F134AC1}"/>
          </ac:spMkLst>
        </pc:spChg>
        <pc:spChg chg="mod topLvl">
          <ac:chgData name="Aurelien Domont" userId="6da7715ce44349b3" providerId="LiveId" clId="{AFF9B0D5-CA7D-40FB-964A-23276295459E}" dt="2021-07-06T04:50:43.896" v="6426" actId="165"/>
          <ac:spMkLst>
            <pc:docMk/>
            <pc:sldMk cId="3379055426" sldId="2192"/>
            <ac:spMk id="142" creationId="{BDDB4D79-5A59-41A1-B66F-8B658F59082A}"/>
          </ac:spMkLst>
        </pc:spChg>
        <pc:spChg chg="mod topLvl">
          <ac:chgData name="Aurelien Domont" userId="6da7715ce44349b3" providerId="LiveId" clId="{AFF9B0D5-CA7D-40FB-964A-23276295459E}" dt="2021-07-06T04:50:43.896" v="6426" actId="165"/>
          <ac:spMkLst>
            <pc:docMk/>
            <pc:sldMk cId="3379055426" sldId="2192"/>
            <ac:spMk id="143" creationId="{1D1E885F-74AF-4A3B-95AC-54D9FE340769}"/>
          </ac:spMkLst>
        </pc:spChg>
        <pc:spChg chg="mod topLvl">
          <ac:chgData name="Aurelien Domont" userId="6da7715ce44349b3" providerId="LiveId" clId="{AFF9B0D5-CA7D-40FB-964A-23276295459E}" dt="2021-07-06T04:50:43.896" v="6426" actId="165"/>
          <ac:spMkLst>
            <pc:docMk/>
            <pc:sldMk cId="3379055426" sldId="2192"/>
            <ac:spMk id="144" creationId="{D74FA934-62DC-4E2B-BDE0-202AF8CB9A49}"/>
          </ac:spMkLst>
        </pc:spChg>
        <pc:spChg chg="mod topLvl">
          <ac:chgData name="Aurelien Domont" userId="6da7715ce44349b3" providerId="LiveId" clId="{AFF9B0D5-CA7D-40FB-964A-23276295459E}" dt="2021-07-06T04:50:43.896" v="6426" actId="165"/>
          <ac:spMkLst>
            <pc:docMk/>
            <pc:sldMk cId="3379055426" sldId="2192"/>
            <ac:spMk id="145" creationId="{16FC8BD7-DDAE-44C2-B89E-C4034E712BED}"/>
          </ac:spMkLst>
        </pc:spChg>
        <pc:spChg chg="mod topLvl">
          <ac:chgData name="Aurelien Domont" userId="6da7715ce44349b3" providerId="LiveId" clId="{AFF9B0D5-CA7D-40FB-964A-23276295459E}" dt="2021-07-06T04:50:43.896" v="6426" actId="165"/>
          <ac:spMkLst>
            <pc:docMk/>
            <pc:sldMk cId="3379055426" sldId="2192"/>
            <ac:spMk id="146" creationId="{41B138E6-41E9-4AF6-A29C-165D08513D2D}"/>
          </ac:spMkLst>
        </pc:spChg>
        <pc:spChg chg="mod topLvl">
          <ac:chgData name="Aurelien Domont" userId="6da7715ce44349b3" providerId="LiveId" clId="{AFF9B0D5-CA7D-40FB-964A-23276295459E}" dt="2021-07-06T04:50:43.896" v="6426" actId="165"/>
          <ac:spMkLst>
            <pc:docMk/>
            <pc:sldMk cId="3379055426" sldId="2192"/>
            <ac:spMk id="147" creationId="{1C8FEC86-DF11-4FE6-A64F-AF70A02773BE}"/>
          </ac:spMkLst>
        </pc:spChg>
        <pc:spChg chg="mod topLvl">
          <ac:chgData name="Aurelien Domont" userId="6da7715ce44349b3" providerId="LiveId" clId="{AFF9B0D5-CA7D-40FB-964A-23276295459E}" dt="2021-07-06T04:50:43.896" v="6426" actId="165"/>
          <ac:spMkLst>
            <pc:docMk/>
            <pc:sldMk cId="3379055426" sldId="2192"/>
            <ac:spMk id="148" creationId="{7BFF15EB-F63D-4FAD-BCE0-0A283F0ACECB}"/>
          </ac:spMkLst>
        </pc:spChg>
        <pc:spChg chg="mod topLvl">
          <ac:chgData name="Aurelien Domont" userId="6da7715ce44349b3" providerId="LiveId" clId="{AFF9B0D5-CA7D-40FB-964A-23276295459E}" dt="2021-07-06T04:50:43.896" v="6426" actId="165"/>
          <ac:spMkLst>
            <pc:docMk/>
            <pc:sldMk cId="3379055426" sldId="2192"/>
            <ac:spMk id="149" creationId="{62DDC113-79AB-4405-8A05-4AF26497DD0C}"/>
          </ac:spMkLst>
        </pc:spChg>
        <pc:spChg chg="mod topLvl">
          <ac:chgData name="Aurelien Domont" userId="6da7715ce44349b3" providerId="LiveId" clId="{AFF9B0D5-CA7D-40FB-964A-23276295459E}" dt="2021-07-06T04:50:43.896" v="6426" actId="165"/>
          <ac:spMkLst>
            <pc:docMk/>
            <pc:sldMk cId="3379055426" sldId="2192"/>
            <ac:spMk id="150" creationId="{4365A171-557B-4606-A3EB-AF8BC2288201}"/>
          </ac:spMkLst>
        </pc:spChg>
        <pc:spChg chg="mod topLvl">
          <ac:chgData name="Aurelien Domont" userId="6da7715ce44349b3" providerId="LiveId" clId="{AFF9B0D5-CA7D-40FB-964A-23276295459E}" dt="2021-07-06T04:50:43.896" v="6426" actId="165"/>
          <ac:spMkLst>
            <pc:docMk/>
            <pc:sldMk cId="3379055426" sldId="2192"/>
            <ac:spMk id="151" creationId="{EEFF0CDB-017C-4A77-BB78-49C959810886}"/>
          </ac:spMkLst>
        </pc:spChg>
        <pc:spChg chg="mod topLvl">
          <ac:chgData name="Aurelien Domont" userId="6da7715ce44349b3" providerId="LiveId" clId="{AFF9B0D5-CA7D-40FB-964A-23276295459E}" dt="2021-07-06T04:50:43.896" v="6426" actId="165"/>
          <ac:spMkLst>
            <pc:docMk/>
            <pc:sldMk cId="3379055426" sldId="2192"/>
            <ac:spMk id="152" creationId="{8D03B6DB-D72C-4AB8-97B4-A9A20666B2CD}"/>
          </ac:spMkLst>
        </pc:spChg>
        <pc:spChg chg="mod topLvl">
          <ac:chgData name="Aurelien Domont" userId="6da7715ce44349b3" providerId="LiveId" clId="{AFF9B0D5-CA7D-40FB-964A-23276295459E}" dt="2021-07-06T04:50:43.896" v="6426" actId="165"/>
          <ac:spMkLst>
            <pc:docMk/>
            <pc:sldMk cId="3379055426" sldId="2192"/>
            <ac:spMk id="153" creationId="{A259B0CE-4E24-4931-A600-EAB7EE0723CE}"/>
          </ac:spMkLst>
        </pc:spChg>
        <pc:spChg chg="mod topLvl">
          <ac:chgData name="Aurelien Domont" userId="6da7715ce44349b3" providerId="LiveId" clId="{AFF9B0D5-CA7D-40FB-964A-23276295459E}" dt="2021-07-06T04:50:43.896" v="6426" actId="165"/>
          <ac:spMkLst>
            <pc:docMk/>
            <pc:sldMk cId="3379055426" sldId="2192"/>
            <ac:spMk id="154" creationId="{ABD91C8D-FC50-47FE-A53C-35530B9E6A4C}"/>
          </ac:spMkLst>
        </pc:spChg>
        <pc:spChg chg="mod topLvl">
          <ac:chgData name="Aurelien Domont" userId="6da7715ce44349b3" providerId="LiveId" clId="{AFF9B0D5-CA7D-40FB-964A-23276295459E}" dt="2021-07-06T04:50:43.896" v="6426" actId="165"/>
          <ac:spMkLst>
            <pc:docMk/>
            <pc:sldMk cId="3379055426" sldId="2192"/>
            <ac:spMk id="155" creationId="{25B903D7-A74D-430A-8D7F-DCA08103D522}"/>
          </ac:spMkLst>
        </pc:spChg>
        <pc:spChg chg="mod topLvl">
          <ac:chgData name="Aurelien Domont" userId="6da7715ce44349b3" providerId="LiveId" clId="{AFF9B0D5-CA7D-40FB-964A-23276295459E}" dt="2021-07-06T04:50:43.896" v="6426" actId="165"/>
          <ac:spMkLst>
            <pc:docMk/>
            <pc:sldMk cId="3379055426" sldId="2192"/>
            <ac:spMk id="156" creationId="{C0E7B4A7-61CE-422B-839A-837E9A743E3A}"/>
          </ac:spMkLst>
        </pc:spChg>
        <pc:spChg chg="mod topLvl">
          <ac:chgData name="Aurelien Domont" userId="6da7715ce44349b3" providerId="LiveId" clId="{AFF9B0D5-CA7D-40FB-964A-23276295459E}" dt="2021-07-06T04:50:43.896" v="6426" actId="165"/>
          <ac:spMkLst>
            <pc:docMk/>
            <pc:sldMk cId="3379055426" sldId="2192"/>
            <ac:spMk id="157" creationId="{3D657CDC-FAA8-4289-82C8-81810B6165D3}"/>
          </ac:spMkLst>
        </pc:spChg>
        <pc:spChg chg="mod topLvl">
          <ac:chgData name="Aurelien Domont" userId="6da7715ce44349b3" providerId="LiveId" clId="{AFF9B0D5-CA7D-40FB-964A-23276295459E}" dt="2021-07-06T04:50:43.896" v="6426" actId="165"/>
          <ac:spMkLst>
            <pc:docMk/>
            <pc:sldMk cId="3379055426" sldId="2192"/>
            <ac:spMk id="158" creationId="{B17EB213-4950-42CF-9699-018AD4232B1A}"/>
          </ac:spMkLst>
        </pc:spChg>
        <pc:spChg chg="mod topLvl">
          <ac:chgData name="Aurelien Domont" userId="6da7715ce44349b3" providerId="LiveId" clId="{AFF9B0D5-CA7D-40FB-964A-23276295459E}" dt="2021-07-06T04:50:43.896" v="6426" actId="165"/>
          <ac:spMkLst>
            <pc:docMk/>
            <pc:sldMk cId="3379055426" sldId="2192"/>
            <ac:spMk id="159" creationId="{8CA38F92-3E3C-43A5-90D1-5E8700DAB383}"/>
          </ac:spMkLst>
        </pc:spChg>
        <pc:spChg chg="mod topLvl">
          <ac:chgData name="Aurelien Domont" userId="6da7715ce44349b3" providerId="LiveId" clId="{AFF9B0D5-CA7D-40FB-964A-23276295459E}" dt="2021-07-06T04:50:43.896" v="6426" actId="165"/>
          <ac:spMkLst>
            <pc:docMk/>
            <pc:sldMk cId="3379055426" sldId="2192"/>
            <ac:spMk id="160" creationId="{23EDF098-AA5C-4CC4-A915-B946B8E572BC}"/>
          </ac:spMkLst>
        </pc:spChg>
        <pc:spChg chg="mod topLvl">
          <ac:chgData name="Aurelien Domont" userId="6da7715ce44349b3" providerId="LiveId" clId="{AFF9B0D5-CA7D-40FB-964A-23276295459E}" dt="2021-07-06T04:50:43.896" v="6426" actId="165"/>
          <ac:spMkLst>
            <pc:docMk/>
            <pc:sldMk cId="3379055426" sldId="2192"/>
            <ac:spMk id="161" creationId="{D56F5FB8-B708-4119-9373-80F1E11159C9}"/>
          </ac:spMkLst>
        </pc:spChg>
        <pc:spChg chg="mod topLvl">
          <ac:chgData name="Aurelien Domont" userId="6da7715ce44349b3" providerId="LiveId" clId="{AFF9B0D5-CA7D-40FB-964A-23276295459E}" dt="2021-07-06T04:50:43.896" v="6426" actId="165"/>
          <ac:spMkLst>
            <pc:docMk/>
            <pc:sldMk cId="3379055426" sldId="2192"/>
            <ac:spMk id="162" creationId="{BA676946-82C1-4EBE-B717-21F7E57ED277}"/>
          </ac:spMkLst>
        </pc:spChg>
        <pc:spChg chg="mod topLvl">
          <ac:chgData name="Aurelien Domont" userId="6da7715ce44349b3" providerId="LiveId" clId="{AFF9B0D5-CA7D-40FB-964A-23276295459E}" dt="2021-07-06T04:50:43.896" v="6426" actId="165"/>
          <ac:spMkLst>
            <pc:docMk/>
            <pc:sldMk cId="3379055426" sldId="2192"/>
            <ac:spMk id="163" creationId="{60EB86DE-7405-492F-9024-C261802C202B}"/>
          </ac:spMkLst>
        </pc:spChg>
        <pc:spChg chg="mod topLvl">
          <ac:chgData name="Aurelien Domont" userId="6da7715ce44349b3" providerId="LiveId" clId="{AFF9B0D5-CA7D-40FB-964A-23276295459E}" dt="2021-07-06T04:50:43.896" v="6426" actId="165"/>
          <ac:spMkLst>
            <pc:docMk/>
            <pc:sldMk cId="3379055426" sldId="2192"/>
            <ac:spMk id="164" creationId="{BDBE1806-5F82-440C-B248-5D0992D119E4}"/>
          </ac:spMkLst>
        </pc:spChg>
        <pc:spChg chg="mod topLvl">
          <ac:chgData name="Aurelien Domont" userId="6da7715ce44349b3" providerId="LiveId" clId="{AFF9B0D5-CA7D-40FB-964A-23276295459E}" dt="2021-07-06T04:50:43.896" v="6426" actId="165"/>
          <ac:spMkLst>
            <pc:docMk/>
            <pc:sldMk cId="3379055426" sldId="2192"/>
            <ac:spMk id="165" creationId="{0CB2C5FB-2220-441B-A825-6A63E1B5CE87}"/>
          </ac:spMkLst>
        </pc:spChg>
        <pc:spChg chg="mod topLvl">
          <ac:chgData name="Aurelien Domont" userId="6da7715ce44349b3" providerId="LiveId" clId="{AFF9B0D5-CA7D-40FB-964A-23276295459E}" dt="2021-07-06T04:50:43.896" v="6426" actId="165"/>
          <ac:spMkLst>
            <pc:docMk/>
            <pc:sldMk cId="3379055426" sldId="2192"/>
            <ac:spMk id="166" creationId="{9FACDA72-1072-4DEE-B174-2A6F35E08C8D}"/>
          </ac:spMkLst>
        </pc:spChg>
        <pc:spChg chg="mod topLvl">
          <ac:chgData name="Aurelien Domont" userId="6da7715ce44349b3" providerId="LiveId" clId="{AFF9B0D5-CA7D-40FB-964A-23276295459E}" dt="2021-07-06T04:50:43.896" v="6426" actId="165"/>
          <ac:spMkLst>
            <pc:docMk/>
            <pc:sldMk cId="3379055426" sldId="2192"/>
            <ac:spMk id="167" creationId="{52057368-38F5-4FC7-89D7-71864828E198}"/>
          </ac:spMkLst>
        </pc:spChg>
        <pc:spChg chg="mod topLvl">
          <ac:chgData name="Aurelien Domont" userId="6da7715ce44349b3" providerId="LiveId" clId="{AFF9B0D5-CA7D-40FB-964A-23276295459E}" dt="2021-07-06T04:50:43.896" v="6426" actId="165"/>
          <ac:spMkLst>
            <pc:docMk/>
            <pc:sldMk cId="3379055426" sldId="2192"/>
            <ac:spMk id="168" creationId="{99762878-AFAD-4D28-9244-65AC64A29FAB}"/>
          </ac:spMkLst>
        </pc:spChg>
        <pc:spChg chg="mod topLvl">
          <ac:chgData name="Aurelien Domont" userId="6da7715ce44349b3" providerId="LiveId" clId="{AFF9B0D5-CA7D-40FB-964A-23276295459E}" dt="2021-07-06T04:50:43.896" v="6426" actId="165"/>
          <ac:spMkLst>
            <pc:docMk/>
            <pc:sldMk cId="3379055426" sldId="2192"/>
            <ac:spMk id="169" creationId="{C6E0C370-1AE7-4B71-B582-54390B3E9756}"/>
          </ac:spMkLst>
        </pc:spChg>
        <pc:spChg chg="mod topLvl">
          <ac:chgData name="Aurelien Domont" userId="6da7715ce44349b3" providerId="LiveId" clId="{AFF9B0D5-CA7D-40FB-964A-23276295459E}" dt="2021-07-06T04:50:43.896" v="6426" actId="165"/>
          <ac:spMkLst>
            <pc:docMk/>
            <pc:sldMk cId="3379055426" sldId="2192"/>
            <ac:spMk id="170" creationId="{89396123-E9E1-41A2-9494-24C475D336FD}"/>
          </ac:spMkLst>
        </pc:spChg>
        <pc:spChg chg="mod topLvl">
          <ac:chgData name="Aurelien Domont" userId="6da7715ce44349b3" providerId="LiveId" clId="{AFF9B0D5-CA7D-40FB-964A-23276295459E}" dt="2021-07-06T04:50:43.896" v="6426" actId="165"/>
          <ac:spMkLst>
            <pc:docMk/>
            <pc:sldMk cId="3379055426" sldId="2192"/>
            <ac:spMk id="171" creationId="{823194CC-6111-4944-B231-CB5B35E28962}"/>
          </ac:spMkLst>
        </pc:spChg>
        <pc:spChg chg="mod topLvl">
          <ac:chgData name="Aurelien Domont" userId="6da7715ce44349b3" providerId="LiveId" clId="{AFF9B0D5-CA7D-40FB-964A-23276295459E}" dt="2021-07-06T04:50:43.896" v="6426" actId="165"/>
          <ac:spMkLst>
            <pc:docMk/>
            <pc:sldMk cId="3379055426" sldId="2192"/>
            <ac:spMk id="172" creationId="{4D754B61-CAB2-4876-AD55-A97070A02FF7}"/>
          </ac:spMkLst>
        </pc:spChg>
        <pc:spChg chg="mod topLvl">
          <ac:chgData name="Aurelien Domont" userId="6da7715ce44349b3" providerId="LiveId" clId="{AFF9B0D5-CA7D-40FB-964A-23276295459E}" dt="2021-07-06T04:50:43.896" v="6426" actId="165"/>
          <ac:spMkLst>
            <pc:docMk/>
            <pc:sldMk cId="3379055426" sldId="2192"/>
            <ac:spMk id="173" creationId="{92A6D021-607D-4A3A-9541-A61366B44512}"/>
          </ac:spMkLst>
        </pc:spChg>
        <pc:spChg chg="mod topLvl">
          <ac:chgData name="Aurelien Domont" userId="6da7715ce44349b3" providerId="LiveId" clId="{AFF9B0D5-CA7D-40FB-964A-23276295459E}" dt="2021-07-06T04:50:43.896" v="6426" actId="165"/>
          <ac:spMkLst>
            <pc:docMk/>
            <pc:sldMk cId="3379055426" sldId="2192"/>
            <ac:spMk id="174" creationId="{7CC84701-7558-4313-BB29-B13B7F846F11}"/>
          </ac:spMkLst>
        </pc:spChg>
        <pc:spChg chg="mod topLvl">
          <ac:chgData name="Aurelien Domont" userId="6da7715ce44349b3" providerId="LiveId" clId="{AFF9B0D5-CA7D-40FB-964A-23276295459E}" dt="2021-07-06T04:50:43.896" v="6426" actId="165"/>
          <ac:spMkLst>
            <pc:docMk/>
            <pc:sldMk cId="3379055426" sldId="2192"/>
            <ac:spMk id="175" creationId="{03B4CC72-2489-41BE-A1DA-877AE3EA9DF3}"/>
          </ac:spMkLst>
        </pc:spChg>
        <pc:spChg chg="mod topLvl">
          <ac:chgData name="Aurelien Domont" userId="6da7715ce44349b3" providerId="LiveId" clId="{AFF9B0D5-CA7D-40FB-964A-23276295459E}" dt="2021-07-06T04:50:43.896" v="6426" actId="165"/>
          <ac:spMkLst>
            <pc:docMk/>
            <pc:sldMk cId="3379055426" sldId="2192"/>
            <ac:spMk id="176" creationId="{47D6B5AF-3BB1-4F40-80A3-E718FFB2BBF9}"/>
          </ac:spMkLst>
        </pc:spChg>
        <pc:spChg chg="mod topLvl">
          <ac:chgData name="Aurelien Domont" userId="6da7715ce44349b3" providerId="LiveId" clId="{AFF9B0D5-CA7D-40FB-964A-23276295459E}" dt="2021-07-06T04:50:43.896" v="6426" actId="165"/>
          <ac:spMkLst>
            <pc:docMk/>
            <pc:sldMk cId="3379055426" sldId="2192"/>
            <ac:spMk id="177" creationId="{4DCF5414-4CBF-45A5-B95E-85CED01A12B7}"/>
          </ac:spMkLst>
        </pc:spChg>
        <pc:spChg chg="mod topLvl">
          <ac:chgData name="Aurelien Domont" userId="6da7715ce44349b3" providerId="LiveId" clId="{AFF9B0D5-CA7D-40FB-964A-23276295459E}" dt="2021-07-06T04:50:43.896" v="6426" actId="165"/>
          <ac:spMkLst>
            <pc:docMk/>
            <pc:sldMk cId="3379055426" sldId="2192"/>
            <ac:spMk id="178" creationId="{2678A3CD-131E-4EDF-A30A-53317901811B}"/>
          </ac:spMkLst>
        </pc:spChg>
        <pc:spChg chg="mod topLvl">
          <ac:chgData name="Aurelien Domont" userId="6da7715ce44349b3" providerId="LiveId" clId="{AFF9B0D5-CA7D-40FB-964A-23276295459E}" dt="2021-07-06T04:50:43.896" v="6426" actId="165"/>
          <ac:spMkLst>
            <pc:docMk/>
            <pc:sldMk cId="3379055426" sldId="2192"/>
            <ac:spMk id="179" creationId="{46610A0A-B8CE-41D9-91CC-A7B06C419CAF}"/>
          </ac:spMkLst>
        </pc:spChg>
        <pc:spChg chg="mod topLvl">
          <ac:chgData name="Aurelien Domont" userId="6da7715ce44349b3" providerId="LiveId" clId="{AFF9B0D5-CA7D-40FB-964A-23276295459E}" dt="2021-07-06T04:50:43.896" v="6426" actId="165"/>
          <ac:spMkLst>
            <pc:docMk/>
            <pc:sldMk cId="3379055426" sldId="2192"/>
            <ac:spMk id="180" creationId="{808EFAEC-EFEE-465B-9F07-B3397A83BC3D}"/>
          </ac:spMkLst>
        </pc:spChg>
        <pc:spChg chg="mod topLvl">
          <ac:chgData name="Aurelien Domont" userId="6da7715ce44349b3" providerId="LiveId" clId="{AFF9B0D5-CA7D-40FB-964A-23276295459E}" dt="2021-07-06T04:50:43.896" v="6426" actId="165"/>
          <ac:spMkLst>
            <pc:docMk/>
            <pc:sldMk cId="3379055426" sldId="2192"/>
            <ac:spMk id="181" creationId="{B0EA3EF7-DB1A-48F5-8310-A1017DB54E6F}"/>
          </ac:spMkLst>
        </pc:spChg>
        <pc:spChg chg="mod topLvl">
          <ac:chgData name="Aurelien Domont" userId="6da7715ce44349b3" providerId="LiveId" clId="{AFF9B0D5-CA7D-40FB-964A-23276295459E}" dt="2021-07-06T04:50:43.896" v="6426" actId="165"/>
          <ac:spMkLst>
            <pc:docMk/>
            <pc:sldMk cId="3379055426" sldId="2192"/>
            <ac:spMk id="182" creationId="{16651324-4218-4C8D-848C-EC8DDB563767}"/>
          </ac:spMkLst>
        </pc:spChg>
        <pc:spChg chg="mod topLvl">
          <ac:chgData name="Aurelien Domont" userId="6da7715ce44349b3" providerId="LiveId" clId="{AFF9B0D5-CA7D-40FB-964A-23276295459E}" dt="2021-07-06T04:50:43.896" v="6426" actId="165"/>
          <ac:spMkLst>
            <pc:docMk/>
            <pc:sldMk cId="3379055426" sldId="2192"/>
            <ac:spMk id="183" creationId="{2D1C61DB-DB9D-4FCD-A59D-5698A6522902}"/>
          </ac:spMkLst>
        </pc:spChg>
        <pc:spChg chg="mod topLvl">
          <ac:chgData name="Aurelien Domont" userId="6da7715ce44349b3" providerId="LiveId" clId="{AFF9B0D5-CA7D-40FB-964A-23276295459E}" dt="2021-07-06T04:50:43.896" v="6426" actId="165"/>
          <ac:spMkLst>
            <pc:docMk/>
            <pc:sldMk cId="3379055426" sldId="2192"/>
            <ac:spMk id="184" creationId="{72B0C558-0604-4F2E-8F50-BDE457973D38}"/>
          </ac:spMkLst>
        </pc:spChg>
        <pc:spChg chg="mod topLvl">
          <ac:chgData name="Aurelien Domont" userId="6da7715ce44349b3" providerId="LiveId" clId="{AFF9B0D5-CA7D-40FB-964A-23276295459E}" dt="2021-07-06T04:50:43.896" v="6426" actId="165"/>
          <ac:spMkLst>
            <pc:docMk/>
            <pc:sldMk cId="3379055426" sldId="2192"/>
            <ac:spMk id="185" creationId="{D5A1BFFB-B8FB-4800-BC3D-EE46E81A5431}"/>
          </ac:spMkLst>
        </pc:spChg>
        <pc:spChg chg="mod topLvl">
          <ac:chgData name="Aurelien Domont" userId="6da7715ce44349b3" providerId="LiveId" clId="{AFF9B0D5-CA7D-40FB-964A-23276295459E}" dt="2021-07-06T04:50:43.896" v="6426" actId="165"/>
          <ac:spMkLst>
            <pc:docMk/>
            <pc:sldMk cId="3379055426" sldId="2192"/>
            <ac:spMk id="186" creationId="{27671FE5-EDAE-4670-BEF7-A720F30F3665}"/>
          </ac:spMkLst>
        </pc:spChg>
        <pc:spChg chg="mod topLvl">
          <ac:chgData name="Aurelien Domont" userId="6da7715ce44349b3" providerId="LiveId" clId="{AFF9B0D5-CA7D-40FB-964A-23276295459E}" dt="2021-07-06T04:50:43.896" v="6426" actId="165"/>
          <ac:spMkLst>
            <pc:docMk/>
            <pc:sldMk cId="3379055426" sldId="2192"/>
            <ac:spMk id="187" creationId="{27C7BAE0-2998-41E2-ADC9-71D60AE6372D}"/>
          </ac:spMkLst>
        </pc:spChg>
        <pc:spChg chg="mod topLvl">
          <ac:chgData name="Aurelien Domont" userId="6da7715ce44349b3" providerId="LiveId" clId="{AFF9B0D5-CA7D-40FB-964A-23276295459E}" dt="2021-07-06T04:50:43.896" v="6426" actId="165"/>
          <ac:spMkLst>
            <pc:docMk/>
            <pc:sldMk cId="3379055426" sldId="2192"/>
            <ac:spMk id="188" creationId="{3800CFC3-6C5F-4327-98F1-E4477F94260D}"/>
          </ac:spMkLst>
        </pc:spChg>
        <pc:spChg chg="mod topLvl">
          <ac:chgData name="Aurelien Domont" userId="6da7715ce44349b3" providerId="LiveId" clId="{AFF9B0D5-CA7D-40FB-964A-23276295459E}" dt="2021-07-06T04:50:43.896" v="6426" actId="165"/>
          <ac:spMkLst>
            <pc:docMk/>
            <pc:sldMk cId="3379055426" sldId="2192"/>
            <ac:spMk id="189" creationId="{BD3D661E-CE23-4A3A-862C-A4530123CB0A}"/>
          </ac:spMkLst>
        </pc:spChg>
        <pc:spChg chg="mod topLvl">
          <ac:chgData name="Aurelien Domont" userId="6da7715ce44349b3" providerId="LiveId" clId="{AFF9B0D5-CA7D-40FB-964A-23276295459E}" dt="2021-07-06T04:50:43.896" v="6426" actId="165"/>
          <ac:spMkLst>
            <pc:docMk/>
            <pc:sldMk cId="3379055426" sldId="2192"/>
            <ac:spMk id="190" creationId="{1BF0723C-6F69-4D40-B7B3-E15B38FA66D9}"/>
          </ac:spMkLst>
        </pc:spChg>
        <pc:spChg chg="mod topLvl">
          <ac:chgData name="Aurelien Domont" userId="6da7715ce44349b3" providerId="LiveId" clId="{AFF9B0D5-CA7D-40FB-964A-23276295459E}" dt="2021-07-06T04:50:43.896" v="6426" actId="165"/>
          <ac:spMkLst>
            <pc:docMk/>
            <pc:sldMk cId="3379055426" sldId="2192"/>
            <ac:spMk id="191" creationId="{21AE6CAF-9A47-4EE1-A1D6-3C8CED98D246}"/>
          </ac:spMkLst>
        </pc:spChg>
        <pc:spChg chg="mod topLvl">
          <ac:chgData name="Aurelien Domont" userId="6da7715ce44349b3" providerId="LiveId" clId="{AFF9B0D5-CA7D-40FB-964A-23276295459E}" dt="2021-07-06T04:50:43.896" v="6426" actId="165"/>
          <ac:spMkLst>
            <pc:docMk/>
            <pc:sldMk cId="3379055426" sldId="2192"/>
            <ac:spMk id="192" creationId="{2373E3CE-B579-453F-89B1-B7E1CF0C0EB6}"/>
          </ac:spMkLst>
        </pc:spChg>
        <pc:spChg chg="mod topLvl">
          <ac:chgData name="Aurelien Domont" userId="6da7715ce44349b3" providerId="LiveId" clId="{AFF9B0D5-CA7D-40FB-964A-23276295459E}" dt="2021-07-06T04:50:43.896" v="6426" actId="165"/>
          <ac:spMkLst>
            <pc:docMk/>
            <pc:sldMk cId="3379055426" sldId="2192"/>
            <ac:spMk id="193" creationId="{E0AE16BE-90F8-40E4-A739-7DAF8EA978B2}"/>
          </ac:spMkLst>
        </pc:spChg>
        <pc:spChg chg="mod topLvl">
          <ac:chgData name="Aurelien Domont" userId="6da7715ce44349b3" providerId="LiveId" clId="{AFF9B0D5-CA7D-40FB-964A-23276295459E}" dt="2021-07-06T04:50:43.896" v="6426" actId="165"/>
          <ac:spMkLst>
            <pc:docMk/>
            <pc:sldMk cId="3379055426" sldId="2192"/>
            <ac:spMk id="194" creationId="{3E230726-7D04-48F3-A135-4F04E3E248FA}"/>
          </ac:spMkLst>
        </pc:spChg>
        <pc:spChg chg="mod topLvl">
          <ac:chgData name="Aurelien Domont" userId="6da7715ce44349b3" providerId="LiveId" clId="{AFF9B0D5-CA7D-40FB-964A-23276295459E}" dt="2021-07-06T04:50:43.896" v="6426" actId="165"/>
          <ac:spMkLst>
            <pc:docMk/>
            <pc:sldMk cId="3379055426" sldId="2192"/>
            <ac:spMk id="195" creationId="{E435410C-3B5C-4565-9E8D-60834A321263}"/>
          </ac:spMkLst>
        </pc:spChg>
        <pc:spChg chg="mod topLvl">
          <ac:chgData name="Aurelien Domont" userId="6da7715ce44349b3" providerId="LiveId" clId="{AFF9B0D5-CA7D-40FB-964A-23276295459E}" dt="2021-07-06T04:50:43.896" v="6426" actId="165"/>
          <ac:spMkLst>
            <pc:docMk/>
            <pc:sldMk cId="3379055426" sldId="2192"/>
            <ac:spMk id="196" creationId="{46F36E87-E302-412F-BB37-08F349D2161D}"/>
          </ac:spMkLst>
        </pc:spChg>
        <pc:spChg chg="mod topLvl">
          <ac:chgData name="Aurelien Domont" userId="6da7715ce44349b3" providerId="LiveId" clId="{AFF9B0D5-CA7D-40FB-964A-23276295459E}" dt="2021-07-06T04:50:43.896" v="6426" actId="165"/>
          <ac:spMkLst>
            <pc:docMk/>
            <pc:sldMk cId="3379055426" sldId="2192"/>
            <ac:spMk id="197" creationId="{C7ACEAE5-152B-49D2-8F07-FFD86767A0FB}"/>
          </ac:spMkLst>
        </pc:spChg>
        <pc:spChg chg="mod topLvl">
          <ac:chgData name="Aurelien Domont" userId="6da7715ce44349b3" providerId="LiveId" clId="{AFF9B0D5-CA7D-40FB-964A-23276295459E}" dt="2021-07-06T04:50:43.896" v="6426" actId="165"/>
          <ac:spMkLst>
            <pc:docMk/>
            <pc:sldMk cId="3379055426" sldId="2192"/>
            <ac:spMk id="198" creationId="{7104C839-48BF-4BA4-BF53-6AFD43BAED39}"/>
          </ac:spMkLst>
        </pc:spChg>
        <pc:spChg chg="mod topLvl">
          <ac:chgData name="Aurelien Domont" userId="6da7715ce44349b3" providerId="LiveId" clId="{AFF9B0D5-CA7D-40FB-964A-23276295459E}" dt="2021-07-06T04:50:43.896" v="6426" actId="165"/>
          <ac:spMkLst>
            <pc:docMk/>
            <pc:sldMk cId="3379055426" sldId="2192"/>
            <ac:spMk id="199" creationId="{0A27973E-F093-4443-948D-6F5E0135F593}"/>
          </ac:spMkLst>
        </pc:spChg>
        <pc:spChg chg="mod topLvl">
          <ac:chgData name="Aurelien Domont" userId="6da7715ce44349b3" providerId="LiveId" clId="{AFF9B0D5-CA7D-40FB-964A-23276295459E}" dt="2021-07-06T04:50:43.896" v="6426" actId="165"/>
          <ac:spMkLst>
            <pc:docMk/>
            <pc:sldMk cId="3379055426" sldId="2192"/>
            <ac:spMk id="200" creationId="{0C367E29-D0D4-4244-8139-3B655EF87F12}"/>
          </ac:spMkLst>
        </pc:spChg>
        <pc:spChg chg="mod topLvl">
          <ac:chgData name="Aurelien Domont" userId="6da7715ce44349b3" providerId="LiveId" clId="{AFF9B0D5-CA7D-40FB-964A-23276295459E}" dt="2021-07-06T04:50:43.896" v="6426" actId="165"/>
          <ac:spMkLst>
            <pc:docMk/>
            <pc:sldMk cId="3379055426" sldId="2192"/>
            <ac:spMk id="201" creationId="{1726BD3E-877B-4098-9E8D-71732ED9C71C}"/>
          </ac:spMkLst>
        </pc:spChg>
        <pc:spChg chg="mod topLvl">
          <ac:chgData name="Aurelien Domont" userId="6da7715ce44349b3" providerId="LiveId" clId="{AFF9B0D5-CA7D-40FB-964A-23276295459E}" dt="2021-07-06T04:50:43.896" v="6426" actId="165"/>
          <ac:spMkLst>
            <pc:docMk/>
            <pc:sldMk cId="3379055426" sldId="2192"/>
            <ac:spMk id="202" creationId="{417DE7D5-87EB-4446-90B6-E380A5B3F9E1}"/>
          </ac:spMkLst>
        </pc:spChg>
        <pc:spChg chg="mod topLvl">
          <ac:chgData name="Aurelien Domont" userId="6da7715ce44349b3" providerId="LiveId" clId="{AFF9B0D5-CA7D-40FB-964A-23276295459E}" dt="2021-07-06T04:50:43.896" v="6426" actId="165"/>
          <ac:spMkLst>
            <pc:docMk/>
            <pc:sldMk cId="3379055426" sldId="2192"/>
            <ac:spMk id="203" creationId="{F8234C4E-1277-4509-A12C-171C20B61378}"/>
          </ac:spMkLst>
        </pc:spChg>
        <pc:spChg chg="mod topLvl">
          <ac:chgData name="Aurelien Domont" userId="6da7715ce44349b3" providerId="LiveId" clId="{AFF9B0D5-CA7D-40FB-964A-23276295459E}" dt="2021-07-06T04:50:43.896" v="6426" actId="165"/>
          <ac:spMkLst>
            <pc:docMk/>
            <pc:sldMk cId="3379055426" sldId="2192"/>
            <ac:spMk id="204" creationId="{6CD2DCA3-6635-45E3-BAA3-A827175806C8}"/>
          </ac:spMkLst>
        </pc:spChg>
        <pc:spChg chg="mod topLvl">
          <ac:chgData name="Aurelien Domont" userId="6da7715ce44349b3" providerId="LiveId" clId="{AFF9B0D5-CA7D-40FB-964A-23276295459E}" dt="2021-07-06T04:50:43.896" v="6426" actId="165"/>
          <ac:spMkLst>
            <pc:docMk/>
            <pc:sldMk cId="3379055426" sldId="2192"/>
            <ac:spMk id="205" creationId="{D0EE785C-B516-4A7F-9FD6-932B3B082390}"/>
          </ac:spMkLst>
        </pc:spChg>
        <pc:spChg chg="mod topLvl">
          <ac:chgData name="Aurelien Domont" userId="6da7715ce44349b3" providerId="LiveId" clId="{AFF9B0D5-CA7D-40FB-964A-23276295459E}" dt="2021-07-06T04:50:43.896" v="6426" actId="165"/>
          <ac:spMkLst>
            <pc:docMk/>
            <pc:sldMk cId="3379055426" sldId="2192"/>
            <ac:spMk id="206" creationId="{69F9CB50-A8DF-4971-A970-65EBA0D3708C}"/>
          </ac:spMkLst>
        </pc:spChg>
        <pc:spChg chg="mod topLvl">
          <ac:chgData name="Aurelien Domont" userId="6da7715ce44349b3" providerId="LiveId" clId="{AFF9B0D5-CA7D-40FB-964A-23276295459E}" dt="2021-07-06T04:50:43.896" v="6426" actId="165"/>
          <ac:spMkLst>
            <pc:docMk/>
            <pc:sldMk cId="3379055426" sldId="2192"/>
            <ac:spMk id="207" creationId="{3A5C33E5-CB47-49F3-9703-5FABDAB57EC3}"/>
          </ac:spMkLst>
        </pc:spChg>
        <pc:spChg chg="mod topLvl">
          <ac:chgData name="Aurelien Domont" userId="6da7715ce44349b3" providerId="LiveId" clId="{AFF9B0D5-CA7D-40FB-964A-23276295459E}" dt="2021-07-06T04:50:43.896" v="6426" actId="165"/>
          <ac:spMkLst>
            <pc:docMk/>
            <pc:sldMk cId="3379055426" sldId="2192"/>
            <ac:spMk id="208" creationId="{85E7AF01-E658-4CF9-91AD-AAA4D538385C}"/>
          </ac:spMkLst>
        </pc:spChg>
        <pc:spChg chg="mod topLvl">
          <ac:chgData name="Aurelien Domont" userId="6da7715ce44349b3" providerId="LiveId" clId="{AFF9B0D5-CA7D-40FB-964A-23276295459E}" dt="2021-07-06T04:50:43.896" v="6426" actId="165"/>
          <ac:spMkLst>
            <pc:docMk/>
            <pc:sldMk cId="3379055426" sldId="2192"/>
            <ac:spMk id="209" creationId="{80F74A73-23C5-4D68-9D8A-23DC7F7E918C}"/>
          </ac:spMkLst>
        </pc:spChg>
        <pc:spChg chg="mod topLvl">
          <ac:chgData name="Aurelien Domont" userId="6da7715ce44349b3" providerId="LiveId" clId="{AFF9B0D5-CA7D-40FB-964A-23276295459E}" dt="2021-07-06T04:50:43.896" v="6426" actId="165"/>
          <ac:spMkLst>
            <pc:docMk/>
            <pc:sldMk cId="3379055426" sldId="2192"/>
            <ac:spMk id="210" creationId="{1C34C438-EB6D-4823-B4F5-43F46CB4F136}"/>
          </ac:spMkLst>
        </pc:spChg>
        <pc:spChg chg="mod topLvl">
          <ac:chgData name="Aurelien Domont" userId="6da7715ce44349b3" providerId="LiveId" clId="{AFF9B0D5-CA7D-40FB-964A-23276295459E}" dt="2021-07-06T04:50:43.896" v="6426" actId="165"/>
          <ac:spMkLst>
            <pc:docMk/>
            <pc:sldMk cId="3379055426" sldId="2192"/>
            <ac:spMk id="211" creationId="{62858DE9-8389-40F0-B1B8-BFA176A1109C}"/>
          </ac:spMkLst>
        </pc:spChg>
        <pc:spChg chg="mod topLvl">
          <ac:chgData name="Aurelien Domont" userId="6da7715ce44349b3" providerId="LiveId" clId="{AFF9B0D5-CA7D-40FB-964A-23276295459E}" dt="2021-07-06T04:50:43.896" v="6426" actId="165"/>
          <ac:spMkLst>
            <pc:docMk/>
            <pc:sldMk cId="3379055426" sldId="2192"/>
            <ac:spMk id="212" creationId="{35FA5D01-3B25-4F8D-9A0F-7FFF9F3BE0FB}"/>
          </ac:spMkLst>
        </pc:spChg>
        <pc:spChg chg="mod topLvl">
          <ac:chgData name="Aurelien Domont" userId="6da7715ce44349b3" providerId="LiveId" clId="{AFF9B0D5-CA7D-40FB-964A-23276295459E}" dt="2021-07-06T04:50:43.896" v="6426" actId="165"/>
          <ac:spMkLst>
            <pc:docMk/>
            <pc:sldMk cId="3379055426" sldId="2192"/>
            <ac:spMk id="213" creationId="{F07095F0-5F81-4E87-8152-6FA12EAABAAF}"/>
          </ac:spMkLst>
        </pc:spChg>
        <pc:spChg chg="mod topLvl">
          <ac:chgData name="Aurelien Domont" userId="6da7715ce44349b3" providerId="LiveId" clId="{AFF9B0D5-CA7D-40FB-964A-23276295459E}" dt="2021-07-06T04:50:43.896" v="6426" actId="165"/>
          <ac:spMkLst>
            <pc:docMk/>
            <pc:sldMk cId="3379055426" sldId="2192"/>
            <ac:spMk id="214" creationId="{6D88220E-9BA8-4095-9058-A84188E97F6B}"/>
          </ac:spMkLst>
        </pc:spChg>
        <pc:spChg chg="mod topLvl">
          <ac:chgData name="Aurelien Domont" userId="6da7715ce44349b3" providerId="LiveId" clId="{AFF9B0D5-CA7D-40FB-964A-23276295459E}" dt="2021-07-06T04:50:43.896" v="6426" actId="165"/>
          <ac:spMkLst>
            <pc:docMk/>
            <pc:sldMk cId="3379055426" sldId="2192"/>
            <ac:spMk id="215" creationId="{FA0F2FA6-CE91-4B62-9BA1-78C7638E7621}"/>
          </ac:spMkLst>
        </pc:spChg>
        <pc:spChg chg="mod topLvl">
          <ac:chgData name="Aurelien Domont" userId="6da7715ce44349b3" providerId="LiveId" clId="{AFF9B0D5-CA7D-40FB-964A-23276295459E}" dt="2021-07-06T04:50:43.896" v="6426" actId="165"/>
          <ac:spMkLst>
            <pc:docMk/>
            <pc:sldMk cId="3379055426" sldId="2192"/>
            <ac:spMk id="216" creationId="{02503988-11CB-45E2-8EBE-8DB0875F0A48}"/>
          </ac:spMkLst>
        </pc:spChg>
        <pc:spChg chg="mod topLvl">
          <ac:chgData name="Aurelien Domont" userId="6da7715ce44349b3" providerId="LiveId" clId="{AFF9B0D5-CA7D-40FB-964A-23276295459E}" dt="2021-07-06T04:50:43.896" v="6426" actId="165"/>
          <ac:spMkLst>
            <pc:docMk/>
            <pc:sldMk cId="3379055426" sldId="2192"/>
            <ac:spMk id="217" creationId="{A2D11221-FFDD-40DB-8071-FB96292CF32F}"/>
          </ac:spMkLst>
        </pc:spChg>
        <pc:spChg chg="mod topLvl">
          <ac:chgData name="Aurelien Domont" userId="6da7715ce44349b3" providerId="LiveId" clId="{AFF9B0D5-CA7D-40FB-964A-23276295459E}" dt="2021-07-06T04:50:43.896" v="6426" actId="165"/>
          <ac:spMkLst>
            <pc:docMk/>
            <pc:sldMk cId="3379055426" sldId="2192"/>
            <ac:spMk id="218" creationId="{F89419B7-8002-4A66-8E1F-B15EA2EF54CE}"/>
          </ac:spMkLst>
        </pc:spChg>
        <pc:spChg chg="mod">
          <ac:chgData name="Aurelien Domont" userId="6da7715ce44349b3" providerId="LiveId" clId="{AFF9B0D5-CA7D-40FB-964A-23276295459E}" dt="2021-07-06T04:50:43.896" v="6426" actId="165"/>
          <ac:spMkLst>
            <pc:docMk/>
            <pc:sldMk cId="3379055426" sldId="2192"/>
            <ac:spMk id="219" creationId="{2104C40C-A33D-4E6D-9D98-BC4F83960F51}"/>
          </ac:spMkLst>
        </pc:spChg>
        <pc:spChg chg="mod">
          <ac:chgData name="Aurelien Domont" userId="6da7715ce44349b3" providerId="LiveId" clId="{AFF9B0D5-CA7D-40FB-964A-23276295459E}" dt="2021-07-06T04:50:43.896" v="6426" actId="165"/>
          <ac:spMkLst>
            <pc:docMk/>
            <pc:sldMk cId="3379055426" sldId="2192"/>
            <ac:spMk id="220" creationId="{AE069398-DCB6-4C53-AE55-140B6878653C}"/>
          </ac:spMkLst>
        </pc:spChg>
        <pc:spChg chg="mod">
          <ac:chgData name="Aurelien Domont" userId="6da7715ce44349b3" providerId="LiveId" clId="{AFF9B0D5-CA7D-40FB-964A-23276295459E}" dt="2021-07-06T04:50:43.896" v="6426" actId="165"/>
          <ac:spMkLst>
            <pc:docMk/>
            <pc:sldMk cId="3379055426" sldId="2192"/>
            <ac:spMk id="221" creationId="{EA413C8C-5A81-4A84-9508-42F13C4C0267}"/>
          </ac:spMkLst>
        </pc:spChg>
        <pc:spChg chg="mod">
          <ac:chgData name="Aurelien Domont" userId="6da7715ce44349b3" providerId="LiveId" clId="{AFF9B0D5-CA7D-40FB-964A-23276295459E}" dt="2021-07-06T04:50:43.896" v="6426" actId="165"/>
          <ac:spMkLst>
            <pc:docMk/>
            <pc:sldMk cId="3379055426" sldId="2192"/>
            <ac:spMk id="222" creationId="{6F011FD1-4573-4382-B364-DB6F82607017}"/>
          </ac:spMkLst>
        </pc:spChg>
        <pc:spChg chg="mod">
          <ac:chgData name="Aurelien Domont" userId="6da7715ce44349b3" providerId="LiveId" clId="{AFF9B0D5-CA7D-40FB-964A-23276295459E}" dt="2021-07-06T04:50:43.896" v="6426" actId="165"/>
          <ac:spMkLst>
            <pc:docMk/>
            <pc:sldMk cId="3379055426" sldId="2192"/>
            <ac:spMk id="223" creationId="{B9602CC6-B71E-4ED6-9041-140D27C4E4E3}"/>
          </ac:spMkLst>
        </pc:spChg>
        <pc:spChg chg="mod">
          <ac:chgData name="Aurelien Domont" userId="6da7715ce44349b3" providerId="LiveId" clId="{AFF9B0D5-CA7D-40FB-964A-23276295459E}" dt="2021-07-06T04:50:43.896" v="6426" actId="165"/>
          <ac:spMkLst>
            <pc:docMk/>
            <pc:sldMk cId="3379055426" sldId="2192"/>
            <ac:spMk id="224" creationId="{E713764D-8FD9-4C54-A023-D80F71593A6B}"/>
          </ac:spMkLst>
        </pc:spChg>
        <pc:spChg chg="mod">
          <ac:chgData name="Aurelien Domont" userId="6da7715ce44349b3" providerId="LiveId" clId="{AFF9B0D5-CA7D-40FB-964A-23276295459E}" dt="2021-07-06T04:50:43.896" v="6426" actId="165"/>
          <ac:spMkLst>
            <pc:docMk/>
            <pc:sldMk cId="3379055426" sldId="2192"/>
            <ac:spMk id="225" creationId="{40198528-FAD1-4DF1-BE03-1F5CE0DF5115}"/>
          </ac:spMkLst>
        </pc:spChg>
        <pc:spChg chg="mod">
          <ac:chgData name="Aurelien Domont" userId="6da7715ce44349b3" providerId="LiveId" clId="{AFF9B0D5-CA7D-40FB-964A-23276295459E}" dt="2021-07-06T04:50:43.896" v="6426" actId="165"/>
          <ac:spMkLst>
            <pc:docMk/>
            <pc:sldMk cId="3379055426" sldId="2192"/>
            <ac:spMk id="226" creationId="{FF7CCC2D-2F86-44F8-B589-36D24F6BD3BC}"/>
          </ac:spMkLst>
        </pc:spChg>
        <pc:spChg chg="mod">
          <ac:chgData name="Aurelien Domont" userId="6da7715ce44349b3" providerId="LiveId" clId="{AFF9B0D5-CA7D-40FB-964A-23276295459E}" dt="2021-07-06T04:50:43.896" v="6426" actId="165"/>
          <ac:spMkLst>
            <pc:docMk/>
            <pc:sldMk cId="3379055426" sldId="2192"/>
            <ac:spMk id="227" creationId="{355CCFEB-EFF7-4767-B082-7F25BBEF1865}"/>
          </ac:spMkLst>
        </pc:spChg>
        <pc:spChg chg="mod">
          <ac:chgData name="Aurelien Domont" userId="6da7715ce44349b3" providerId="LiveId" clId="{AFF9B0D5-CA7D-40FB-964A-23276295459E}" dt="2021-07-06T04:50:43.896" v="6426" actId="165"/>
          <ac:spMkLst>
            <pc:docMk/>
            <pc:sldMk cId="3379055426" sldId="2192"/>
            <ac:spMk id="228" creationId="{3FEB8FE2-A508-41DC-AE11-14061B6EABC9}"/>
          </ac:spMkLst>
        </pc:spChg>
        <pc:spChg chg="mod">
          <ac:chgData name="Aurelien Domont" userId="6da7715ce44349b3" providerId="LiveId" clId="{AFF9B0D5-CA7D-40FB-964A-23276295459E}" dt="2021-07-06T04:50:43.896" v="6426" actId="165"/>
          <ac:spMkLst>
            <pc:docMk/>
            <pc:sldMk cId="3379055426" sldId="2192"/>
            <ac:spMk id="229" creationId="{B264EC5D-A47A-48AA-B4C5-9EF7968CDDAF}"/>
          </ac:spMkLst>
        </pc:spChg>
        <pc:spChg chg="mod">
          <ac:chgData name="Aurelien Domont" userId="6da7715ce44349b3" providerId="LiveId" clId="{AFF9B0D5-CA7D-40FB-964A-23276295459E}" dt="2021-07-06T04:50:43.896" v="6426" actId="165"/>
          <ac:spMkLst>
            <pc:docMk/>
            <pc:sldMk cId="3379055426" sldId="2192"/>
            <ac:spMk id="230" creationId="{4F1CECCC-B7AE-4091-99C7-3D8A57509494}"/>
          </ac:spMkLst>
        </pc:spChg>
        <pc:spChg chg="mod">
          <ac:chgData name="Aurelien Domont" userId="6da7715ce44349b3" providerId="LiveId" clId="{AFF9B0D5-CA7D-40FB-964A-23276295459E}" dt="2021-07-06T04:50:43.896" v="6426" actId="165"/>
          <ac:spMkLst>
            <pc:docMk/>
            <pc:sldMk cId="3379055426" sldId="2192"/>
            <ac:spMk id="231" creationId="{9D9F2C61-12B2-4CFC-9F59-A5D246962912}"/>
          </ac:spMkLst>
        </pc:spChg>
        <pc:spChg chg="mod">
          <ac:chgData name="Aurelien Domont" userId="6da7715ce44349b3" providerId="LiveId" clId="{AFF9B0D5-CA7D-40FB-964A-23276295459E}" dt="2021-07-06T04:50:43.896" v="6426" actId="165"/>
          <ac:spMkLst>
            <pc:docMk/>
            <pc:sldMk cId="3379055426" sldId="2192"/>
            <ac:spMk id="232" creationId="{038E4FC5-3825-4C9D-9C75-4359EB4187B2}"/>
          </ac:spMkLst>
        </pc:spChg>
        <pc:spChg chg="mod">
          <ac:chgData name="Aurelien Domont" userId="6da7715ce44349b3" providerId="LiveId" clId="{AFF9B0D5-CA7D-40FB-964A-23276295459E}" dt="2021-07-06T04:50:43.896" v="6426" actId="165"/>
          <ac:spMkLst>
            <pc:docMk/>
            <pc:sldMk cId="3379055426" sldId="2192"/>
            <ac:spMk id="233" creationId="{63489E06-23B3-4FDE-985E-9363B3EC7F8A}"/>
          </ac:spMkLst>
        </pc:spChg>
        <pc:spChg chg="mod">
          <ac:chgData name="Aurelien Domont" userId="6da7715ce44349b3" providerId="LiveId" clId="{AFF9B0D5-CA7D-40FB-964A-23276295459E}" dt="2021-07-06T04:50:43.896" v="6426" actId="165"/>
          <ac:spMkLst>
            <pc:docMk/>
            <pc:sldMk cId="3379055426" sldId="2192"/>
            <ac:spMk id="234" creationId="{79221B8C-59C2-42DB-BF50-6900D8AEB4D8}"/>
          </ac:spMkLst>
        </pc:spChg>
        <pc:spChg chg="mod">
          <ac:chgData name="Aurelien Domont" userId="6da7715ce44349b3" providerId="LiveId" clId="{AFF9B0D5-CA7D-40FB-964A-23276295459E}" dt="2021-07-06T04:50:43.896" v="6426" actId="165"/>
          <ac:spMkLst>
            <pc:docMk/>
            <pc:sldMk cId="3379055426" sldId="2192"/>
            <ac:spMk id="235" creationId="{8A915F83-38FE-40E1-B654-F200BD2669BB}"/>
          </ac:spMkLst>
        </pc:spChg>
        <pc:spChg chg="mod">
          <ac:chgData name="Aurelien Domont" userId="6da7715ce44349b3" providerId="LiveId" clId="{AFF9B0D5-CA7D-40FB-964A-23276295459E}" dt="2021-07-06T04:50:43.896" v="6426" actId="165"/>
          <ac:spMkLst>
            <pc:docMk/>
            <pc:sldMk cId="3379055426" sldId="2192"/>
            <ac:spMk id="236" creationId="{9A5EE1FD-B9F0-4328-8FAD-B440111B9798}"/>
          </ac:spMkLst>
        </pc:spChg>
        <pc:spChg chg="mod">
          <ac:chgData name="Aurelien Domont" userId="6da7715ce44349b3" providerId="LiveId" clId="{AFF9B0D5-CA7D-40FB-964A-23276295459E}" dt="2021-07-06T04:50:43.896" v="6426" actId="165"/>
          <ac:spMkLst>
            <pc:docMk/>
            <pc:sldMk cId="3379055426" sldId="2192"/>
            <ac:spMk id="237" creationId="{B1485E9E-08D1-4969-9994-4C08790CE3A9}"/>
          </ac:spMkLst>
        </pc:spChg>
        <pc:spChg chg="mod">
          <ac:chgData name="Aurelien Domont" userId="6da7715ce44349b3" providerId="LiveId" clId="{AFF9B0D5-CA7D-40FB-964A-23276295459E}" dt="2021-07-06T04:50:43.896" v="6426" actId="165"/>
          <ac:spMkLst>
            <pc:docMk/>
            <pc:sldMk cId="3379055426" sldId="2192"/>
            <ac:spMk id="238" creationId="{F9145D23-22F4-41E3-9E8D-910174B5DBB8}"/>
          </ac:spMkLst>
        </pc:spChg>
        <pc:spChg chg="mod">
          <ac:chgData name="Aurelien Domont" userId="6da7715ce44349b3" providerId="LiveId" clId="{AFF9B0D5-CA7D-40FB-964A-23276295459E}" dt="2021-07-06T04:50:43.896" v="6426" actId="165"/>
          <ac:spMkLst>
            <pc:docMk/>
            <pc:sldMk cId="3379055426" sldId="2192"/>
            <ac:spMk id="239" creationId="{A9742A27-D2E8-4A37-AA55-EB1308A6DA74}"/>
          </ac:spMkLst>
        </pc:spChg>
        <pc:spChg chg="mod">
          <ac:chgData name="Aurelien Domont" userId="6da7715ce44349b3" providerId="LiveId" clId="{AFF9B0D5-CA7D-40FB-964A-23276295459E}" dt="2021-07-06T04:50:43.896" v="6426" actId="165"/>
          <ac:spMkLst>
            <pc:docMk/>
            <pc:sldMk cId="3379055426" sldId="2192"/>
            <ac:spMk id="240" creationId="{A2DC8A6B-373E-4CAF-A535-BF54006E617E}"/>
          </ac:spMkLst>
        </pc:spChg>
        <pc:spChg chg="mod">
          <ac:chgData name="Aurelien Domont" userId="6da7715ce44349b3" providerId="LiveId" clId="{AFF9B0D5-CA7D-40FB-964A-23276295459E}" dt="2021-07-06T04:50:43.896" v="6426" actId="165"/>
          <ac:spMkLst>
            <pc:docMk/>
            <pc:sldMk cId="3379055426" sldId="2192"/>
            <ac:spMk id="241" creationId="{48655EB1-407B-43A0-8829-E858DAE63D9D}"/>
          </ac:spMkLst>
        </pc:spChg>
        <pc:spChg chg="mod">
          <ac:chgData name="Aurelien Domont" userId="6da7715ce44349b3" providerId="LiveId" clId="{AFF9B0D5-CA7D-40FB-964A-23276295459E}" dt="2021-07-06T04:50:43.896" v="6426" actId="165"/>
          <ac:spMkLst>
            <pc:docMk/>
            <pc:sldMk cId="3379055426" sldId="2192"/>
            <ac:spMk id="242" creationId="{B70CA7DC-536C-4452-8F7E-D2876C88E093}"/>
          </ac:spMkLst>
        </pc:spChg>
        <pc:spChg chg="mod">
          <ac:chgData name="Aurelien Domont" userId="6da7715ce44349b3" providerId="LiveId" clId="{AFF9B0D5-CA7D-40FB-964A-23276295459E}" dt="2021-07-06T04:50:43.896" v="6426" actId="165"/>
          <ac:spMkLst>
            <pc:docMk/>
            <pc:sldMk cId="3379055426" sldId="2192"/>
            <ac:spMk id="243" creationId="{9790A531-4D0D-41B6-94DE-DB614334F6D0}"/>
          </ac:spMkLst>
        </pc:spChg>
        <pc:spChg chg="mod">
          <ac:chgData name="Aurelien Domont" userId="6da7715ce44349b3" providerId="LiveId" clId="{AFF9B0D5-CA7D-40FB-964A-23276295459E}" dt="2021-07-06T04:50:43.896" v="6426" actId="165"/>
          <ac:spMkLst>
            <pc:docMk/>
            <pc:sldMk cId="3379055426" sldId="2192"/>
            <ac:spMk id="244" creationId="{98351D31-2037-45FE-AB54-87A5B51FBFDF}"/>
          </ac:spMkLst>
        </pc:spChg>
        <pc:spChg chg="mod">
          <ac:chgData name="Aurelien Domont" userId="6da7715ce44349b3" providerId="LiveId" clId="{AFF9B0D5-CA7D-40FB-964A-23276295459E}" dt="2021-07-06T04:50:43.896" v="6426" actId="165"/>
          <ac:spMkLst>
            <pc:docMk/>
            <pc:sldMk cId="3379055426" sldId="2192"/>
            <ac:spMk id="245" creationId="{8C3D4576-60DD-4805-812B-AA65ED83D9BA}"/>
          </ac:spMkLst>
        </pc:spChg>
        <pc:spChg chg="mod">
          <ac:chgData name="Aurelien Domont" userId="6da7715ce44349b3" providerId="LiveId" clId="{AFF9B0D5-CA7D-40FB-964A-23276295459E}" dt="2021-07-06T04:50:43.896" v="6426" actId="165"/>
          <ac:spMkLst>
            <pc:docMk/>
            <pc:sldMk cId="3379055426" sldId="2192"/>
            <ac:spMk id="246" creationId="{2195CA09-EFC7-4007-A7A7-10C502924E47}"/>
          </ac:spMkLst>
        </pc:spChg>
        <pc:spChg chg="mod">
          <ac:chgData name="Aurelien Domont" userId="6da7715ce44349b3" providerId="LiveId" clId="{AFF9B0D5-CA7D-40FB-964A-23276295459E}" dt="2021-07-06T04:50:43.896" v="6426" actId="165"/>
          <ac:spMkLst>
            <pc:docMk/>
            <pc:sldMk cId="3379055426" sldId="2192"/>
            <ac:spMk id="247" creationId="{07127B3D-D91B-4436-9C4C-CEB05642FF43}"/>
          </ac:spMkLst>
        </pc:spChg>
        <pc:spChg chg="mod">
          <ac:chgData name="Aurelien Domont" userId="6da7715ce44349b3" providerId="LiveId" clId="{AFF9B0D5-CA7D-40FB-964A-23276295459E}" dt="2021-07-06T04:50:43.896" v="6426" actId="165"/>
          <ac:spMkLst>
            <pc:docMk/>
            <pc:sldMk cId="3379055426" sldId="2192"/>
            <ac:spMk id="248" creationId="{C7E65F49-CA35-4C6F-99EF-A86431087C5C}"/>
          </ac:spMkLst>
        </pc:spChg>
        <pc:spChg chg="mod">
          <ac:chgData name="Aurelien Domont" userId="6da7715ce44349b3" providerId="LiveId" clId="{AFF9B0D5-CA7D-40FB-964A-23276295459E}" dt="2021-07-06T04:50:43.896" v="6426" actId="165"/>
          <ac:spMkLst>
            <pc:docMk/>
            <pc:sldMk cId="3379055426" sldId="2192"/>
            <ac:spMk id="249" creationId="{3CF81980-D6F0-499D-B952-0CCA99157FF3}"/>
          </ac:spMkLst>
        </pc:spChg>
        <pc:spChg chg="mod">
          <ac:chgData name="Aurelien Domont" userId="6da7715ce44349b3" providerId="LiveId" clId="{AFF9B0D5-CA7D-40FB-964A-23276295459E}" dt="2021-07-06T04:50:43.896" v="6426" actId="165"/>
          <ac:spMkLst>
            <pc:docMk/>
            <pc:sldMk cId="3379055426" sldId="2192"/>
            <ac:spMk id="250" creationId="{66CF125E-C950-46E1-AEB4-530BE2B6DB79}"/>
          </ac:spMkLst>
        </pc:spChg>
        <pc:spChg chg="mod">
          <ac:chgData name="Aurelien Domont" userId="6da7715ce44349b3" providerId="LiveId" clId="{AFF9B0D5-CA7D-40FB-964A-23276295459E}" dt="2021-07-06T04:50:43.896" v="6426" actId="165"/>
          <ac:spMkLst>
            <pc:docMk/>
            <pc:sldMk cId="3379055426" sldId="2192"/>
            <ac:spMk id="251" creationId="{E83F2309-B010-4B76-8F84-FB31FFAF091C}"/>
          </ac:spMkLst>
        </pc:spChg>
        <pc:spChg chg="mod">
          <ac:chgData name="Aurelien Domont" userId="6da7715ce44349b3" providerId="LiveId" clId="{AFF9B0D5-CA7D-40FB-964A-23276295459E}" dt="2021-07-06T04:50:43.896" v="6426" actId="165"/>
          <ac:spMkLst>
            <pc:docMk/>
            <pc:sldMk cId="3379055426" sldId="2192"/>
            <ac:spMk id="252" creationId="{BD6CF8CB-15A3-4ABD-AA76-432170908F04}"/>
          </ac:spMkLst>
        </pc:spChg>
        <pc:spChg chg="mod">
          <ac:chgData name="Aurelien Domont" userId="6da7715ce44349b3" providerId="LiveId" clId="{AFF9B0D5-CA7D-40FB-964A-23276295459E}" dt="2021-07-06T04:50:43.896" v="6426" actId="165"/>
          <ac:spMkLst>
            <pc:docMk/>
            <pc:sldMk cId="3379055426" sldId="2192"/>
            <ac:spMk id="253" creationId="{16517373-9328-4E32-9357-EDC75FAFB99B}"/>
          </ac:spMkLst>
        </pc:spChg>
        <pc:spChg chg="mod">
          <ac:chgData name="Aurelien Domont" userId="6da7715ce44349b3" providerId="LiveId" clId="{AFF9B0D5-CA7D-40FB-964A-23276295459E}" dt="2021-07-06T04:50:43.896" v="6426" actId="165"/>
          <ac:spMkLst>
            <pc:docMk/>
            <pc:sldMk cId="3379055426" sldId="2192"/>
            <ac:spMk id="254" creationId="{5C6F5702-5102-42BA-987D-E7B0AA7A99F5}"/>
          </ac:spMkLst>
        </pc:spChg>
        <pc:spChg chg="mod">
          <ac:chgData name="Aurelien Domont" userId="6da7715ce44349b3" providerId="LiveId" clId="{AFF9B0D5-CA7D-40FB-964A-23276295459E}" dt="2021-07-06T04:50:43.896" v="6426" actId="165"/>
          <ac:spMkLst>
            <pc:docMk/>
            <pc:sldMk cId="3379055426" sldId="2192"/>
            <ac:spMk id="255" creationId="{1DAAAD97-AE64-4EA0-95F4-DD6481A8F3FB}"/>
          </ac:spMkLst>
        </pc:spChg>
        <pc:spChg chg="mod">
          <ac:chgData name="Aurelien Domont" userId="6da7715ce44349b3" providerId="LiveId" clId="{AFF9B0D5-CA7D-40FB-964A-23276295459E}" dt="2021-07-06T04:50:43.896" v="6426" actId="165"/>
          <ac:spMkLst>
            <pc:docMk/>
            <pc:sldMk cId="3379055426" sldId="2192"/>
            <ac:spMk id="256" creationId="{FD77AEA8-D3B9-4B03-AAC1-D84292DB27F0}"/>
          </ac:spMkLst>
        </pc:spChg>
        <pc:spChg chg="mod">
          <ac:chgData name="Aurelien Domont" userId="6da7715ce44349b3" providerId="LiveId" clId="{AFF9B0D5-CA7D-40FB-964A-23276295459E}" dt="2021-07-06T04:50:43.896" v="6426" actId="165"/>
          <ac:spMkLst>
            <pc:docMk/>
            <pc:sldMk cId="3379055426" sldId="2192"/>
            <ac:spMk id="257" creationId="{C127406E-D506-41FE-A862-08B214DF7054}"/>
          </ac:spMkLst>
        </pc:spChg>
        <pc:spChg chg="mod">
          <ac:chgData name="Aurelien Domont" userId="6da7715ce44349b3" providerId="LiveId" clId="{AFF9B0D5-CA7D-40FB-964A-23276295459E}" dt="2021-07-06T04:50:43.896" v="6426" actId="165"/>
          <ac:spMkLst>
            <pc:docMk/>
            <pc:sldMk cId="3379055426" sldId="2192"/>
            <ac:spMk id="258" creationId="{5DDC51BE-2E59-4C3A-8264-BEC5D35F1086}"/>
          </ac:spMkLst>
        </pc:spChg>
        <pc:spChg chg="mod">
          <ac:chgData name="Aurelien Domont" userId="6da7715ce44349b3" providerId="LiveId" clId="{AFF9B0D5-CA7D-40FB-964A-23276295459E}" dt="2021-07-06T04:50:43.896" v="6426" actId="165"/>
          <ac:spMkLst>
            <pc:docMk/>
            <pc:sldMk cId="3379055426" sldId="2192"/>
            <ac:spMk id="259" creationId="{CA2283F1-72A8-46AB-A13B-BA6216774DA7}"/>
          </ac:spMkLst>
        </pc:spChg>
        <pc:spChg chg="mod">
          <ac:chgData name="Aurelien Domont" userId="6da7715ce44349b3" providerId="LiveId" clId="{AFF9B0D5-CA7D-40FB-964A-23276295459E}" dt="2021-07-06T04:50:43.896" v="6426" actId="165"/>
          <ac:spMkLst>
            <pc:docMk/>
            <pc:sldMk cId="3379055426" sldId="2192"/>
            <ac:spMk id="260" creationId="{19CBF73B-27AF-4FD5-B04C-456C7BBDDE93}"/>
          </ac:spMkLst>
        </pc:spChg>
        <pc:spChg chg="mod">
          <ac:chgData name="Aurelien Domont" userId="6da7715ce44349b3" providerId="LiveId" clId="{AFF9B0D5-CA7D-40FB-964A-23276295459E}" dt="2021-07-06T04:50:43.896" v="6426" actId="165"/>
          <ac:spMkLst>
            <pc:docMk/>
            <pc:sldMk cId="3379055426" sldId="2192"/>
            <ac:spMk id="261" creationId="{CB30A25C-C0BC-40C3-85C7-63C06C8CA694}"/>
          </ac:spMkLst>
        </pc:spChg>
        <pc:spChg chg="mod">
          <ac:chgData name="Aurelien Domont" userId="6da7715ce44349b3" providerId="LiveId" clId="{AFF9B0D5-CA7D-40FB-964A-23276295459E}" dt="2021-07-06T04:50:43.896" v="6426" actId="165"/>
          <ac:spMkLst>
            <pc:docMk/>
            <pc:sldMk cId="3379055426" sldId="2192"/>
            <ac:spMk id="262" creationId="{BB2E7AAB-6375-440E-8852-5A60B21E702E}"/>
          </ac:spMkLst>
        </pc:spChg>
        <pc:spChg chg="mod">
          <ac:chgData name="Aurelien Domont" userId="6da7715ce44349b3" providerId="LiveId" clId="{AFF9B0D5-CA7D-40FB-964A-23276295459E}" dt="2021-07-06T04:50:43.896" v="6426" actId="165"/>
          <ac:spMkLst>
            <pc:docMk/>
            <pc:sldMk cId="3379055426" sldId="2192"/>
            <ac:spMk id="263" creationId="{961625A5-71D7-4650-BA45-0A4B47CD917E}"/>
          </ac:spMkLst>
        </pc:spChg>
        <pc:spChg chg="mod">
          <ac:chgData name="Aurelien Domont" userId="6da7715ce44349b3" providerId="LiveId" clId="{AFF9B0D5-CA7D-40FB-964A-23276295459E}" dt="2021-07-06T04:50:43.896" v="6426" actId="165"/>
          <ac:spMkLst>
            <pc:docMk/>
            <pc:sldMk cId="3379055426" sldId="2192"/>
            <ac:spMk id="264" creationId="{448618C1-00F6-490C-AD92-E80B56FBF251}"/>
          </ac:spMkLst>
        </pc:spChg>
        <pc:spChg chg="mod">
          <ac:chgData name="Aurelien Domont" userId="6da7715ce44349b3" providerId="LiveId" clId="{AFF9B0D5-CA7D-40FB-964A-23276295459E}" dt="2021-07-06T04:50:43.896" v="6426" actId="165"/>
          <ac:spMkLst>
            <pc:docMk/>
            <pc:sldMk cId="3379055426" sldId="2192"/>
            <ac:spMk id="265" creationId="{AE388402-2123-4899-BB6F-5DEB0273117E}"/>
          </ac:spMkLst>
        </pc:spChg>
        <pc:spChg chg="mod">
          <ac:chgData name="Aurelien Domont" userId="6da7715ce44349b3" providerId="LiveId" clId="{AFF9B0D5-CA7D-40FB-964A-23276295459E}" dt="2021-07-06T04:50:43.896" v="6426" actId="165"/>
          <ac:spMkLst>
            <pc:docMk/>
            <pc:sldMk cId="3379055426" sldId="2192"/>
            <ac:spMk id="266" creationId="{CC680189-A550-4858-B692-80EA0F57D67A}"/>
          </ac:spMkLst>
        </pc:spChg>
        <pc:spChg chg="mod">
          <ac:chgData name="Aurelien Domont" userId="6da7715ce44349b3" providerId="LiveId" clId="{AFF9B0D5-CA7D-40FB-964A-23276295459E}" dt="2021-07-06T04:50:43.896" v="6426" actId="165"/>
          <ac:spMkLst>
            <pc:docMk/>
            <pc:sldMk cId="3379055426" sldId="2192"/>
            <ac:spMk id="267" creationId="{BEC58D69-1743-401D-995B-3DABB105C38E}"/>
          </ac:spMkLst>
        </pc:spChg>
        <pc:spChg chg="mod">
          <ac:chgData name="Aurelien Domont" userId="6da7715ce44349b3" providerId="LiveId" clId="{AFF9B0D5-CA7D-40FB-964A-23276295459E}" dt="2021-07-06T04:50:43.896" v="6426" actId="165"/>
          <ac:spMkLst>
            <pc:docMk/>
            <pc:sldMk cId="3379055426" sldId="2192"/>
            <ac:spMk id="268" creationId="{B2308CBA-51DB-4327-8C83-430D1BC9B381}"/>
          </ac:spMkLst>
        </pc:spChg>
        <pc:spChg chg="mod">
          <ac:chgData name="Aurelien Domont" userId="6da7715ce44349b3" providerId="LiveId" clId="{AFF9B0D5-CA7D-40FB-964A-23276295459E}" dt="2021-07-06T04:50:43.896" v="6426" actId="165"/>
          <ac:spMkLst>
            <pc:docMk/>
            <pc:sldMk cId="3379055426" sldId="2192"/>
            <ac:spMk id="269" creationId="{02D02326-76F8-489F-902D-E13229606DF4}"/>
          </ac:spMkLst>
        </pc:spChg>
        <pc:spChg chg="mod">
          <ac:chgData name="Aurelien Domont" userId="6da7715ce44349b3" providerId="LiveId" clId="{AFF9B0D5-CA7D-40FB-964A-23276295459E}" dt="2021-07-06T04:50:43.896" v="6426" actId="165"/>
          <ac:spMkLst>
            <pc:docMk/>
            <pc:sldMk cId="3379055426" sldId="2192"/>
            <ac:spMk id="270" creationId="{82A7A041-2D44-4311-932E-FF002429C68A}"/>
          </ac:spMkLst>
        </pc:spChg>
        <pc:spChg chg="mod">
          <ac:chgData name="Aurelien Domont" userId="6da7715ce44349b3" providerId="LiveId" clId="{AFF9B0D5-CA7D-40FB-964A-23276295459E}" dt="2021-07-06T04:50:43.896" v="6426" actId="165"/>
          <ac:spMkLst>
            <pc:docMk/>
            <pc:sldMk cId="3379055426" sldId="2192"/>
            <ac:spMk id="271" creationId="{B75C87F4-4973-47EC-BF93-3A8A98330813}"/>
          </ac:spMkLst>
        </pc:spChg>
        <pc:spChg chg="mod">
          <ac:chgData name="Aurelien Domont" userId="6da7715ce44349b3" providerId="LiveId" clId="{AFF9B0D5-CA7D-40FB-964A-23276295459E}" dt="2021-07-06T04:50:43.896" v="6426" actId="165"/>
          <ac:spMkLst>
            <pc:docMk/>
            <pc:sldMk cId="3379055426" sldId="2192"/>
            <ac:spMk id="272" creationId="{C9320842-AFED-47CC-94CD-949B95E4D937}"/>
          </ac:spMkLst>
        </pc:spChg>
        <pc:spChg chg="mod">
          <ac:chgData name="Aurelien Domont" userId="6da7715ce44349b3" providerId="LiveId" clId="{AFF9B0D5-CA7D-40FB-964A-23276295459E}" dt="2021-07-06T04:50:43.896" v="6426" actId="165"/>
          <ac:spMkLst>
            <pc:docMk/>
            <pc:sldMk cId="3379055426" sldId="2192"/>
            <ac:spMk id="273" creationId="{ED2EA6C0-2417-4198-9D9D-07017AF226EB}"/>
          </ac:spMkLst>
        </pc:spChg>
        <pc:spChg chg="mod">
          <ac:chgData name="Aurelien Domont" userId="6da7715ce44349b3" providerId="LiveId" clId="{AFF9B0D5-CA7D-40FB-964A-23276295459E}" dt="2021-07-06T04:50:43.896" v="6426" actId="165"/>
          <ac:spMkLst>
            <pc:docMk/>
            <pc:sldMk cId="3379055426" sldId="2192"/>
            <ac:spMk id="274" creationId="{98B7D588-D563-4CB9-B794-36C95C9DD022}"/>
          </ac:spMkLst>
        </pc:spChg>
        <pc:spChg chg="mod">
          <ac:chgData name="Aurelien Domont" userId="6da7715ce44349b3" providerId="LiveId" clId="{AFF9B0D5-CA7D-40FB-964A-23276295459E}" dt="2021-07-06T04:50:43.896" v="6426" actId="165"/>
          <ac:spMkLst>
            <pc:docMk/>
            <pc:sldMk cId="3379055426" sldId="2192"/>
            <ac:spMk id="275" creationId="{BB8E45AA-5429-4C1A-B292-889E0D29C23D}"/>
          </ac:spMkLst>
        </pc:spChg>
        <pc:spChg chg="mod">
          <ac:chgData name="Aurelien Domont" userId="6da7715ce44349b3" providerId="LiveId" clId="{AFF9B0D5-CA7D-40FB-964A-23276295459E}" dt="2021-07-06T04:50:43.896" v="6426" actId="165"/>
          <ac:spMkLst>
            <pc:docMk/>
            <pc:sldMk cId="3379055426" sldId="2192"/>
            <ac:spMk id="276" creationId="{6D62197F-F232-483F-BD40-DE7097ED8BCC}"/>
          </ac:spMkLst>
        </pc:spChg>
        <pc:spChg chg="mod">
          <ac:chgData name="Aurelien Domont" userId="6da7715ce44349b3" providerId="LiveId" clId="{AFF9B0D5-CA7D-40FB-964A-23276295459E}" dt="2021-07-06T04:50:43.896" v="6426" actId="165"/>
          <ac:spMkLst>
            <pc:docMk/>
            <pc:sldMk cId="3379055426" sldId="2192"/>
            <ac:spMk id="277" creationId="{D18B01B6-7A89-49E8-ACED-449071B54FF2}"/>
          </ac:spMkLst>
        </pc:spChg>
        <pc:spChg chg="mod">
          <ac:chgData name="Aurelien Domont" userId="6da7715ce44349b3" providerId="LiveId" clId="{AFF9B0D5-CA7D-40FB-964A-23276295459E}" dt="2021-07-06T04:50:43.896" v="6426" actId="165"/>
          <ac:spMkLst>
            <pc:docMk/>
            <pc:sldMk cId="3379055426" sldId="2192"/>
            <ac:spMk id="278" creationId="{F69E19C1-53F0-4BF5-81BD-52D5EE13A71E}"/>
          </ac:spMkLst>
        </pc:spChg>
        <pc:spChg chg="mod">
          <ac:chgData name="Aurelien Domont" userId="6da7715ce44349b3" providerId="LiveId" clId="{AFF9B0D5-CA7D-40FB-964A-23276295459E}" dt="2021-07-06T04:50:43.896" v="6426" actId="165"/>
          <ac:spMkLst>
            <pc:docMk/>
            <pc:sldMk cId="3379055426" sldId="2192"/>
            <ac:spMk id="279" creationId="{264919A1-9FA5-47E9-AE8B-4EC40CDB2256}"/>
          </ac:spMkLst>
        </pc:spChg>
        <pc:spChg chg="mod">
          <ac:chgData name="Aurelien Domont" userId="6da7715ce44349b3" providerId="LiveId" clId="{AFF9B0D5-CA7D-40FB-964A-23276295459E}" dt="2021-07-06T04:50:43.896" v="6426" actId="165"/>
          <ac:spMkLst>
            <pc:docMk/>
            <pc:sldMk cId="3379055426" sldId="2192"/>
            <ac:spMk id="280" creationId="{E4146AC9-FAA9-4FDA-B045-443AC2FD4ACF}"/>
          </ac:spMkLst>
        </pc:spChg>
        <pc:spChg chg="mod">
          <ac:chgData name="Aurelien Domont" userId="6da7715ce44349b3" providerId="LiveId" clId="{AFF9B0D5-CA7D-40FB-964A-23276295459E}" dt="2021-07-06T04:50:43.896" v="6426" actId="165"/>
          <ac:spMkLst>
            <pc:docMk/>
            <pc:sldMk cId="3379055426" sldId="2192"/>
            <ac:spMk id="281" creationId="{F23081F6-AB2E-4599-AF93-E2918EB05AAA}"/>
          </ac:spMkLst>
        </pc:spChg>
        <pc:spChg chg="mod">
          <ac:chgData name="Aurelien Domont" userId="6da7715ce44349b3" providerId="LiveId" clId="{AFF9B0D5-CA7D-40FB-964A-23276295459E}" dt="2021-07-06T04:50:43.896" v="6426" actId="165"/>
          <ac:spMkLst>
            <pc:docMk/>
            <pc:sldMk cId="3379055426" sldId="2192"/>
            <ac:spMk id="282" creationId="{DE94D9E9-CBB8-44AA-A4E5-8CE0C707EF6C}"/>
          </ac:spMkLst>
        </pc:spChg>
        <pc:spChg chg="mod">
          <ac:chgData name="Aurelien Domont" userId="6da7715ce44349b3" providerId="LiveId" clId="{AFF9B0D5-CA7D-40FB-964A-23276295459E}" dt="2021-07-06T04:50:43.896" v="6426" actId="165"/>
          <ac:spMkLst>
            <pc:docMk/>
            <pc:sldMk cId="3379055426" sldId="2192"/>
            <ac:spMk id="283" creationId="{8B25ABEE-9536-4BE8-94F1-AAD91DBA02D5}"/>
          </ac:spMkLst>
        </pc:spChg>
        <pc:spChg chg="mod">
          <ac:chgData name="Aurelien Domont" userId="6da7715ce44349b3" providerId="LiveId" clId="{AFF9B0D5-CA7D-40FB-964A-23276295459E}" dt="2021-07-06T04:50:43.896" v="6426" actId="165"/>
          <ac:spMkLst>
            <pc:docMk/>
            <pc:sldMk cId="3379055426" sldId="2192"/>
            <ac:spMk id="284" creationId="{1D668561-C8ED-4D80-BF96-03CE41435EEC}"/>
          </ac:spMkLst>
        </pc:spChg>
        <pc:spChg chg="mod">
          <ac:chgData name="Aurelien Domont" userId="6da7715ce44349b3" providerId="LiveId" clId="{AFF9B0D5-CA7D-40FB-964A-23276295459E}" dt="2021-07-06T04:50:43.896" v="6426" actId="165"/>
          <ac:spMkLst>
            <pc:docMk/>
            <pc:sldMk cId="3379055426" sldId="2192"/>
            <ac:spMk id="285" creationId="{98B10F92-DA53-484B-8844-DE36C140D00E}"/>
          </ac:spMkLst>
        </pc:spChg>
        <pc:spChg chg="mod">
          <ac:chgData name="Aurelien Domont" userId="6da7715ce44349b3" providerId="LiveId" clId="{AFF9B0D5-CA7D-40FB-964A-23276295459E}" dt="2021-07-06T04:50:43.896" v="6426" actId="165"/>
          <ac:spMkLst>
            <pc:docMk/>
            <pc:sldMk cId="3379055426" sldId="2192"/>
            <ac:spMk id="286" creationId="{70B179E6-E53C-48F0-874F-640E3D3516FA}"/>
          </ac:spMkLst>
        </pc:spChg>
        <pc:grpChg chg="del">
          <ac:chgData name="Aurelien Domont" userId="6da7715ce44349b3" providerId="LiveId" clId="{AFF9B0D5-CA7D-40FB-964A-23276295459E}" dt="2021-07-06T04:49:26.216" v="6417" actId="478"/>
          <ac:grpSpMkLst>
            <pc:docMk/>
            <pc:sldMk cId="3379055426" sldId="2192"/>
            <ac:grpSpMk id="6" creationId="{33747CCF-50E7-4EB5-9B4D-8E887AE145E7}"/>
          </ac:grpSpMkLst>
        </pc:grpChg>
        <pc:grpChg chg="add del mod">
          <ac:chgData name="Aurelien Domont" userId="6da7715ce44349b3" providerId="LiveId" clId="{AFF9B0D5-CA7D-40FB-964A-23276295459E}" dt="2021-07-06T04:50:43.896" v="6426" actId="165"/>
          <ac:grpSpMkLst>
            <pc:docMk/>
            <pc:sldMk cId="3379055426" sldId="2192"/>
            <ac:grpSpMk id="14" creationId="{EF088785-0CD7-4929-A1FD-6BC2F30A8FAB}"/>
          </ac:grpSpMkLst>
        </pc:grpChg>
        <pc:grpChg chg="mod topLvl">
          <ac:chgData name="Aurelien Domont" userId="6da7715ce44349b3" providerId="LiveId" clId="{AFF9B0D5-CA7D-40FB-964A-23276295459E}" dt="2021-07-06T04:50:43.896" v="6426" actId="165"/>
          <ac:grpSpMkLst>
            <pc:docMk/>
            <pc:sldMk cId="3379055426" sldId="2192"/>
            <ac:grpSpMk id="15" creationId="{9C0E45AE-B2E6-4B14-B298-BE405EA25E84}"/>
          </ac:grpSpMkLst>
        </pc:grpChg>
        <pc:grpChg chg="mod topLvl">
          <ac:chgData name="Aurelien Domont" userId="6da7715ce44349b3" providerId="LiveId" clId="{AFF9B0D5-CA7D-40FB-964A-23276295459E}" dt="2021-07-06T04:50:43.896" v="6426" actId="165"/>
          <ac:grpSpMkLst>
            <pc:docMk/>
            <pc:sldMk cId="3379055426" sldId="2192"/>
            <ac:grpSpMk id="17" creationId="{D7FD3650-AC39-4106-8A94-C39AD36375A5}"/>
          </ac:grpSpMkLst>
        </pc:grpChg>
        <pc:grpChg chg="mod topLvl">
          <ac:chgData name="Aurelien Domont" userId="6da7715ce44349b3" providerId="LiveId" clId="{AFF9B0D5-CA7D-40FB-964A-23276295459E}" dt="2021-07-06T04:50:43.896" v="6426" actId="165"/>
          <ac:grpSpMkLst>
            <pc:docMk/>
            <pc:sldMk cId="3379055426" sldId="2192"/>
            <ac:grpSpMk id="21" creationId="{968782E9-CA2E-480E-8CE1-A8E01F2D48CD}"/>
          </ac:grpSpMkLst>
        </pc:grpChg>
        <pc:grpChg chg="mod topLvl">
          <ac:chgData name="Aurelien Domont" userId="6da7715ce44349b3" providerId="LiveId" clId="{AFF9B0D5-CA7D-40FB-964A-23276295459E}" dt="2021-07-06T04:50:43.896" v="6426" actId="165"/>
          <ac:grpSpMkLst>
            <pc:docMk/>
            <pc:sldMk cId="3379055426" sldId="2192"/>
            <ac:grpSpMk id="28" creationId="{EE95D2F9-12D6-4383-9822-1B3404DCE0BA}"/>
          </ac:grpSpMkLst>
        </pc:grpChg>
        <pc:grpChg chg="mod topLvl">
          <ac:chgData name="Aurelien Domont" userId="6da7715ce44349b3" providerId="LiveId" clId="{AFF9B0D5-CA7D-40FB-964A-23276295459E}" dt="2021-07-06T04:50:43.896" v="6426" actId="165"/>
          <ac:grpSpMkLst>
            <pc:docMk/>
            <pc:sldMk cId="3379055426" sldId="2192"/>
            <ac:grpSpMk id="32" creationId="{C2AA4E4D-F099-4B69-BB71-8D05B53DA0FD}"/>
          </ac:grpSpMkLst>
        </pc:grpChg>
        <pc:grpChg chg="mod topLvl">
          <ac:chgData name="Aurelien Domont" userId="6da7715ce44349b3" providerId="LiveId" clId="{AFF9B0D5-CA7D-40FB-964A-23276295459E}" dt="2021-07-06T04:50:43.896" v="6426" actId="165"/>
          <ac:grpSpMkLst>
            <pc:docMk/>
            <pc:sldMk cId="3379055426" sldId="2192"/>
            <ac:grpSpMk id="36" creationId="{52771FB2-67D6-4FCE-A682-36315160C6EE}"/>
          </ac:grpSpMkLst>
        </pc:grpChg>
        <pc:grpChg chg="mod topLvl">
          <ac:chgData name="Aurelien Domont" userId="6da7715ce44349b3" providerId="LiveId" clId="{AFF9B0D5-CA7D-40FB-964A-23276295459E}" dt="2021-07-06T04:50:43.896" v="6426" actId="165"/>
          <ac:grpSpMkLst>
            <pc:docMk/>
            <pc:sldMk cId="3379055426" sldId="2192"/>
            <ac:grpSpMk id="43" creationId="{0D073FB2-9887-4DC7-9A8E-55301515F760}"/>
          </ac:grpSpMkLst>
        </pc:grpChg>
        <pc:grpChg chg="mod topLvl">
          <ac:chgData name="Aurelien Domont" userId="6da7715ce44349b3" providerId="LiveId" clId="{AFF9B0D5-CA7D-40FB-964A-23276295459E}" dt="2021-07-06T04:50:43.896" v="6426" actId="165"/>
          <ac:grpSpMkLst>
            <pc:docMk/>
            <pc:sldMk cId="3379055426" sldId="2192"/>
            <ac:grpSpMk id="45" creationId="{7C8F2046-8479-458F-BD6E-6311EC3DBB77}"/>
          </ac:grpSpMkLst>
        </pc:grpChg>
        <pc:grpChg chg="mod topLvl">
          <ac:chgData name="Aurelien Domont" userId="6da7715ce44349b3" providerId="LiveId" clId="{AFF9B0D5-CA7D-40FB-964A-23276295459E}" dt="2021-07-06T04:50:43.896" v="6426" actId="165"/>
          <ac:grpSpMkLst>
            <pc:docMk/>
            <pc:sldMk cId="3379055426" sldId="2192"/>
            <ac:grpSpMk id="46" creationId="{C326D45F-63EE-4C85-9BB1-455E811D4BF3}"/>
          </ac:grpSpMkLst>
        </pc:grpChg>
        <pc:grpChg chg="mod topLvl">
          <ac:chgData name="Aurelien Domont" userId="6da7715ce44349b3" providerId="LiveId" clId="{AFF9B0D5-CA7D-40FB-964A-23276295459E}" dt="2021-07-06T04:50:43.896" v="6426" actId="165"/>
          <ac:grpSpMkLst>
            <pc:docMk/>
            <pc:sldMk cId="3379055426" sldId="2192"/>
            <ac:grpSpMk id="61" creationId="{F9192B0A-60BC-458A-A90A-64E6BCF7B168}"/>
          </ac:grpSpMkLst>
        </pc:grpChg>
        <pc:grpChg chg="mod topLvl">
          <ac:chgData name="Aurelien Domont" userId="6da7715ce44349b3" providerId="LiveId" clId="{AFF9B0D5-CA7D-40FB-964A-23276295459E}" dt="2021-07-06T04:50:43.896" v="6426" actId="165"/>
          <ac:grpSpMkLst>
            <pc:docMk/>
            <pc:sldMk cId="3379055426" sldId="2192"/>
            <ac:grpSpMk id="124" creationId="{3F59DADE-E8D8-4B62-87BA-E7852DAF2A4A}"/>
          </ac:grpSpMkLst>
        </pc:grpChg>
        <pc:grpChg chg="mod topLvl">
          <ac:chgData name="Aurelien Domont" userId="6da7715ce44349b3" providerId="LiveId" clId="{AFF9B0D5-CA7D-40FB-964A-23276295459E}" dt="2021-07-06T04:50:43.896" v="6426" actId="165"/>
          <ac:grpSpMkLst>
            <pc:docMk/>
            <pc:sldMk cId="3379055426" sldId="2192"/>
            <ac:grpSpMk id="126" creationId="{695ED9C2-44C8-42C0-98F4-CDFA0A6FAB71}"/>
          </ac:grpSpMkLst>
        </pc:grpChg>
        <pc:grpChg chg="mod topLvl">
          <ac:chgData name="Aurelien Domont" userId="6da7715ce44349b3" providerId="LiveId" clId="{AFF9B0D5-CA7D-40FB-964A-23276295459E}" dt="2021-07-06T04:50:43.896" v="6426" actId="165"/>
          <ac:grpSpMkLst>
            <pc:docMk/>
            <pc:sldMk cId="3379055426" sldId="2192"/>
            <ac:grpSpMk id="128" creationId="{0CE860CB-0ACE-499B-B341-E9BAB83D7E19}"/>
          </ac:grpSpMkLst>
        </pc:grpChg>
        <pc:grpChg chg="mod topLvl">
          <ac:chgData name="Aurelien Domont" userId="6da7715ce44349b3" providerId="LiveId" clId="{AFF9B0D5-CA7D-40FB-964A-23276295459E}" dt="2021-07-06T04:50:43.896" v="6426" actId="165"/>
          <ac:grpSpMkLst>
            <pc:docMk/>
            <pc:sldMk cId="3379055426" sldId="2192"/>
            <ac:grpSpMk id="130" creationId="{C92112EC-D917-45DB-AC30-F792AAB9BB01}"/>
          </ac:grpSpMkLst>
        </pc:grpChg>
        <pc:grpChg chg="mod topLvl">
          <ac:chgData name="Aurelien Domont" userId="6da7715ce44349b3" providerId="LiveId" clId="{AFF9B0D5-CA7D-40FB-964A-23276295459E}" dt="2021-07-06T04:50:43.896" v="6426" actId="165"/>
          <ac:grpSpMkLst>
            <pc:docMk/>
            <pc:sldMk cId="3379055426" sldId="2192"/>
            <ac:grpSpMk id="141" creationId="{BF9644D1-2144-4F03-A2EB-F31C8C23F2B8}"/>
          </ac:grpSpMkLst>
        </pc:grpChg>
        <pc:picChg chg="del">
          <ac:chgData name="Aurelien Domont" userId="6da7715ce44349b3" providerId="LiveId" clId="{AFF9B0D5-CA7D-40FB-964A-23276295459E}" dt="2021-07-06T04:50:02.896" v="6422" actId="478"/>
          <ac:picMkLst>
            <pc:docMk/>
            <pc:sldMk cId="3379055426" sldId="2192"/>
            <ac:picMk id="3" creationId="{15370C7C-145F-4349-AE96-1E50E9582145}"/>
          </ac:picMkLst>
        </pc:picChg>
        <pc:picChg chg="del">
          <ac:chgData name="Aurelien Domont" userId="6da7715ce44349b3" providerId="LiveId" clId="{AFF9B0D5-CA7D-40FB-964A-23276295459E}" dt="2021-07-06T04:50:02.896" v="6422" actId="478"/>
          <ac:picMkLst>
            <pc:docMk/>
            <pc:sldMk cId="3379055426" sldId="2192"/>
            <ac:picMk id="11" creationId="{25D5DDB8-F1BB-4113-A087-0C0A746C7EB2}"/>
          </ac:picMkLst>
        </pc:picChg>
        <pc:picChg chg="del">
          <ac:chgData name="Aurelien Domont" userId="6da7715ce44349b3" providerId="LiveId" clId="{AFF9B0D5-CA7D-40FB-964A-23276295459E}" dt="2021-07-06T04:50:02.896" v="6422" actId="478"/>
          <ac:picMkLst>
            <pc:docMk/>
            <pc:sldMk cId="3379055426" sldId="2192"/>
            <ac:picMk id="19" creationId="{510380BB-04DC-414E-AEA0-0A102EFB8B64}"/>
          </ac:picMkLst>
        </pc:picChg>
        <pc:picChg chg="del">
          <ac:chgData name="Aurelien Domont" userId="6da7715ce44349b3" providerId="LiveId" clId="{AFF9B0D5-CA7D-40FB-964A-23276295459E}" dt="2021-07-06T04:50:02.896" v="6422" actId="478"/>
          <ac:picMkLst>
            <pc:docMk/>
            <pc:sldMk cId="3379055426" sldId="2192"/>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2365006287" sldId="2193"/>
        </pc:sldMkLst>
        <pc:spChg chg="add mod">
          <ac:chgData name="Aurelien Domont" userId="6da7715ce44349b3" providerId="LiveId" clId="{AFF9B0D5-CA7D-40FB-964A-23276295459E}" dt="2021-07-06T05:02:39.256" v="6497" actId="1037"/>
          <ac:spMkLst>
            <pc:docMk/>
            <pc:sldMk cId="2365006287" sldId="2193"/>
            <ac:spMk id="2" creationId="{AE798A20-BDA2-4BD7-9090-E20E7CFACF67}"/>
          </ac:spMkLst>
        </pc:spChg>
        <pc:spChg chg="mod">
          <ac:chgData name="Aurelien Domont" userId="6da7715ce44349b3" providerId="LiveId" clId="{AFF9B0D5-CA7D-40FB-964A-23276295459E}" dt="2021-07-06T05:06:50.296" v="6579" actId="20577"/>
          <ac:spMkLst>
            <pc:docMk/>
            <pc:sldMk cId="2365006287" sldId="2193"/>
            <ac:spMk id="16" creationId="{6C2BB713-9637-4B9B-938F-E9768876782A}"/>
          </ac:spMkLst>
        </pc:spChg>
        <pc:spChg chg="mod">
          <ac:chgData name="Aurelien Domont" userId="6da7715ce44349b3" providerId="LiveId" clId="{AFF9B0D5-CA7D-40FB-964A-23276295459E}" dt="2021-07-06T04:55:27.110" v="6436" actId="207"/>
          <ac:spMkLst>
            <pc:docMk/>
            <pc:sldMk cId="2365006287" sldId="2193"/>
            <ac:spMk id="18" creationId="{B771EFD1-480A-49D1-8311-D1631ADDCAE0}"/>
          </ac:spMkLst>
        </pc:spChg>
        <pc:spChg chg="mod">
          <ac:chgData name="Aurelien Domont" userId="6da7715ce44349b3" providerId="LiveId" clId="{AFF9B0D5-CA7D-40FB-964A-23276295459E}" dt="2021-07-06T04:55:27.110" v="6436" actId="207"/>
          <ac:spMkLst>
            <pc:docMk/>
            <pc:sldMk cId="2365006287" sldId="2193"/>
            <ac:spMk id="22" creationId="{65469F66-D281-4ED1-A6A4-53FB0256ADF0}"/>
          </ac:spMkLst>
        </pc:spChg>
        <pc:spChg chg="mod">
          <ac:chgData name="Aurelien Domont" userId="6da7715ce44349b3" providerId="LiveId" clId="{AFF9B0D5-CA7D-40FB-964A-23276295459E}" dt="2021-07-06T04:55:27.110" v="6436" actId="207"/>
          <ac:spMkLst>
            <pc:docMk/>
            <pc:sldMk cId="2365006287" sldId="2193"/>
            <ac:spMk id="23" creationId="{23E57CB2-F110-433B-8E68-828A876E73FC}"/>
          </ac:spMkLst>
        </pc:spChg>
        <pc:spChg chg="mod">
          <ac:chgData name="Aurelien Domont" userId="6da7715ce44349b3" providerId="LiveId" clId="{AFF9B0D5-CA7D-40FB-964A-23276295459E}" dt="2021-07-06T04:55:27.110" v="6436" actId="207"/>
          <ac:spMkLst>
            <pc:docMk/>
            <pc:sldMk cId="2365006287" sldId="2193"/>
            <ac:spMk id="24" creationId="{74E6FD3E-697E-437E-BCCF-D4036C531968}"/>
          </ac:spMkLst>
        </pc:spChg>
        <pc:spChg chg="mod">
          <ac:chgData name="Aurelien Domont" userId="6da7715ce44349b3" providerId="LiveId" clId="{AFF9B0D5-CA7D-40FB-964A-23276295459E}" dt="2021-07-06T04:55:27.110" v="6436" actId="207"/>
          <ac:spMkLst>
            <pc:docMk/>
            <pc:sldMk cId="2365006287" sldId="2193"/>
            <ac:spMk id="25" creationId="{92AABBE3-B444-4BEC-82DD-5644BBA7A771}"/>
          </ac:spMkLst>
        </pc:spChg>
        <pc:spChg chg="mod">
          <ac:chgData name="Aurelien Domont" userId="6da7715ce44349b3" providerId="LiveId" clId="{AFF9B0D5-CA7D-40FB-964A-23276295459E}" dt="2021-07-06T04:55:27.110" v="6436" actId="207"/>
          <ac:spMkLst>
            <pc:docMk/>
            <pc:sldMk cId="2365006287" sldId="2193"/>
            <ac:spMk id="26" creationId="{97B58A29-1D94-499B-8733-3910F9AD6F4A}"/>
          </ac:spMkLst>
        </pc:spChg>
        <pc:spChg chg="mod">
          <ac:chgData name="Aurelien Domont" userId="6da7715ce44349b3" providerId="LiveId" clId="{AFF9B0D5-CA7D-40FB-964A-23276295459E}" dt="2021-07-06T04:55:27.110" v="6436" actId="207"/>
          <ac:spMkLst>
            <pc:docMk/>
            <pc:sldMk cId="2365006287" sldId="2193"/>
            <ac:spMk id="27" creationId="{5D999E87-6D47-44EB-AA80-FAB1044E50B3}"/>
          </ac:spMkLst>
        </pc:spChg>
        <pc:spChg chg="mod">
          <ac:chgData name="Aurelien Domont" userId="6da7715ce44349b3" providerId="LiveId" clId="{AFF9B0D5-CA7D-40FB-964A-23276295459E}" dt="2021-07-06T04:55:27.110" v="6436" actId="207"/>
          <ac:spMkLst>
            <pc:docMk/>
            <pc:sldMk cId="2365006287" sldId="2193"/>
            <ac:spMk id="29" creationId="{3C06A61B-7951-49EC-954F-20BCE045D88C}"/>
          </ac:spMkLst>
        </pc:spChg>
        <pc:spChg chg="mod">
          <ac:chgData name="Aurelien Domont" userId="6da7715ce44349b3" providerId="LiveId" clId="{AFF9B0D5-CA7D-40FB-964A-23276295459E}" dt="2021-07-06T04:55:27.110" v="6436" actId="207"/>
          <ac:spMkLst>
            <pc:docMk/>
            <pc:sldMk cId="2365006287" sldId="2193"/>
            <ac:spMk id="30" creationId="{CEF0D8C1-C31C-434B-AE35-55B3471F9C9D}"/>
          </ac:spMkLst>
        </pc:spChg>
        <pc:spChg chg="mod">
          <ac:chgData name="Aurelien Domont" userId="6da7715ce44349b3" providerId="LiveId" clId="{AFF9B0D5-CA7D-40FB-964A-23276295459E}" dt="2021-07-06T04:55:27.110" v="6436" actId="207"/>
          <ac:spMkLst>
            <pc:docMk/>
            <pc:sldMk cId="2365006287" sldId="2193"/>
            <ac:spMk id="31" creationId="{811A9C04-9509-4F96-B5E1-2683FDB0AA62}"/>
          </ac:spMkLst>
        </pc:spChg>
        <pc:spChg chg="mod">
          <ac:chgData name="Aurelien Domont" userId="6da7715ce44349b3" providerId="LiveId" clId="{AFF9B0D5-CA7D-40FB-964A-23276295459E}" dt="2021-07-06T04:55:27.110" v="6436" actId="207"/>
          <ac:spMkLst>
            <pc:docMk/>
            <pc:sldMk cId="2365006287" sldId="2193"/>
            <ac:spMk id="33" creationId="{7C047B58-FCD5-4D1B-B651-61CF38F9DD85}"/>
          </ac:spMkLst>
        </pc:spChg>
        <pc:spChg chg="mod">
          <ac:chgData name="Aurelien Domont" userId="6da7715ce44349b3" providerId="LiveId" clId="{AFF9B0D5-CA7D-40FB-964A-23276295459E}" dt="2021-07-06T04:55:27.110" v="6436" actId="207"/>
          <ac:spMkLst>
            <pc:docMk/>
            <pc:sldMk cId="2365006287" sldId="2193"/>
            <ac:spMk id="34" creationId="{2E14BF7D-6F99-4D98-A8DA-8EB723F87710}"/>
          </ac:spMkLst>
        </pc:spChg>
        <pc:spChg chg="mod">
          <ac:chgData name="Aurelien Domont" userId="6da7715ce44349b3" providerId="LiveId" clId="{AFF9B0D5-CA7D-40FB-964A-23276295459E}" dt="2021-07-06T04:55:27.110" v="6436" actId="207"/>
          <ac:spMkLst>
            <pc:docMk/>
            <pc:sldMk cId="2365006287" sldId="2193"/>
            <ac:spMk id="35" creationId="{3882020F-C56B-44AB-8637-035FEE81CF3D}"/>
          </ac:spMkLst>
        </pc:spChg>
        <pc:spChg chg="mod">
          <ac:chgData name="Aurelien Domont" userId="6da7715ce44349b3" providerId="LiveId" clId="{AFF9B0D5-CA7D-40FB-964A-23276295459E}" dt="2021-07-06T04:55:27.110" v="6436" actId="207"/>
          <ac:spMkLst>
            <pc:docMk/>
            <pc:sldMk cId="2365006287" sldId="2193"/>
            <ac:spMk id="37" creationId="{BD423BD5-6D69-49BE-A67A-B9649D95191D}"/>
          </ac:spMkLst>
        </pc:spChg>
        <pc:spChg chg="mod">
          <ac:chgData name="Aurelien Domont" userId="6da7715ce44349b3" providerId="LiveId" clId="{AFF9B0D5-CA7D-40FB-964A-23276295459E}" dt="2021-07-06T04:55:27.110" v="6436" actId="207"/>
          <ac:spMkLst>
            <pc:docMk/>
            <pc:sldMk cId="2365006287" sldId="2193"/>
            <ac:spMk id="38" creationId="{E0BF46F7-A9D8-4C09-978A-75A9D4B5E441}"/>
          </ac:spMkLst>
        </pc:spChg>
        <pc:spChg chg="mod">
          <ac:chgData name="Aurelien Domont" userId="6da7715ce44349b3" providerId="LiveId" clId="{AFF9B0D5-CA7D-40FB-964A-23276295459E}" dt="2021-07-06T04:55:27.110" v="6436" actId="207"/>
          <ac:spMkLst>
            <pc:docMk/>
            <pc:sldMk cId="2365006287" sldId="2193"/>
            <ac:spMk id="39" creationId="{0C3749C6-D983-40E9-B6FE-9E314EE56A35}"/>
          </ac:spMkLst>
        </pc:spChg>
        <pc:spChg chg="mod">
          <ac:chgData name="Aurelien Domont" userId="6da7715ce44349b3" providerId="LiveId" clId="{AFF9B0D5-CA7D-40FB-964A-23276295459E}" dt="2021-07-06T04:55:27.110" v="6436" actId="207"/>
          <ac:spMkLst>
            <pc:docMk/>
            <pc:sldMk cId="2365006287" sldId="2193"/>
            <ac:spMk id="40" creationId="{1CE55E94-F6B3-43A5-8C94-74729058DAFB}"/>
          </ac:spMkLst>
        </pc:spChg>
        <pc:spChg chg="mod">
          <ac:chgData name="Aurelien Domont" userId="6da7715ce44349b3" providerId="LiveId" clId="{AFF9B0D5-CA7D-40FB-964A-23276295459E}" dt="2021-07-06T04:55:27.110" v="6436" actId="207"/>
          <ac:spMkLst>
            <pc:docMk/>
            <pc:sldMk cId="2365006287" sldId="2193"/>
            <ac:spMk id="41" creationId="{6EBB98D6-908A-4551-B26F-10C6768274FA}"/>
          </ac:spMkLst>
        </pc:spChg>
        <pc:spChg chg="mod">
          <ac:chgData name="Aurelien Domont" userId="6da7715ce44349b3" providerId="LiveId" clId="{AFF9B0D5-CA7D-40FB-964A-23276295459E}" dt="2021-07-06T04:55:27.110" v="6436" actId="207"/>
          <ac:spMkLst>
            <pc:docMk/>
            <pc:sldMk cId="2365006287" sldId="2193"/>
            <ac:spMk id="42" creationId="{E4CBA9D9-791A-4B6D-A6F5-C58BC1196434}"/>
          </ac:spMkLst>
        </pc:spChg>
        <pc:spChg chg="mod">
          <ac:chgData name="Aurelien Domont" userId="6da7715ce44349b3" providerId="LiveId" clId="{AFF9B0D5-CA7D-40FB-964A-23276295459E}" dt="2021-07-06T04:55:27.110" v="6436" actId="207"/>
          <ac:spMkLst>
            <pc:docMk/>
            <pc:sldMk cId="2365006287" sldId="2193"/>
            <ac:spMk id="44" creationId="{2324D931-C446-4406-A3B2-7EEF109E1330}"/>
          </ac:spMkLst>
        </pc:spChg>
        <pc:spChg chg="mod">
          <ac:chgData name="Aurelien Domont" userId="6da7715ce44349b3" providerId="LiveId" clId="{AFF9B0D5-CA7D-40FB-964A-23276295459E}" dt="2021-07-06T04:55:27.110" v="6436" actId="207"/>
          <ac:spMkLst>
            <pc:docMk/>
            <pc:sldMk cId="2365006287" sldId="2193"/>
            <ac:spMk id="47" creationId="{066BFCAB-9359-47E6-85A9-6446EEE47684}"/>
          </ac:spMkLst>
        </pc:spChg>
        <pc:spChg chg="mod">
          <ac:chgData name="Aurelien Domont" userId="6da7715ce44349b3" providerId="LiveId" clId="{AFF9B0D5-CA7D-40FB-964A-23276295459E}" dt="2021-07-06T04:55:27.110" v="6436" actId="207"/>
          <ac:spMkLst>
            <pc:docMk/>
            <pc:sldMk cId="2365006287" sldId="2193"/>
            <ac:spMk id="48" creationId="{596BEE1A-9790-483E-96EB-CDEEB9ED8E4A}"/>
          </ac:spMkLst>
        </pc:spChg>
        <pc:spChg chg="mod">
          <ac:chgData name="Aurelien Domont" userId="6da7715ce44349b3" providerId="LiveId" clId="{AFF9B0D5-CA7D-40FB-964A-23276295459E}" dt="2021-07-06T04:55:27.110" v="6436" actId="207"/>
          <ac:spMkLst>
            <pc:docMk/>
            <pc:sldMk cId="2365006287" sldId="2193"/>
            <ac:spMk id="49" creationId="{6C51E034-D463-40F4-A6FE-1AD0EECC2E18}"/>
          </ac:spMkLst>
        </pc:spChg>
        <pc:spChg chg="mod">
          <ac:chgData name="Aurelien Domont" userId="6da7715ce44349b3" providerId="LiveId" clId="{AFF9B0D5-CA7D-40FB-964A-23276295459E}" dt="2021-07-06T04:55:27.110" v="6436" actId="207"/>
          <ac:spMkLst>
            <pc:docMk/>
            <pc:sldMk cId="2365006287" sldId="2193"/>
            <ac:spMk id="50" creationId="{4DB629D9-D3D7-42A5-B2E5-376B2910CE6E}"/>
          </ac:spMkLst>
        </pc:spChg>
        <pc:spChg chg="mod">
          <ac:chgData name="Aurelien Domont" userId="6da7715ce44349b3" providerId="LiveId" clId="{AFF9B0D5-CA7D-40FB-964A-23276295459E}" dt="2021-07-06T04:55:27.110" v="6436" actId="207"/>
          <ac:spMkLst>
            <pc:docMk/>
            <pc:sldMk cId="2365006287" sldId="2193"/>
            <ac:spMk id="51" creationId="{0508A820-EDC6-4023-B09A-569DACAA89BC}"/>
          </ac:spMkLst>
        </pc:spChg>
        <pc:spChg chg="mod">
          <ac:chgData name="Aurelien Domont" userId="6da7715ce44349b3" providerId="LiveId" clId="{AFF9B0D5-CA7D-40FB-964A-23276295459E}" dt="2021-07-06T04:55:27.110" v="6436" actId="207"/>
          <ac:spMkLst>
            <pc:docMk/>
            <pc:sldMk cId="2365006287" sldId="2193"/>
            <ac:spMk id="52" creationId="{0598C82B-5B19-4ECD-A9F9-210E620301CE}"/>
          </ac:spMkLst>
        </pc:spChg>
        <pc:spChg chg="mod">
          <ac:chgData name="Aurelien Domont" userId="6da7715ce44349b3" providerId="LiveId" clId="{AFF9B0D5-CA7D-40FB-964A-23276295459E}" dt="2021-07-06T04:55:27.110" v="6436" actId="207"/>
          <ac:spMkLst>
            <pc:docMk/>
            <pc:sldMk cId="2365006287" sldId="2193"/>
            <ac:spMk id="53" creationId="{69AA8412-F4FC-49E9-8098-BA5431F25AEC}"/>
          </ac:spMkLst>
        </pc:spChg>
        <pc:spChg chg="mod">
          <ac:chgData name="Aurelien Domont" userId="6da7715ce44349b3" providerId="LiveId" clId="{AFF9B0D5-CA7D-40FB-964A-23276295459E}" dt="2021-07-06T04:55:27.110" v="6436" actId="207"/>
          <ac:spMkLst>
            <pc:docMk/>
            <pc:sldMk cId="2365006287" sldId="2193"/>
            <ac:spMk id="54" creationId="{FD10D8C9-608D-4706-9C95-87B692F7BC52}"/>
          </ac:spMkLst>
        </pc:spChg>
        <pc:spChg chg="mod">
          <ac:chgData name="Aurelien Domont" userId="6da7715ce44349b3" providerId="LiveId" clId="{AFF9B0D5-CA7D-40FB-964A-23276295459E}" dt="2021-07-06T04:55:27.110" v="6436" actId="207"/>
          <ac:spMkLst>
            <pc:docMk/>
            <pc:sldMk cId="2365006287" sldId="2193"/>
            <ac:spMk id="55" creationId="{F96E8F5D-13F7-4F5F-B0C7-43F495BBE507}"/>
          </ac:spMkLst>
        </pc:spChg>
        <pc:spChg chg="mod">
          <ac:chgData name="Aurelien Domont" userId="6da7715ce44349b3" providerId="LiveId" clId="{AFF9B0D5-CA7D-40FB-964A-23276295459E}" dt="2021-07-06T04:55:27.110" v="6436" actId="207"/>
          <ac:spMkLst>
            <pc:docMk/>
            <pc:sldMk cId="2365006287" sldId="2193"/>
            <ac:spMk id="56" creationId="{1944C13D-7976-4FFF-9C1A-50B916EBC481}"/>
          </ac:spMkLst>
        </pc:spChg>
        <pc:spChg chg="mod">
          <ac:chgData name="Aurelien Domont" userId="6da7715ce44349b3" providerId="LiveId" clId="{AFF9B0D5-CA7D-40FB-964A-23276295459E}" dt="2021-07-06T04:55:27.110" v="6436" actId="207"/>
          <ac:spMkLst>
            <pc:docMk/>
            <pc:sldMk cId="2365006287" sldId="2193"/>
            <ac:spMk id="57" creationId="{596979FA-5547-40C5-9D2D-03C54409A1FB}"/>
          </ac:spMkLst>
        </pc:spChg>
        <pc:spChg chg="mod">
          <ac:chgData name="Aurelien Domont" userId="6da7715ce44349b3" providerId="LiveId" clId="{AFF9B0D5-CA7D-40FB-964A-23276295459E}" dt="2021-07-06T04:55:27.110" v="6436" actId="207"/>
          <ac:spMkLst>
            <pc:docMk/>
            <pc:sldMk cId="2365006287" sldId="2193"/>
            <ac:spMk id="58" creationId="{E2562560-CC9C-4394-9A98-D6C4F0C35DF1}"/>
          </ac:spMkLst>
        </pc:spChg>
        <pc:spChg chg="mod">
          <ac:chgData name="Aurelien Domont" userId="6da7715ce44349b3" providerId="LiveId" clId="{AFF9B0D5-CA7D-40FB-964A-23276295459E}" dt="2021-07-06T04:55:27.110" v="6436" actId="207"/>
          <ac:spMkLst>
            <pc:docMk/>
            <pc:sldMk cId="2365006287" sldId="2193"/>
            <ac:spMk id="59" creationId="{FBF447C9-790F-4E87-A5F0-245B9CBB2C5C}"/>
          </ac:spMkLst>
        </pc:spChg>
        <pc:spChg chg="mod">
          <ac:chgData name="Aurelien Domont" userId="6da7715ce44349b3" providerId="LiveId" clId="{AFF9B0D5-CA7D-40FB-964A-23276295459E}" dt="2021-07-06T04:55:27.110" v="6436" actId="207"/>
          <ac:spMkLst>
            <pc:docMk/>
            <pc:sldMk cId="2365006287" sldId="2193"/>
            <ac:spMk id="60" creationId="{70CE53DD-117C-493D-AD1D-1AB8E2D5511C}"/>
          </ac:spMkLst>
        </pc:spChg>
        <pc:spChg chg="mod">
          <ac:chgData name="Aurelien Domont" userId="6da7715ce44349b3" providerId="LiveId" clId="{AFF9B0D5-CA7D-40FB-964A-23276295459E}" dt="2021-07-06T04:55:27.110" v="6436" actId="207"/>
          <ac:spMkLst>
            <pc:docMk/>
            <pc:sldMk cId="2365006287" sldId="2193"/>
            <ac:spMk id="62" creationId="{4656F7B9-B091-4F59-B888-6DEA15CF287B}"/>
          </ac:spMkLst>
        </pc:spChg>
        <pc:spChg chg="mod">
          <ac:chgData name="Aurelien Domont" userId="6da7715ce44349b3" providerId="LiveId" clId="{AFF9B0D5-CA7D-40FB-964A-23276295459E}" dt="2021-07-06T04:55:27.110" v="6436" actId="207"/>
          <ac:spMkLst>
            <pc:docMk/>
            <pc:sldMk cId="2365006287" sldId="2193"/>
            <ac:spMk id="63" creationId="{F743838F-4369-4298-8BDF-24B1A81D7CC9}"/>
          </ac:spMkLst>
        </pc:spChg>
        <pc:spChg chg="mod">
          <ac:chgData name="Aurelien Domont" userId="6da7715ce44349b3" providerId="LiveId" clId="{AFF9B0D5-CA7D-40FB-964A-23276295459E}" dt="2021-07-06T04:55:27.110" v="6436" actId="207"/>
          <ac:spMkLst>
            <pc:docMk/>
            <pc:sldMk cId="2365006287" sldId="2193"/>
            <ac:spMk id="64" creationId="{84D7C36D-FE20-4E88-8829-94E2EC4CEE79}"/>
          </ac:spMkLst>
        </pc:spChg>
        <pc:spChg chg="mod">
          <ac:chgData name="Aurelien Domont" userId="6da7715ce44349b3" providerId="LiveId" clId="{AFF9B0D5-CA7D-40FB-964A-23276295459E}" dt="2021-07-06T04:55:27.110" v="6436" actId="207"/>
          <ac:spMkLst>
            <pc:docMk/>
            <pc:sldMk cId="2365006287" sldId="2193"/>
            <ac:spMk id="65" creationId="{8AA055DE-5DEA-480F-9D58-EB35AB60A4AF}"/>
          </ac:spMkLst>
        </pc:spChg>
        <pc:spChg chg="mod">
          <ac:chgData name="Aurelien Domont" userId="6da7715ce44349b3" providerId="LiveId" clId="{AFF9B0D5-CA7D-40FB-964A-23276295459E}" dt="2021-07-06T04:55:27.110" v="6436" actId="207"/>
          <ac:spMkLst>
            <pc:docMk/>
            <pc:sldMk cId="2365006287" sldId="2193"/>
            <ac:spMk id="66" creationId="{5B305A7E-46F5-43B2-ACBF-71567A90F965}"/>
          </ac:spMkLst>
        </pc:spChg>
        <pc:spChg chg="mod">
          <ac:chgData name="Aurelien Domont" userId="6da7715ce44349b3" providerId="LiveId" clId="{AFF9B0D5-CA7D-40FB-964A-23276295459E}" dt="2021-07-06T04:55:27.110" v="6436" actId="207"/>
          <ac:spMkLst>
            <pc:docMk/>
            <pc:sldMk cId="2365006287" sldId="2193"/>
            <ac:spMk id="67" creationId="{7455C64C-AFC5-4C29-93D3-4332E1BAEE9C}"/>
          </ac:spMkLst>
        </pc:spChg>
        <pc:spChg chg="mod">
          <ac:chgData name="Aurelien Domont" userId="6da7715ce44349b3" providerId="LiveId" clId="{AFF9B0D5-CA7D-40FB-964A-23276295459E}" dt="2021-07-06T04:55:27.110" v="6436" actId="207"/>
          <ac:spMkLst>
            <pc:docMk/>
            <pc:sldMk cId="2365006287" sldId="2193"/>
            <ac:spMk id="68" creationId="{5E8A23BD-D375-4967-ACA7-E1CCA49242EA}"/>
          </ac:spMkLst>
        </pc:spChg>
        <pc:spChg chg="mod">
          <ac:chgData name="Aurelien Domont" userId="6da7715ce44349b3" providerId="LiveId" clId="{AFF9B0D5-CA7D-40FB-964A-23276295459E}" dt="2021-07-06T04:55:27.110" v="6436" actId="207"/>
          <ac:spMkLst>
            <pc:docMk/>
            <pc:sldMk cId="2365006287" sldId="2193"/>
            <ac:spMk id="69" creationId="{4030F0B9-06DB-4A6A-968B-33EF931731CE}"/>
          </ac:spMkLst>
        </pc:spChg>
        <pc:spChg chg="mod">
          <ac:chgData name="Aurelien Domont" userId="6da7715ce44349b3" providerId="LiveId" clId="{AFF9B0D5-CA7D-40FB-964A-23276295459E}" dt="2021-07-06T04:55:27.110" v="6436" actId="207"/>
          <ac:spMkLst>
            <pc:docMk/>
            <pc:sldMk cId="2365006287" sldId="2193"/>
            <ac:spMk id="70" creationId="{A2C60355-D617-4490-8E3E-1D6F4CB8A214}"/>
          </ac:spMkLst>
        </pc:spChg>
        <pc:spChg chg="mod">
          <ac:chgData name="Aurelien Domont" userId="6da7715ce44349b3" providerId="LiveId" clId="{AFF9B0D5-CA7D-40FB-964A-23276295459E}" dt="2021-07-06T04:55:27.110" v="6436" actId="207"/>
          <ac:spMkLst>
            <pc:docMk/>
            <pc:sldMk cId="2365006287" sldId="2193"/>
            <ac:spMk id="71" creationId="{CA9EB5AA-76BB-4143-A0DE-34A4DC0010AC}"/>
          </ac:spMkLst>
        </pc:spChg>
        <pc:spChg chg="mod">
          <ac:chgData name="Aurelien Domont" userId="6da7715ce44349b3" providerId="LiveId" clId="{AFF9B0D5-CA7D-40FB-964A-23276295459E}" dt="2021-07-06T04:55:27.110" v="6436" actId="207"/>
          <ac:spMkLst>
            <pc:docMk/>
            <pc:sldMk cId="2365006287" sldId="2193"/>
            <ac:spMk id="72" creationId="{966691BF-5126-4A33-8916-C81706F25C90}"/>
          </ac:spMkLst>
        </pc:spChg>
        <pc:spChg chg="mod">
          <ac:chgData name="Aurelien Domont" userId="6da7715ce44349b3" providerId="LiveId" clId="{AFF9B0D5-CA7D-40FB-964A-23276295459E}" dt="2021-07-06T04:55:27.110" v="6436" actId="207"/>
          <ac:spMkLst>
            <pc:docMk/>
            <pc:sldMk cId="2365006287" sldId="2193"/>
            <ac:spMk id="73" creationId="{5390EC5E-7055-4804-84A3-7E70E3904E93}"/>
          </ac:spMkLst>
        </pc:spChg>
        <pc:spChg chg="mod">
          <ac:chgData name="Aurelien Domont" userId="6da7715ce44349b3" providerId="LiveId" clId="{AFF9B0D5-CA7D-40FB-964A-23276295459E}" dt="2021-07-06T04:55:27.110" v="6436" actId="207"/>
          <ac:spMkLst>
            <pc:docMk/>
            <pc:sldMk cId="2365006287" sldId="2193"/>
            <ac:spMk id="74" creationId="{E65D02F2-FDEC-478F-8C7C-EF6B6E889CDF}"/>
          </ac:spMkLst>
        </pc:spChg>
        <pc:spChg chg="mod">
          <ac:chgData name="Aurelien Domont" userId="6da7715ce44349b3" providerId="LiveId" clId="{AFF9B0D5-CA7D-40FB-964A-23276295459E}" dt="2021-07-06T04:55:27.110" v="6436" actId="207"/>
          <ac:spMkLst>
            <pc:docMk/>
            <pc:sldMk cId="2365006287" sldId="2193"/>
            <ac:spMk id="75" creationId="{10C7DD6A-EDF4-4E97-BF30-74BFFFD36441}"/>
          </ac:spMkLst>
        </pc:spChg>
        <pc:spChg chg="mod">
          <ac:chgData name="Aurelien Domont" userId="6da7715ce44349b3" providerId="LiveId" clId="{AFF9B0D5-CA7D-40FB-964A-23276295459E}" dt="2021-07-06T04:55:27.110" v="6436" actId="207"/>
          <ac:spMkLst>
            <pc:docMk/>
            <pc:sldMk cId="2365006287" sldId="2193"/>
            <ac:spMk id="76" creationId="{12F4E801-8132-4F0C-B8DA-A36568ECCC40}"/>
          </ac:spMkLst>
        </pc:spChg>
        <pc:spChg chg="mod">
          <ac:chgData name="Aurelien Domont" userId="6da7715ce44349b3" providerId="LiveId" clId="{AFF9B0D5-CA7D-40FB-964A-23276295459E}" dt="2021-07-06T04:55:27.110" v="6436" actId="207"/>
          <ac:spMkLst>
            <pc:docMk/>
            <pc:sldMk cId="2365006287" sldId="2193"/>
            <ac:spMk id="77" creationId="{C5615F12-CE48-4C91-BA28-3C8B3DDC3F58}"/>
          </ac:spMkLst>
        </pc:spChg>
        <pc:spChg chg="mod">
          <ac:chgData name="Aurelien Domont" userId="6da7715ce44349b3" providerId="LiveId" clId="{AFF9B0D5-CA7D-40FB-964A-23276295459E}" dt="2021-07-06T04:55:27.110" v="6436" actId="207"/>
          <ac:spMkLst>
            <pc:docMk/>
            <pc:sldMk cId="2365006287" sldId="2193"/>
            <ac:spMk id="78" creationId="{22A89C04-5EB4-44E9-A32D-27408ED8CB56}"/>
          </ac:spMkLst>
        </pc:spChg>
        <pc:spChg chg="mod">
          <ac:chgData name="Aurelien Domont" userId="6da7715ce44349b3" providerId="LiveId" clId="{AFF9B0D5-CA7D-40FB-964A-23276295459E}" dt="2021-07-06T04:55:27.110" v="6436" actId="207"/>
          <ac:spMkLst>
            <pc:docMk/>
            <pc:sldMk cId="2365006287" sldId="2193"/>
            <ac:spMk id="79" creationId="{56A025F8-D352-4D26-97E8-71FDE85A31BB}"/>
          </ac:spMkLst>
        </pc:spChg>
        <pc:spChg chg="mod">
          <ac:chgData name="Aurelien Domont" userId="6da7715ce44349b3" providerId="LiveId" clId="{AFF9B0D5-CA7D-40FB-964A-23276295459E}" dt="2021-07-06T04:55:27.110" v="6436" actId="207"/>
          <ac:spMkLst>
            <pc:docMk/>
            <pc:sldMk cId="2365006287" sldId="2193"/>
            <ac:spMk id="80" creationId="{9A3331CC-8CC9-46B2-B479-BF612DE96A49}"/>
          </ac:spMkLst>
        </pc:spChg>
        <pc:spChg chg="mod">
          <ac:chgData name="Aurelien Domont" userId="6da7715ce44349b3" providerId="LiveId" clId="{AFF9B0D5-CA7D-40FB-964A-23276295459E}" dt="2021-07-06T04:55:27.110" v="6436" actId="207"/>
          <ac:spMkLst>
            <pc:docMk/>
            <pc:sldMk cId="2365006287" sldId="2193"/>
            <ac:spMk id="81" creationId="{AE32AB5F-2BE3-4D9C-A624-18BF13205C37}"/>
          </ac:spMkLst>
        </pc:spChg>
        <pc:spChg chg="mod">
          <ac:chgData name="Aurelien Domont" userId="6da7715ce44349b3" providerId="LiveId" clId="{AFF9B0D5-CA7D-40FB-964A-23276295459E}" dt="2021-07-06T04:55:27.110" v="6436" actId="207"/>
          <ac:spMkLst>
            <pc:docMk/>
            <pc:sldMk cId="2365006287" sldId="2193"/>
            <ac:spMk id="82" creationId="{3F3D471F-019C-499B-849A-3C0555B66D7C}"/>
          </ac:spMkLst>
        </pc:spChg>
        <pc:spChg chg="mod">
          <ac:chgData name="Aurelien Domont" userId="6da7715ce44349b3" providerId="LiveId" clId="{AFF9B0D5-CA7D-40FB-964A-23276295459E}" dt="2021-07-06T04:55:27.110" v="6436" actId="207"/>
          <ac:spMkLst>
            <pc:docMk/>
            <pc:sldMk cId="2365006287" sldId="2193"/>
            <ac:spMk id="83" creationId="{89794A8E-92B0-4F14-BCC8-8E09C4E8EB7B}"/>
          </ac:spMkLst>
        </pc:spChg>
        <pc:spChg chg="mod">
          <ac:chgData name="Aurelien Domont" userId="6da7715ce44349b3" providerId="LiveId" clId="{AFF9B0D5-CA7D-40FB-964A-23276295459E}" dt="2021-07-06T04:55:27.110" v="6436" actId="207"/>
          <ac:spMkLst>
            <pc:docMk/>
            <pc:sldMk cId="2365006287" sldId="2193"/>
            <ac:spMk id="84" creationId="{7CD25A7C-1C59-4AF8-8A24-ADDD1091CAA3}"/>
          </ac:spMkLst>
        </pc:spChg>
        <pc:spChg chg="mod">
          <ac:chgData name="Aurelien Domont" userId="6da7715ce44349b3" providerId="LiveId" clId="{AFF9B0D5-CA7D-40FB-964A-23276295459E}" dt="2021-07-06T04:55:27.110" v="6436" actId="207"/>
          <ac:spMkLst>
            <pc:docMk/>
            <pc:sldMk cId="2365006287" sldId="2193"/>
            <ac:spMk id="85" creationId="{C4050E01-DB91-4148-825F-4017F471C329}"/>
          </ac:spMkLst>
        </pc:spChg>
        <pc:spChg chg="mod">
          <ac:chgData name="Aurelien Domont" userId="6da7715ce44349b3" providerId="LiveId" clId="{AFF9B0D5-CA7D-40FB-964A-23276295459E}" dt="2021-07-06T04:55:27.110" v="6436" actId="207"/>
          <ac:spMkLst>
            <pc:docMk/>
            <pc:sldMk cId="2365006287" sldId="2193"/>
            <ac:spMk id="86" creationId="{7EA15ED6-46A5-43A0-B67C-11BDD4BF88EB}"/>
          </ac:spMkLst>
        </pc:spChg>
        <pc:spChg chg="mod">
          <ac:chgData name="Aurelien Domont" userId="6da7715ce44349b3" providerId="LiveId" clId="{AFF9B0D5-CA7D-40FB-964A-23276295459E}" dt="2021-07-06T04:55:27.110" v="6436" actId="207"/>
          <ac:spMkLst>
            <pc:docMk/>
            <pc:sldMk cId="2365006287" sldId="2193"/>
            <ac:spMk id="87" creationId="{FC2D8D47-DCE8-41DC-B4D8-D14FEC5472C2}"/>
          </ac:spMkLst>
        </pc:spChg>
        <pc:spChg chg="mod">
          <ac:chgData name="Aurelien Domont" userId="6da7715ce44349b3" providerId="LiveId" clId="{AFF9B0D5-CA7D-40FB-964A-23276295459E}" dt="2021-07-06T04:55:27.110" v="6436" actId="207"/>
          <ac:spMkLst>
            <pc:docMk/>
            <pc:sldMk cId="2365006287" sldId="2193"/>
            <ac:spMk id="88" creationId="{4C383830-3025-4A26-80CA-D9DD9FFC4366}"/>
          </ac:spMkLst>
        </pc:spChg>
        <pc:spChg chg="mod">
          <ac:chgData name="Aurelien Domont" userId="6da7715ce44349b3" providerId="LiveId" clId="{AFF9B0D5-CA7D-40FB-964A-23276295459E}" dt="2021-07-06T04:55:27.110" v="6436" actId="207"/>
          <ac:spMkLst>
            <pc:docMk/>
            <pc:sldMk cId="2365006287" sldId="2193"/>
            <ac:spMk id="89" creationId="{0A9438A0-9A3F-408D-8570-5955D7D53414}"/>
          </ac:spMkLst>
        </pc:spChg>
        <pc:spChg chg="mod">
          <ac:chgData name="Aurelien Domont" userId="6da7715ce44349b3" providerId="LiveId" clId="{AFF9B0D5-CA7D-40FB-964A-23276295459E}" dt="2021-07-06T04:55:27.110" v="6436" actId="207"/>
          <ac:spMkLst>
            <pc:docMk/>
            <pc:sldMk cId="2365006287" sldId="2193"/>
            <ac:spMk id="90" creationId="{CCF6A828-CC27-43AB-81DC-A5E4A45B8030}"/>
          </ac:spMkLst>
        </pc:spChg>
        <pc:spChg chg="mod">
          <ac:chgData name="Aurelien Domont" userId="6da7715ce44349b3" providerId="LiveId" clId="{AFF9B0D5-CA7D-40FB-964A-23276295459E}" dt="2021-07-06T04:55:27.110" v="6436" actId="207"/>
          <ac:spMkLst>
            <pc:docMk/>
            <pc:sldMk cId="2365006287" sldId="2193"/>
            <ac:spMk id="91" creationId="{EDB86CFC-23D4-4473-B846-3DA806F5108D}"/>
          </ac:spMkLst>
        </pc:spChg>
        <pc:spChg chg="mod">
          <ac:chgData name="Aurelien Domont" userId="6da7715ce44349b3" providerId="LiveId" clId="{AFF9B0D5-CA7D-40FB-964A-23276295459E}" dt="2021-07-06T04:55:27.110" v="6436" actId="207"/>
          <ac:spMkLst>
            <pc:docMk/>
            <pc:sldMk cId="2365006287" sldId="2193"/>
            <ac:spMk id="92" creationId="{9E27841A-5BBF-4869-8CB3-6677215968FD}"/>
          </ac:spMkLst>
        </pc:spChg>
        <pc:spChg chg="mod">
          <ac:chgData name="Aurelien Domont" userId="6da7715ce44349b3" providerId="LiveId" clId="{AFF9B0D5-CA7D-40FB-964A-23276295459E}" dt="2021-07-06T04:55:27.110" v="6436" actId="207"/>
          <ac:spMkLst>
            <pc:docMk/>
            <pc:sldMk cId="2365006287" sldId="2193"/>
            <ac:spMk id="93" creationId="{848846B1-BA0C-4806-B1DC-2FCF6F3B46EF}"/>
          </ac:spMkLst>
        </pc:spChg>
        <pc:spChg chg="mod">
          <ac:chgData name="Aurelien Domont" userId="6da7715ce44349b3" providerId="LiveId" clId="{AFF9B0D5-CA7D-40FB-964A-23276295459E}" dt="2021-07-06T04:55:27.110" v="6436" actId="207"/>
          <ac:spMkLst>
            <pc:docMk/>
            <pc:sldMk cId="2365006287" sldId="2193"/>
            <ac:spMk id="94" creationId="{B32F85AD-308E-4382-B339-9D0E3532E3B1}"/>
          </ac:spMkLst>
        </pc:spChg>
        <pc:spChg chg="mod">
          <ac:chgData name="Aurelien Domont" userId="6da7715ce44349b3" providerId="LiveId" clId="{AFF9B0D5-CA7D-40FB-964A-23276295459E}" dt="2021-07-06T04:55:27.110" v="6436" actId="207"/>
          <ac:spMkLst>
            <pc:docMk/>
            <pc:sldMk cId="2365006287" sldId="2193"/>
            <ac:spMk id="95" creationId="{F081A304-2C8F-4778-8EC0-5DCF78B4211E}"/>
          </ac:spMkLst>
        </pc:spChg>
        <pc:spChg chg="mod">
          <ac:chgData name="Aurelien Domont" userId="6da7715ce44349b3" providerId="LiveId" clId="{AFF9B0D5-CA7D-40FB-964A-23276295459E}" dt="2021-07-06T04:55:27.110" v="6436" actId="207"/>
          <ac:spMkLst>
            <pc:docMk/>
            <pc:sldMk cId="2365006287" sldId="2193"/>
            <ac:spMk id="96" creationId="{5B9E9E35-688A-4E46-AD17-958B53B2A9BD}"/>
          </ac:spMkLst>
        </pc:spChg>
        <pc:spChg chg="mod">
          <ac:chgData name="Aurelien Domont" userId="6da7715ce44349b3" providerId="LiveId" clId="{AFF9B0D5-CA7D-40FB-964A-23276295459E}" dt="2021-07-06T04:55:27.110" v="6436" actId="207"/>
          <ac:spMkLst>
            <pc:docMk/>
            <pc:sldMk cId="2365006287" sldId="2193"/>
            <ac:spMk id="97" creationId="{A76194B1-A38E-4BB8-8B3F-AE4835F7AC4E}"/>
          </ac:spMkLst>
        </pc:spChg>
        <pc:spChg chg="mod">
          <ac:chgData name="Aurelien Domont" userId="6da7715ce44349b3" providerId="LiveId" clId="{AFF9B0D5-CA7D-40FB-964A-23276295459E}" dt="2021-07-06T04:55:27.110" v="6436" actId="207"/>
          <ac:spMkLst>
            <pc:docMk/>
            <pc:sldMk cId="2365006287" sldId="2193"/>
            <ac:spMk id="98" creationId="{55792372-BB82-4ECA-8C77-C82715CC6A14}"/>
          </ac:spMkLst>
        </pc:spChg>
        <pc:spChg chg="mod">
          <ac:chgData name="Aurelien Domont" userId="6da7715ce44349b3" providerId="LiveId" clId="{AFF9B0D5-CA7D-40FB-964A-23276295459E}" dt="2021-07-06T04:55:27.110" v="6436" actId="207"/>
          <ac:spMkLst>
            <pc:docMk/>
            <pc:sldMk cId="2365006287" sldId="2193"/>
            <ac:spMk id="99" creationId="{90896AAA-AEDF-49B2-8503-7CA2DF421D32}"/>
          </ac:spMkLst>
        </pc:spChg>
        <pc:spChg chg="mod">
          <ac:chgData name="Aurelien Domont" userId="6da7715ce44349b3" providerId="LiveId" clId="{AFF9B0D5-CA7D-40FB-964A-23276295459E}" dt="2021-07-06T04:55:27.110" v="6436" actId="207"/>
          <ac:spMkLst>
            <pc:docMk/>
            <pc:sldMk cId="2365006287" sldId="2193"/>
            <ac:spMk id="100" creationId="{4E419948-B362-4317-B94F-EB6EEF93D5F8}"/>
          </ac:spMkLst>
        </pc:spChg>
        <pc:spChg chg="mod">
          <ac:chgData name="Aurelien Domont" userId="6da7715ce44349b3" providerId="LiveId" clId="{AFF9B0D5-CA7D-40FB-964A-23276295459E}" dt="2021-07-06T04:55:27.110" v="6436" actId="207"/>
          <ac:spMkLst>
            <pc:docMk/>
            <pc:sldMk cId="2365006287" sldId="2193"/>
            <ac:spMk id="101" creationId="{F0E0088D-D528-4463-A7EF-0CD7ED8D8194}"/>
          </ac:spMkLst>
        </pc:spChg>
        <pc:spChg chg="mod">
          <ac:chgData name="Aurelien Domont" userId="6da7715ce44349b3" providerId="LiveId" clId="{AFF9B0D5-CA7D-40FB-964A-23276295459E}" dt="2021-07-06T04:55:27.110" v="6436" actId="207"/>
          <ac:spMkLst>
            <pc:docMk/>
            <pc:sldMk cId="2365006287" sldId="2193"/>
            <ac:spMk id="102" creationId="{75C95256-B79D-4118-9B21-A8859DCC2637}"/>
          </ac:spMkLst>
        </pc:spChg>
        <pc:spChg chg="mod">
          <ac:chgData name="Aurelien Domont" userId="6da7715ce44349b3" providerId="LiveId" clId="{AFF9B0D5-CA7D-40FB-964A-23276295459E}" dt="2021-07-06T04:55:27.110" v="6436" actId="207"/>
          <ac:spMkLst>
            <pc:docMk/>
            <pc:sldMk cId="2365006287" sldId="2193"/>
            <ac:spMk id="103" creationId="{65BF41B5-CFC3-43AD-A8E2-6B26904CC06B}"/>
          </ac:spMkLst>
        </pc:spChg>
        <pc:spChg chg="mod">
          <ac:chgData name="Aurelien Domont" userId="6da7715ce44349b3" providerId="LiveId" clId="{AFF9B0D5-CA7D-40FB-964A-23276295459E}" dt="2021-07-06T04:55:27.110" v="6436" actId="207"/>
          <ac:spMkLst>
            <pc:docMk/>
            <pc:sldMk cId="2365006287" sldId="2193"/>
            <ac:spMk id="104" creationId="{E1AE7574-E20A-43ED-86E1-67FF47EE59E9}"/>
          </ac:spMkLst>
        </pc:spChg>
        <pc:spChg chg="mod">
          <ac:chgData name="Aurelien Domont" userId="6da7715ce44349b3" providerId="LiveId" clId="{AFF9B0D5-CA7D-40FB-964A-23276295459E}" dt="2021-07-06T04:55:27.110" v="6436" actId="207"/>
          <ac:spMkLst>
            <pc:docMk/>
            <pc:sldMk cId="2365006287" sldId="2193"/>
            <ac:spMk id="105" creationId="{1CA686F3-4B48-4FCA-9990-4A687AED190F}"/>
          </ac:spMkLst>
        </pc:spChg>
        <pc:spChg chg="mod">
          <ac:chgData name="Aurelien Domont" userId="6da7715ce44349b3" providerId="LiveId" clId="{AFF9B0D5-CA7D-40FB-964A-23276295459E}" dt="2021-07-06T04:55:27.110" v="6436" actId="207"/>
          <ac:spMkLst>
            <pc:docMk/>
            <pc:sldMk cId="2365006287" sldId="2193"/>
            <ac:spMk id="106" creationId="{230C6DFA-375D-4416-9E4E-067C619F1BFF}"/>
          </ac:spMkLst>
        </pc:spChg>
        <pc:spChg chg="mod">
          <ac:chgData name="Aurelien Domont" userId="6da7715ce44349b3" providerId="LiveId" clId="{AFF9B0D5-CA7D-40FB-964A-23276295459E}" dt="2021-07-06T04:55:27.110" v="6436" actId="207"/>
          <ac:spMkLst>
            <pc:docMk/>
            <pc:sldMk cId="2365006287" sldId="2193"/>
            <ac:spMk id="107" creationId="{77E2697D-9897-4A3B-A255-C96C05DFB65E}"/>
          </ac:spMkLst>
        </pc:spChg>
        <pc:spChg chg="mod">
          <ac:chgData name="Aurelien Domont" userId="6da7715ce44349b3" providerId="LiveId" clId="{AFF9B0D5-CA7D-40FB-964A-23276295459E}" dt="2021-07-06T04:55:27.110" v="6436" actId="207"/>
          <ac:spMkLst>
            <pc:docMk/>
            <pc:sldMk cId="2365006287" sldId="2193"/>
            <ac:spMk id="108" creationId="{FC706995-E8AA-43E2-8476-DA80D70E249C}"/>
          </ac:spMkLst>
        </pc:spChg>
        <pc:spChg chg="mod">
          <ac:chgData name="Aurelien Domont" userId="6da7715ce44349b3" providerId="LiveId" clId="{AFF9B0D5-CA7D-40FB-964A-23276295459E}" dt="2021-07-06T04:55:27.110" v="6436" actId="207"/>
          <ac:spMkLst>
            <pc:docMk/>
            <pc:sldMk cId="2365006287" sldId="2193"/>
            <ac:spMk id="109" creationId="{2B07D6D4-194B-4146-A1AE-508C73D392A6}"/>
          </ac:spMkLst>
        </pc:spChg>
        <pc:spChg chg="mod">
          <ac:chgData name="Aurelien Domont" userId="6da7715ce44349b3" providerId="LiveId" clId="{AFF9B0D5-CA7D-40FB-964A-23276295459E}" dt="2021-07-06T04:55:27.110" v="6436" actId="207"/>
          <ac:spMkLst>
            <pc:docMk/>
            <pc:sldMk cId="2365006287" sldId="2193"/>
            <ac:spMk id="110" creationId="{C5A5E31E-BC3F-4031-B4BD-96322C581A05}"/>
          </ac:spMkLst>
        </pc:spChg>
        <pc:spChg chg="mod">
          <ac:chgData name="Aurelien Domont" userId="6da7715ce44349b3" providerId="LiveId" clId="{AFF9B0D5-CA7D-40FB-964A-23276295459E}" dt="2021-07-06T04:55:27.110" v="6436" actId="207"/>
          <ac:spMkLst>
            <pc:docMk/>
            <pc:sldMk cId="2365006287" sldId="2193"/>
            <ac:spMk id="111" creationId="{632D5824-AD44-4E4F-AF47-F307A1FA0E2C}"/>
          </ac:spMkLst>
        </pc:spChg>
        <pc:spChg chg="mod">
          <ac:chgData name="Aurelien Domont" userId="6da7715ce44349b3" providerId="LiveId" clId="{AFF9B0D5-CA7D-40FB-964A-23276295459E}" dt="2021-07-06T04:55:27.110" v="6436" actId="207"/>
          <ac:spMkLst>
            <pc:docMk/>
            <pc:sldMk cId="2365006287" sldId="2193"/>
            <ac:spMk id="112" creationId="{6F83E090-B402-410D-AFC1-C419C6F8E4CB}"/>
          </ac:spMkLst>
        </pc:spChg>
        <pc:spChg chg="mod">
          <ac:chgData name="Aurelien Domont" userId="6da7715ce44349b3" providerId="LiveId" clId="{AFF9B0D5-CA7D-40FB-964A-23276295459E}" dt="2021-07-06T04:55:27.110" v="6436" actId="207"/>
          <ac:spMkLst>
            <pc:docMk/>
            <pc:sldMk cId="2365006287" sldId="2193"/>
            <ac:spMk id="113" creationId="{651407DE-861B-4C05-842D-A44085EFF369}"/>
          </ac:spMkLst>
        </pc:spChg>
        <pc:spChg chg="mod">
          <ac:chgData name="Aurelien Domont" userId="6da7715ce44349b3" providerId="LiveId" clId="{AFF9B0D5-CA7D-40FB-964A-23276295459E}" dt="2021-07-06T04:55:27.110" v="6436" actId="207"/>
          <ac:spMkLst>
            <pc:docMk/>
            <pc:sldMk cId="2365006287" sldId="2193"/>
            <ac:spMk id="114" creationId="{783A9BBE-48DB-4AE1-8421-30B47ED6B068}"/>
          </ac:spMkLst>
        </pc:spChg>
        <pc:spChg chg="mod">
          <ac:chgData name="Aurelien Domont" userId="6da7715ce44349b3" providerId="LiveId" clId="{AFF9B0D5-CA7D-40FB-964A-23276295459E}" dt="2021-07-06T04:55:27.110" v="6436" actId="207"/>
          <ac:spMkLst>
            <pc:docMk/>
            <pc:sldMk cId="2365006287" sldId="2193"/>
            <ac:spMk id="115" creationId="{BF2EC1BE-F8C3-4855-8D2E-4C26D0C250BD}"/>
          </ac:spMkLst>
        </pc:spChg>
        <pc:spChg chg="mod">
          <ac:chgData name="Aurelien Domont" userId="6da7715ce44349b3" providerId="LiveId" clId="{AFF9B0D5-CA7D-40FB-964A-23276295459E}" dt="2021-07-06T04:55:27.110" v="6436" actId="207"/>
          <ac:spMkLst>
            <pc:docMk/>
            <pc:sldMk cId="2365006287" sldId="2193"/>
            <ac:spMk id="116" creationId="{3B25F4FD-B5EE-4E5D-A3A5-1ABDEAD5F06B}"/>
          </ac:spMkLst>
        </pc:spChg>
        <pc:spChg chg="mod">
          <ac:chgData name="Aurelien Domont" userId="6da7715ce44349b3" providerId="LiveId" clId="{AFF9B0D5-CA7D-40FB-964A-23276295459E}" dt="2021-07-06T04:55:27.110" v="6436" actId="207"/>
          <ac:spMkLst>
            <pc:docMk/>
            <pc:sldMk cId="2365006287" sldId="2193"/>
            <ac:spMk id="117" creationId="{4150CB89-F485-436E-97D1-4FB1609F4986}"/>
          </ac:spMkLst>
        </pc:spChg>
        <pc:spChg chg="mod">
          <ac:chgData name="Aurelien Domont" userId="6da7715ce44349b3" providerId="LiveId" clId="{AFF9B0D5-CA7D-40FB-964A-23276295459E}" dt="2021-07-06T04:55:27.110" v="6436" actId="207"/>
          <ac:spMkLst>
            <pc:docMk/>
            <pc:sldMk cId="2365006287" sldId="2193"/>
            <ac:spMk id="118" creationId="{49E8AE7E-7F5A-4A11-9512-6C7079D464A2}"/>
          </ac:spMkLst>
        </pc:spChg>
        <pc:spChg chg="mod">
          <ac:chgData name="Aurelien Domont" userId="6da7715ce44349b3" providerId="LiveId" clId="{AFF9B0D5-CA7D-40FB-964A-23276295459E}" dt="2021-07-06T04:55:27.110" v="6436" actId="207"/>
          <ac:spMkLst>
            <pc:docMk/>
            <pc:sldMk cId="2365006287" sldId="2193"/>
            <ac:spMk id="119" creationId="{82534475-B316-4ED5-BDD3-1061DFF13294}"/>
          </ac:spMkLst>
        </pc:spChg>
        <pc:spChg chg="mod">
          <ac:chgData name="Aurelien Domont" userId="6da7715ce44349b3" providerId="LiveId" clId="{AFF9B0D5-CA7D-40FB-964A-23276295459E}" dt="2021-07-06T04:55:27.110" v="6436" actId="207"/>
          <ac:spMkLst>
            <pc:docMk/>
            <pc:sldMk cId="2365006287" sldId="2193"/>
            <ac:spMk id="120" creationId="{894A3104-C61D-488C-BD9D-15689C082991}"/>
          </ac:spMkLst>
        </pc:spChg>
        <pc:spChg chg="mod">
          <ac:chgData name="Aurelien Domont" userId="6da7715ce44349b3" providerId="LiveId" clId="{AFF9B0D5-CA7D-40FB-964A-23276295459E}" dt="2021-07-06T04:55:27.110" v="6436" actId="207"/>
          <ac:spMkLst>
            <pc:docMk/>
            <pc:sldMk cId="2365006287" sldId="2193"/>
            <ac:spMk id="121" creationId="{19010C2B-F3E6-484A-A3F9-6592B0831B41}"/>
          </ac:spMkLst>
        </pc:spChg>
        <pc:spChg chg="mod">
          <ac:chgData name="Aurelien Domont" userId="6da7715ce44349b3" providerId="LiveId" clId="{AFF9B0D5-CA7D-40FB-964A-23276295459E}" dt="2021-07-06T04:55:27.110" v="6436" actId="207"/>
          <ac:spMkLst>
            <pc:docMk/>
            <pc:sldMk cId="2365006287" sldId="2193"/>
            <ac:spMk id="122" creationId="{39FEB8F0-3332-4428-AEEA-741658E4FDC4}"/>
          </ac:spMkLst>
        </pc:spChg>
        <pc:spChg chg="mod">
          <ac:chgData name="Aurelien Domont" userId="6da7715ce44349b3" providerId="LiveId" clId="{AFF9B0D5-CA7D-40FB-964A-23276295459E}" dt="2021-07-06T04:55:27.110" v="6436" actId="207"/>
          <ac:spMkLst>
            <pc:docMk/>
            <pc:sldMk cId="2365006287" sldId="2193"/>
            <ac:spMk id="123" creationId="{7499BFA2-541F-43A4-8B7D-28E1FABD6E23}"/>
          </ac:spMkLst>
        </pc:spChg>
        <pc:spChg chg="mod">
          <ac:chgData name="Aurelien Domont" userId="6da7715ce44349b3" providerId="LiveId" clId="{AFF9B0D5-CA7D-40FB-964A-23276295459E}" dt="2021-07-06T04:55:27.110" v="6436" actId="207"/>
          <ac:spMkLst>
            <pc:docMk/>
            <pc:sldMk cId="2365006287" sldId="2193"/>
            <ac:spMk id="125" creationId="{2C9E90AE-B1D5-4F9C-BFCF-DCC3E4BCD4E2}"/>
          </ac:spMkLst>
        </pc:spChg>
        <pc:spChg chg="mod">
          <ac:chgData name="Aurelien Domont" userId="6da7715ce44349b3" providerId="LiveId" clId="{AFF9B0D5-CA7D-40FB-964A-23276295459E}" dt="2021-07-06T04:55:27.110" v="6436" actId="207"/>
          <ac:spMkLst>
            <pc:docMk/>
            <pc:sldMk cId="2365006287" sldId="2193"/>
            <ac:spMk id="127" creationId="{378FBEAB-0A9B-4243-98E7-1FEF1F9571B3}"/>
          </ac:spMkLst>
        </pc:spChg>
        <pc:spChg chg="mod">
          <ac:chgData name="Aurelien Domont" userId="6da7715ce44349b3" providerId="LiveId" clId="{AFF9B0D5-CA7D-40FB-964A-23276295459E}" dt="2021-07-06T04:55:27.110" v="6436" actId="207"/>
          <ac:spMkLst>
            <pc:docMk/>
            <pc:sldMk cId="2365006287" sldId="2193"/>
            <ac:spMk id="129" creationId="{C5A5F10F-556A-4AE1-A4ED-861F2945FF0C}"/>
          </ac:spMkLst>
        </pc:spChg>
        <pc:spChg chg="mod">
          <ac:chgData name="Aurelien Domont" userId="6da7715ce44349b3" providerId="LiveId" clId="{AFF9B0D5-CA7D-40FB-964A-23276295459E}" dt="2021-07-06T04:55:27.110" v="6436" actId="207"/>
          <ac:spMkLst>
            <pc:docMk/>
            <pc:sldMk cId="2365006287" sldId="2193"/>
            <ac:spMk id="131" creationId="{350273C7-56F8-484A-88FB-9CC9C5B030D4}"/>
          </ac:spMkLst>
        </pc:spChg>
        <pc:spChg chg="mod">
          <ac:chgData name="Aurelien Domont" userId="6da7715ce44349b3" providerId="LiveId" clId="{AFF9B0D5-CA7D-40FB-964A-23276295459E}" dt="2021-07-06T04:55:27.110" v="6436" actId="207"/>
          <ac:spMkLst>
            <pc:docMk/>
            <pc:sldMk cId="2365006287" sldId="2193"/>
            <ac:spMk id="132" creationId="{BC6174EC-1DA5-446D-880E-B7EA6E2BB114}"/>
          </ac:spMkLst>
        </pc:spChg>
        <pc:spChg chg="mod">
          <ac:chgData name="Aurelien Domont" userId="6da7715ce44349b3" providerId="LiveId" clId="{AFF9B0D5-CA7D-40FB-964A-23276295459E}" dt="2021-07-06T04:55:27.110" v="6436" actId="207"/>
          <ac:spMkLst>
            <pc:docMk/>
            <pc:sldMk cId="2365006287" sldId="2193"/>
            <ac:spMk id="133" creationId="{512FA95D-9A9C-4659-B363-4DC368AFFBCF}"/>
          </ac:spMkLst>
        </pc:spChg>
        <pc:spChg chg="mod">
          <ac:chgData name="Aurelien Domont" userId="6da7715ce44349b3" providerId="LiveId" clId="{AFF9B0D5-CA7D-40FB-964A-23276295459E}" dt="2021-07-06T04:55:27.110" v="6436" actId="207"/>
          <ac:spMkLst>
            <pc:docMk/>
            <pc:sldMk cId="2365006287" sldId="2193"/>
            <ac:spMk id="134" creationId="{CF8EEA38-F094-4816-918B-C5ECB1F04613}"/>
          </ac:spMkLst>
        </pc:spChg>
        <pc:spChg chg="mod">
          <ac:chgData name="Aurelien Domont" userId="6da7715ce44349b3" providerId="LiveId" clId="{AFF9B0D5-CA7D-40FB-964A-23276295459E}" dt="2021-07-06T04:55:27.110" v="6436" actId="207"/>
          <ac:spMkLst>
            <pc:docMk/>
            <pc:sldMk cId="2365006287" sldId="2193"/>
            <ac:spMk id="135" creationId="{B477CF5F-A7AF-43CE-8582-FAB481858132}"/>
          </ac:spMkLst>
        </pc:spChg>
        <pc:spChg chg="mod">
          <ac:chgData name="Aurelien Domont" userId="6da7715ce44349b3" providerId="LiveId" clId="{AFF9B0D5-CA7D-40FB-964A-23276295459E}" dt="2021-07-06T04:55:27.110" v="6436" actId="207"/>
          <ac:spMkLst>
            <pc:docMk/>
            <pc:sldMk cId="2365006287" sldId="2193"/>
            <ac:spMk id="136" creationId="{3A8CD19A-AC64-4532-A17D-3F89472AF0E5}"/>
          </ac:spMkLst>
        </pc:spChg>
        <pc:spChg chg="mod">
          <ac:chgData name="Aurelien Domont" userId="6da7715ce44349b3" providerId="LiveId" clId="{AFF9B0D5-CA7D-40FB-964A-23276295459E}" dt="2021-07-06T04:55:27.110" v="6436" actId="207"/>
          <ac:spMkLst>
            <pc:docMk/>
            <pc:sldMk cId="2365006287" sldId="2193"/>
            <ac:spMk id="137" creationId="{CAE23BEF-B51F-4CF7-8DEE-8420F4B8CC48}"/>
          </ac:spMkLst>
        </pc:spChg>
        <pc:spChg chg="mod">
          <ac:chgData name="Aurelien Domont" userId="6da7715ce44349b3" providerId="LiveId" clId="{AFF9B0D5-CA7D-40FB-964A-23276295459E}" dt="2021-07-06T04:55:27.110" v="6436" actId="207"/>
          <ac:spMkLst>
            <pc:docMk/>
            <pc:sldMk cId="2365006287" sldId="2193"/>
            <ac:spMk id="138" creationId="{985FBAC8-C39C-4F76-BF89-235488B6688A}"/>
          </ac:spMkLst>
        </pc:spChg>
        <pc:spChg chg="mod">
          <ac:chgData name="Aurelien Domont" userId="6da7715ce44349b3" providerId="LiveId" clId="{AFF9B0D5-CA7D-40FB-964A-23276295459E}" dt="2021-07-06T04:55:27.110" v="6436" actId="207"/>
          <ac:spMkLst>
            <pc:docMk/>
            <pc:sldMk cId="2365006287" sldId="2193"/>
            <ac:spMk id="139" creationId="{B2B8939D-415D-4191-AE3F-6BF5ACDF3066}"/>
          </ac:spMkLst>
        </pc:spChg>
        <pc:spChg chg="mod">
          <ac:chgData name="Aurelien Domont" userId="6da7715ce44349b3" providerId="LiveId" clId="{AFF9B0D5-CA7D-40FB-964A-23276295459E}" dt="2021-07-06T04:55:27.110" v="6436" actId="207"/>
          <ac:spMkLst>
            <pc:docMk/>
            <pc:sldMk cId="2365006287" sldId="2193"/>
            <ac:spMk id="140" creationId="{7752E709-95CB-4091-AB1E-A5086F134AC1}"/>
          </ac:spMkLst>
        </pc:spChg>
        <pc:spChg chg="mod">
          <ac:chgData name="Aurelien Domont" userId="6da7715ce44349b3" providerId="LiveId" clId="{AFF9B0D5-CA7D-40FB-964A-23276295459E}" dt="2021-07-06T04:55:27.110" v="6436" actId="207"/>
          <ac:spMkLst>
            <pc:docMk/>
            <pc:sldMk cId="2365006287" sldId="2193"/>
            <ac:spMk id="142" creationId="{BDDB4D79-5A59-41A1-B66F-8B658F59082A}"/>
          </ac:spMkLst>
        </pc:spChg>
        <pc:spChg chg="mod">
          <ac:chgData name="Aurelien Domont" userId="6da7715ce44349b3" providerId="LiveId" clId="{AFF9B0D5-CA7D-40FB-964A-23276295459E}" dt="2021-07-06T04:55:27.110" v="6436" actId="207"/>
          <ac:spMkLst>
            <pc:docMk/>
            <pc:sldMk cId="2365006287" sldId="2193"/>
            <ac:spMk id="143" creationId="{1D1E885F-74AF-4A3B-95AC-54D9FE340769}"/>
          </ac:spMkLst>
        </pc:spChg>
        <pc:spChg chg="mod">
          <ac:chgData name="Aurelien Domont" userId="6da7715ce44349b3" providerId="LiveId" clId="{AFF9B0D5-CA7D-40FB-964A-23276295459E}" dt="2021-07-06T04:55:27.110" v="6436" actId="207"/>
          <ac:spMkLst>
            <pc:docMk/>
            <pc:sldMk cId="2365006287" sldId="2193"/>
            <ac:spMk id="144" creationId="{D74FA934-62DC-4E2B-BDE0-202AF8CB9A49}"/>
          </ac:spMkLst>
        </pc:spChg>
        <pc:spChg chg="mod">
          <ac:chgData name="Aurelien Domont" userId="6da7715ce44349b3" providerId="LiveId" clId="{AFF9B0D5-CA7D-40FB-964A-23276295459E}" dt="2021-07-06T04:55:27.110" v="6436" actId="207"/>
          <ac:spMkLst>
            <pc:docMk/>
            <pc:sldMk cId="2365006287" sldId="2193"/>
            <ac:spMk id="145" creationId="{16FC8BD7-DDAE-44C2-B89E-C4034E712BED}"/>
          </ac:spMkLst>
        </pc:spChg>
        <pc:spChg chg="mod">
          <ac:chgData name="Aurelien Domont" userId="6da7715ce44349b3" providerId="LiveId" clId="{AFF9B0D5-CA7D-40FB-964A-23276295459E}" dt="2021-07-06T04:55:27.110" v="6436" actId="207"/>
          <ac:spMkLst>
            <pc:docMk/>
            <pc:sldMk cId="2365006287" sldId="2193"/>
            <ac:spMk id="146" creationId="{41B138E6-41E9-4AF6-A29C-165D08513D2D}"/>
          </ac:spMkLst>
        </pc:spChg>
        <pc:spChg chg="mod">
          <ac:chgData name="Aurelien Domont" userId="6da7715ce44349b3" providerId="LiveId" clId="{AFF9B0D5-CA7D-40FB-964A-23276295459E}" dt="2021-07-06T04:55:27.110" v="6436" actId="207"/>
          <ac:spMkLst>
            <pc:docMk/>
            <pc:sldMk cId="2365006287" sldId="2193"/>
            <ac:spMk id="147" creationId="{1C8FEC86-DF11-4FE6-A64F-AF70A02773BE}"/>
          </ac:spMkLst>
        </pc:spChg>
        <pc:spChg chg="mod">
          <ac:chgData name="Aurelien Domont" userId="6da7715ce44349b3" providerId="LiveId" clId="{AFF9B0D5-CA7D-40FB-964A-23276295459E}" dt="2021-07-06T04:55:27.110" v="6436" actId="207"/>
          <ac:spMkLst>
            <pc:docMk/>
            <pc:sldMk cId="2365006287" sldId="2193"/>
            <ac:spMk id="148" creationId="{7BFF15EB-F63D-4FAD-BCE0-0A283F0ACECB}"/>
          </ac:spMkLst>
        </pc:spChg>
        <pc:spChg chg="mod">
          <ac:chgData name="Aurelien Domont" userId="6da7715ce44349b3" providerId="LiveId" clId="{AFF9B0D5-CA7D-40FB-964A-23276295459E}" dt="2021-07-06T04:55:27.110" v="6436" actId="207"/>
          <ac:spMkLst>
            <pc:docMk/>
            <pc:sldMk cId="2365006287" sldId="2193"/>
            <ac:spMk id="149" creationId="{62DDC113-79AB-4405-8A05-4AF26497DD0C}"/>
          </ac:spMkLst>
        </pc:spChg>
        <pc:spChg chg="mod">
          <ac:chgData name="Aurelien Domont" userId="6da7715ce44349b3" providerId="LiveId" clId="{AFF9B0D5-CA7D-40FB-964A-23276295459E}" dt="2021-07-06T04:55:27.110" v="6436" actId="207"/>
          <ac:spMkLst>
            <pc:docMk/>
            <pc:sldMk cId="2365006287" sldId="2193"/>
            <ac:spMk id="150" creationId="{4365A171-557B-4606-A3EB-AF8BC2288201}"/>
          </ac:spMkLst>
        </pc:spChg>
        <pc:spChg chg="mod">
          <ac:chgData name="Aurelien Domont" userId="6da7715ce44349b3" providerId="LiveId" clId="{AFF9B0D5-CA7D-40FB-964A-23276295459E}" dt="2021-07-06T04:55:27.110" v="6436" actId="207"/>
          <ac:spMkLst>
            <pc:docMk/>
            <pc:sldMk cId="2365006287" sldId="2193"/>
            <ac:spMk id="151" creationId="{EEFF0CDB-017C-4A77-BB78-49C959810886}"/>
          </ac:spMkLst>
        </pc:spChg>
        <pc:spChg chg="mod">
          <ac:chgData name="Aurelien Domont" userId="6da7715ce44349b3" providerId="LiveId" clId="{AFF9B0D5-CA7D-40FB-964A-23276295459E}" dt="2021-07-06T04:55:27.110" v="6436" actId="207"/>
          <ac:spMkLst>
            <pc:docMk/>
            <pc:sldMk cId="2365006287" sldId="2193"/>
            <ac:spMk id="152" creationId="{8D03B6DB-D72C-4AB8-97B4-A9A20666B2CD}"/>
          </ac:spMkLst>
        </pc:spChg>
        <pc:spChg chg="mod">
          <ac:chgData name="Aurelien Domont" userId="6da7715ce44349b3" providerId="LiveId" clId="{AFF9B0D5-CA7D-40FB-964A-23276295459E}" dt="2021-07-06T04:55:27.110" v="6436" actId="207"/>
          <ac:spMkLst>
            <pc:docMk/>
            <pc:sldMk cId="2365006287" sldId="2193"/>
            <ac:spMk id="153" creationId="{A259B0CE-4E24-4931-A600-EAB7EE0723CE}"/>
          </ac:spMkLst>
        </pc:spChg>
        <pc:spChg chg="mod">
          <ac:chgData name="Aurelien Domont" userId="6da7715ce44349b3" providerId="LiveId" clId="{AFF9B0D5-CA7D-40FB-964A-23276295459E}" dt="2021-07-06T04:55:27.110" v="6436" actId="207"/>
          <ac:spMkLst>
            <pc:docMk/>
            <pc:sldMk cId="2365006287" sldId="2193"/>
            <ac:spMk id="154" creationId="{ABD91C8D-FC50-47FE-A53C-35530B9E6A4C}"/>
          </ac:spMkLst>
        </pc:spChg>
        <pc:spChg chg="mod">
          <ac:chgData name="Aurelien Domont" userId="6da7715ce44349b3" providerId="LiveId" clId="{AFF9B0D5-CA7D-40FB-964A-23276295459E}" dt="2021-07-06T04:55:27.110" v="6436" actId="207"/>
          <ac:spMkLst>
            <pc:docMk/>
            <pc:sldMk cId="2365006287" sldId="2193"/>
            <ac:spMk id="155" creationId="{25B903D7-A74D-430A-8D7F-DCA08103D522}"/>
          </ac:spMkLst>
        </pc:spChg>
        <pc:spChg chg="mod">
          <ac:chgData name="Aurelien Domont" userId="6da7715ce44349b3" providerId="LiveId" clId="{AFF9B0D5-CA7D-40FB-964A-23276295459E}" dt="2021-07-06T04:55:27.110" v="6436" actId="207"/>
          <ac:spMkLst>
            <pc:docMk/>
            <pc:sldMk cId="2365006287" sldId="2193"/>
            <ac:spMk id="156" creationId="{C0E7B4A7-61CE-422B-839A-837E9A743E3A}"/>
          </ac:spMkLst>
        </pc:spChg>
        <pc:spChg chg="mod">
          <ac:chgData name="Aurelien Domont" userId="6da7715ce44349b3" providerId="LiveId" clId="{AFF9B0D5-CA7D-40FB-964A-23276295459E}" dt="2021-07-06T04:55:27.110" v="6436" actId="207"/>
          <ac:spMkLst>
            <pc:docMk/>
            <pc:sldMk cId="2365006287" sldId="2193"/>
            <ac:spMk id="157" creationId="{3D657CDC-FAA8-4289-82C8-81810B6165D3}"/>
          </ac:spMkLst>
        </pc:spChg>
        <pc:spChg chg="mod">
          <ac:chgData name="Aurelien Domont" userId="6da7715ce44349b3" providerId="LiveId" clId="{AFF9B0D5-CA7D-40FB-964A-23276295459E}" dt="2021-07-06T04:55:27.110" v="6436" actId="207"/>
          <ac:spMkLst>
            <pc:docMk/>
            <pc:sldMk cId="2365006287" sldId="2193"/>
            <ac:spMk id="158" creationId="{B17EB213-4950-42CF-9699-018AD4232B1A}"/>
          </ac:spMkLst>
        </pc:spChg>
        <pc:spChg chg="mod">
          <ac:chgData name="Aurelien Domont" userId="6da7715ce44349b3" providerId="LiveId" clId="{AFF9B0D5-CA7D-40FB-964A-23276295459E}" dt="2021-07-06T04:55:27.110" v="6436" actId="207"/>
          <ac:spMkLst>
            <pc:docMk/>
            <pc:sldMk cId="2365006287" sldId="2193"/>
            <ac:spMk id="159" creationId="{8CA38F92-3E3C-43A5-90D1-5E8700DAB383}"/>
          </ac:spMkLst>
        </pc:spChg>
        <pc:spChg chg="mod">
          <ac:chgData name="Aurelien Domont" userId="6da7715ce44349b3" providerId="LiveId" clId="{AFF9B0D5-CA7D-40FB-964A-23276295459E}" dt="2021-07-06T04:55:27.110" v="6436" actId="207"/>
          <ac:spMkLst>
            <pc:docMk/>
            <pc:sldMk cId="2365006287" sldId="2193"/>
            <ac:spMk id="160" creationId="{23EDF098-AA5C-4CC4-A915-B946B8E572BC}"/>
          </ac:spMkLst>
        </pc:spChg>
        <pc:spChg chg="mod">
          <ac:chgData name="Aurelien Domont" userId="6da7715ce44349b3" providerId="LiveId" clId="{AFF9B0D5-CA7D-40FB-964A-23276295459E}" dt="2021-07-06T04:55:27.110" v="6436" actId="207"/>
          <ac:spMkLst>
            <pc:docMk/>
            <pc:sldMk cId="2365006287" sldId="2193"/>
            <ac:spMk id="161" creationId="{D56F5FB8-B708-4119-9373-80F1E11159C9}"/>
          </ac:spMkLst>
        </pc:spChg>
        <pc:spChg chg="mod">
          <ac:chgData name="Aurelien Domont" userId="6da7715ce44349b3" providerId="LiveId" clId="{AFF9B0D5-CA7D-40FB-964A-23276295459E}" dt="2021-07-06T04:55:27.110" v="6436" actId="207"/>
          <ac:spMkLst>
            <pc:docMk/>
            <pc:sldMk cId="2365006287" sldId="2193"/>
            <ac:spMk id="162" creationId="{BA676946-82C1-4EBE-B717-21F7E57ED277}"/>
          </ac:spMkLst>
        </pc:spChg>
        <pc:spChg chg="mod">
          <ac:chgData name="Aurelien Domont" userId="6da7715ce44349b3" providerId="LiveId" clId="{AFF9B0D5-CA7D-40FB-964A-23276295459E}" dt="2021-07-06T04:55:27.110" v="6436" actId="207"/>
          <ac:spMkLst>
            <pc:docMk/>
            <pc:sldMk cId="2365006287" sldId="2193"/>
            <ac:spMk id="163" creationId="{60EB86DE-7405-492F-9024-C261802C202B}"/>
          </ac:spMkLst>
        </pc:spChg>
        <pc:spChg chg="mod">
          <ac:chgData name="Aurelien Domont" userId="6da7715ce44349b3" providerId="LiveId" clId="{AFF9B0D5-CA7D-40FB-964A-23276295459E}" dt="2021-07-06T04:55:27.110" v="6436" actId="207"/>
          <ac:spMkLst>
            <pc:docMk/>
            <pc:sldMk cId="2365006287" sldId="2193"/>
            <ac:spMk id="164" creationId="{BDBE1806-5F82-440C-B248-5D0992D119E4}"/>
          </ac:spMkLst>
        </pc:spChg>
        <pc:spChg chg="mod">
          <ac:chgData name="Aurelien Domont" userId="6da7715ce44349b3" providerId="LiveId" clId="{AFF9B0D5-CA7D-40FB-964A-23276295459E}" dt="2021-07-06T04:55:27.110" v="6436" actId="207"/>
          <ac:spMkLst>
            <pc:docMk/>
            <pc:sldMk cId="2365006287" sldId="2193"/>
            <ac:spMk id="165" creationId="{0CB2C5FB-2220-441B-A825-6A63E1B5CE87}"/>
          </ac:spMkLst>
        </pc:spChg>
        <pc:spChg chg="mod">
          <ac:chgData name="Aurelien Domont" userId="6da7715ce44349b3" providerId="LiveId" clId="{AFF9B0D5-CA7D-40FB-964A-23276295459E}" dt="2021-07-06T04:55:27.110" v="6436" actId="207"/>
          <ac:spMkLst>
            <pc:docMk/>
            <pc:sldMk cId="2365006287" sldId="2193"/>
            <ac:spMk id="166" creationId="{9FACDA72-1072-4DEE-B174-2A6F35E08C8D}"/>
          </ac:spMkLst>
        </pc:spChg>
        <pc:spChg chg="mod">
          <ac:chgData name="Aurelien Domont" userId="6da7715ce44349b3" providerId="LiveId" clId="{AFF9B0D5-CA7D-40FB-964A-23276295459E}" dt="2021-07-06T04:55:27.110" v="6436" actId="207"/>
          <ac:spMkLst>
            <pc:docMk/>
            <pc:sldMk cId="2365006287" sldId="2193"/>
            <ac:spMk id="167" creationId="{52057368-38F5-4FC7-89D7-71864828E198}"/>
          </ac:spMkLst>
        </pc:spChg>
        <pc:spChg chg="mod">
          <ac:chgData name="Aurelien Domont" userId="6da7715ce44349b3" providerId="LiveId" clId="{AFF9B0D5-CA7D-40FB-964A-23276295459E}" dt="2021-07-06T04:55:27.110" v="6436" actId="207"/>
          <ac:spMkLst>
            <pc:docMk/>
            <pc:sldMk cId="2365006287" sldId="2193"/>
            <ac:spMk id="168" creationId="{99762878-AFAD-4D28-9244-65AC64A29FAB}"/>
          </ac:spMkLst>
        </pc:spChg>
        <pc:spChg chg="mod">
          <ac:chgData name="Aurelien Domont" userId="6da7715ce44349b3" providerId="LiveId" clId="{AFF9B0D5-CA7D-40FB-964A-23276295459E}" dt="2021-07-06T04:55:27.110" v="6436" actId="207"/>
          <ac:spMkLst>
            <pc:docMk/>
            <pc:sldMk cId="2365006287" sldId="2193"/>
            <ac:spMk id="169" creationId="{C6E0C370-1AE7-4B71-B582-54390B3E9756}"/>
          </ac:spMkLst>
        </pc:spChg>
        <pc:spChg chg="mod">
          <ac:chgData name="Aurelien Domont" userId="6da7715ce44349b3" providerId="LiveId" clId="{AFF9B0D5-CA7D-40FB-964A-23276295459E}" dt="2021-07-06T04:55:27.110" v="6436" actId="207"/>
          <ac:spMkLst>
            <pc:docMk/>
            <pc:sldMk cId="2365006287" sldId="2193"/>
            <ac:spMk id="170" creationId="{89396123-E9E1-41A2-9494-24C475D336FD}"/>
          </ac:spMkLst>
        </pc:spChg>
        <pc:spChg chg="mod">
          <ac:chgData name="Aurelien Domont" userId="6da7715ce44349b3" providerId="LiveId" clId="{AFF9B0D5-CA7D-40FB-964A-23276295459E}" dt="2021-07-06T04:55:27.110" v="6436" actId="207"/>
          <ac:spMkLst>
            <pc:docMk/>
            <pc:sldMk cId="2365006287" sldId="2193"/>
            <ac:spMk id="171" creationId="{823194CC-6111-4944-B231-CB5B35E28962}"/>
          </ac:spMkLst>
        </pc:spChg>
        <pc:spChg chg="mod">
          <ac:chgData name="Aurelien Domont" userId="6da7715ce44349b3" providerId="LiveId" clId="{AFF9B0D5-CA7D-40FB-964A-23276295459E}" dt="2021-07-06T04:55:27.110" v="6436" actId="207"/>
          <ac:spMkLst>
            <pc:docMk/>
            <pc:sldMk cId="2365006287" sldId="2193"/>
            <ac:spMk id="172" creationId="{4D754B61-CAB2-4876-AD55-A97070A02FF7}"/>
          </ac:spMkLst>
        </pc:spChg>
        <pc:spChg chg="mod">
          <ac:chgData name="Aurelien Domont" userId="6da7715ce44349b3" providerId="LiveId" clId="{AFF9B0D5-CA7D-40FB-964A-23276295459E}" dt="2021-07-06T04:55:27.110" v="6436" actId="207"/>
          <ac:spMkLst>
            <pc:docMk/>
            <pc:sldMk cId="2365006287" sldId="2193"/>
            <ac:spMk id="173" creationId="{92A6D021-607D-4A3A-9541-A61366B44512}"/>
          </ac:spMkLst>
        </pc:spChg>
        <pc:spChg chg="mod">
          <ac:chgData name="Aurelien Domont" userId="6da7715ce44349b3" providerId="LiveId" clId="{AFF9B0D5-CA7D-40FB-964A-23276295459E}" dt="2021-07-06T04:55:27.110" v="6436" actId="207"/>
          <ac:spMkLst>
            <pc:docMk/>
            <pc:sldMk cId="2365006287" sldId="2193"/>
            <ac:spMk id="174" creationId="{7CC84701-7558-4313-BB29-B13B7F846F11}"/>
          </ac:spMkLst>
        </pc:spChg>
        <pc:spChg chg="mod">
          <ac:chgData name="Aurelien Domont" userId="6da7715ce44349b3" providerId="LiveId" clId="{AFF9B0D5-CA7D-40FB-964A-23276295459E}" dt="2021-07-06T04:55:27.110" v="6436" actId="207"/>
          <ac:spMkLst>
            <pc:docMk/>
            <pc:sldMk cId="2365006287" sldId="2193"/>
            <ac:spMk id="175" creationId="{03B4CC72-2489-41BE-A1DA-877AE3EA9DF3}"/>
          </ac:spMkLst>
        </pc:spChg>
        <pc:spChg chg="mod">
          <ac:chgData name="Aurelien Domont" userId="6da7715ce44349b3" providerId="LiveId" clId="{AFF9B0D5-CA7D-40FB-964A-23276295459E}" dt="2021-07-06T04:55:27.110" v="6436" actId="207"/>
          <ac:spMkLst>
            <pc:docMk/>
            <pc:sldMk cId="2365006287" sldId="2193"/>
            <ac:spMk id="176" creationId="{47D6B5AF-3BB1-4F40-80A3-E718FFB2BBF9}"/>
          </ac:spMkLst>
        </pc:spChg>
        <pc:spChg chg="mod">
          <ac:chgData name="Aurelien Domont" userId="6da7715ce44349b3" providerId="LiveId" clId="{AFF9B0D5-CA7D-40FB-964A-23276295459E}" dt="2021-07-06T04:55:27.110" v="6436" actId="207"/>
          <ac:spMkLst>
            <pc:docMk/>
            <pc:sldMk cId="2365006287" sldId="2193"/>
            <ac:spMk id="177" creationId="{4DCF5414-4CBF-45A5-B95E-85CED01A12B7}"/>
          </ac:spMkLst>
        </pc:spChg>
        <pc:spChg chg="mod">
          <ac:chgData name="Aurelien Domont" userId="6da7715ce44349b3" providerId="LiveId" clId="{AFF9B0D5-CA7D-40FB-964A-23276295459E}" dt="2021-07-06T04:55:27.110" v="6436" actId="207"/>
          <ac:spMkLst>
            <pc:docMk/>
            <pc:sldMk cId="2365006287" sldId="2193"/>
            <ac:spMk id="178" creationId="{2678A3CD-131E-4EDF-A30A-53317901811B}"/>
          </ac:spMkLst>
        </pc:spChg>
        <pc:spChg chg="mod">
          <ac:chgData name="Aurelien Domont" userId="6da7715ce44349b3" providerId="LiveId" clId="{AFF9B0D5-CA7D-40FB-964A-23276295459E}" dt="2021-07-06T04:55:27.110" v="6436" actId="207"/>
          <ac:spMkLst>
            <pc:docMk/>
            <pc:sldMk cId="2365006287" sldId="2193"/>
            <ac:spMk id="179" creationId="{46610A0A-B8CE-41D9-91CC-A7B06C419CAF}"/>
          </ac:spMkLst>
        </pc:spChg>
        <pc:spChg chg="mod">
          <ac:chgData name="Aurelien Domont" userId="6da7715ce44349b3" providerId="LiveId" clId="{AFF9B0D5-CA7D-40FB-964A-23276295459E}" dt="2021-07-06T04:55:27.110" v="6436" actId="207"/>
          <ac:spMkLst>
            <pc:docMk/>
            <pc:sldMk cId="2365006287" sldId="2193"/>
            <ac:spMk id="180" creationId="{808EFAEC-EFEE-465B-9F07-B3397A83BC3D}"/>
          </ac:spMkLst>
        </pc:spChg>
        <pc:spChg chg="mod">
          <ac:chgData name="Aurelien Domont" userId="6da7715ce44349b3" providerId="LiveId" clId="{AFF9B0D5-CA7D-40FB-964A-23276295459E}" dt="2021-07-06T04:55:27.110" v="6436" actId="207"/>
          <ac:spMkLst>
            <pc:docMk/>
            <pc:sldMk cId="2365006287" sldId="2193"/>
            <ac:spMk id="181" creationId="{B0EA3EF7-DB1A-48F5-8310-A1017DB54E6F}"/>
          </ac:spMkLst>
        </pc:spChg>
        <pc:spChg chg="mod">
          <ac:chgData name="Aurelien Domont" userId="6da7715ce44349b3" providerId="LiveId" clId="{AFF9B0D5-CA7D-40FB-964A-23276295459E}" dt="2021-07-06T04:55:27.110" v="6436" actId="207"/>
          <ac:spMkLst>
            <pc:docMk/>
            <pc:sldMk cId="2365006287" sldId="2193"/>
            <ac:spMk id="182" creationId="{16651324-4218-4C8D-848C-EC8DDB563767}"/>
          </ac:spMkLst>
        </pc:spChg>
        <pc:spChg chg="mod">
          <ac:chgData name="Aurelien Domont" userId="6da7715ce44349b3" providerId="LiveId" clId="{AFF9B0D5-CA7D-40FB-964A-23276295459E}" dt="2021-07-06T04:55:27.110" v="6436" actId="207"/>
          <ac:spMkLst>
            <pc:docMk/>
            <pc:sldMk cId="2365006287" sldId="2193"/>
            <ac:spMk id="183" creationId="{2D1C61DB-DB9D-4FCD-A59D-5698A6522902}"/>
          </ac:spMkLst>
        </pc:spChg>
        <pc:spChg chg="mod">
          <ac:chgData name="Aurelien Domont" userId="6da7715ce44349b3" providerId="LiveId" clId="{AFF9B0D5-CA7D-40FB-964A-23276295459E}" dt="2021-07-06T04:55:27.110" v="6436" actId="207"/>
          <ac:spMkLst>
            <pc:docMk/>
            <pc:sldMk cId="2365006287" sldId="2193"/>
            <ac:spMk id="184" creationId="{72B0C558-0604-4F2E-8F50-BDE457973D38}"/>
          </ac:spMkLst>
        </pc:spChg>
        <pc:spChg chg="mod">
          <ac:chgData name="Aurelien Domont" userId="6da7715ce44349b3" providerId="LiveId" clId="{AFF9B0D5-CA7D-40FB-964A-23276295459E}" dt="2021-07-06T04:55:27.110" v="6436" actId="207"/>
          <ac:spMkLst>
            <pc:docMk/>
            <pc:sldMk cId="2365006287" sldId="2193"/>
            <ac:spMk id="185" creationId="{D5A1BFFB-B8FB-4800-BC3D-EE46E81A5431}"/>
          </ac:spMkLst>
        </pc:spChg>
        <pc:spChg chg="mod">
          <ac:chgData name="Aurelien Domont" userId="6da7715ce44349b3" providerId="LiveId" clId="{AFF9B0D5-CA7D-40FB-964A-23276295459E}" dt="2021-07-06T04:55:27.110" v="6436" actId="207"/>
          <ac:spMkLst>
            <pc:docMk/>
            <pc:sldMk cId="2365006287" sldId="2193"/>
            <ac:spMk id="186" creationId="{27671FE5-EDAE-4670-BEF7-A720F30F3665}"/>
          </ac:spMkLst>
        </pc:spChg>
        <pc:spChg chg="mod">
          <ac:chgData name="Aurelien Domont" userId="6da7715ce44349b3" providerId="LiveId" clId="{AFF9B0D5-CA7D-40FB-964A-23276295459E}" dt="2021-07-06T04:55:27.110" v="6436" actId="207"/>
          <ac:spMkLst>
            <pc:docMk/>
            <pc:sldMk cId="2365006287" sldId="2193"/>
            <ac:spMk id="187" creationId="{27C7BAE0-2998-41E2-ADC9-71D60AE6372D}"/>
          </ac:spMkLst>
        </pc:spChg>
        <pc:spChg chg="mod">
          <ac:chgData name="Aurelien Domont" userId="6da7715ce44349b3" providerId="LiveId" clId="{AFF9B0D5-CA7D-40FB-964A-23276295459E}" dt="2021-07-06T04:55:27.110" v="6436" actId="207"/>
          <ac:spMkLst>
            <pc:docMk/>
            <pc:sldMk cId="2365006287" sldId="2193"/>
            <ac:spMk id="188" creationId="{3800CFC3-6C5F-4327-98F1-E4477F94260D}"/>
          </ac:spMkLst>
        </pc:spChg>
        <pc:spChg chg="mod">
          <ac:chgData name="Aurelien Domont" userId="6da7715ce44349b3" providerId="LiveId" clId="{AFF9B0D5-CA7D-40FB-964A-23276295459E}" dt="2021-07-06T04:55:27.110" v="6436" actId="207"/>
          <ac:spMkLst>
            <pc:docMk/>
            <pc:sldMk cId="2365006287" sldId="2193"/>
            <ac:spMk id="189" creationId="{BD3D661E-CE23-4A3A-862C-A4530123CB0A}"/>
          </ac:spMkLst>
        </pc:spChg>
        <pc:spChg chg="mod">
          <ac:chgData name="Aurelien Domont" userId="6da7715ce44349b3" providerId="LiveId" clId="{AFF9B0D5-CA7D-40FB-964A-23276295459E}" dt="2021-07-06T04:55:27.110" v="6436" actId="207"/>
          <ac:spMkLst>
            <pc:docMk/>
            <pc:sldMk cId="2365006287" sldId="2193"/>
            <ac:spMk id="190" creationId="{1BF0723C-6F69-4D40-B7B3-E15B38FA66D9}"/>
          </ac:spMkLst>
        </pc:spChg>
        <pc:spChg chg="mod">
          <ac:chgData name="Aurelien Domont" userId="6da7715ce44349b3" providerId="LiveId" clId="{AFF9B0D5-CA7D-40FB-964A-23276295459E}" dt="2021-07-06T04:55:27.110" v="6436" actId="207"/>
          <ac:spMkLst>
            <pc:docMk/>
            <pc:sldMk cId="2365006287" sldId="2193"/>
            <ac:spMk id="191" creationId="{21AE6CAF-9A47-4EE1-A1D6-3C8CED98D246}"/>
          </ac:spMkLst>
        </pc:spChg>
        <pc:spChg chg="mod">
          <ac:chgData name="Aurelien Domont" userId="6da7715ce44349b3" providerId="LiveId" clId="{AFF9B0D5-CA7D-40FB-964A-23276295459E}" dt="2021-07-06T04:55:27.110" v="6436" actId="207"/>
          <ac:spMkLst>
            <pc:docMk/>
            <pc:sldMk cId="2365006287" sldId="2193"/>
            <ac:spMk id="192" creationId="{2373E3CE-B579-453F-89B1-B7E1CF0C0EB6}"/>
          </ac:spMkLst>
        </pc:spChg>
        <pc:spChg chg="mod">
          <ac:chgData name="Aurelien Domont" userId="6da7715ce44349b3" providerId="LiveId" clId="{AFF9B0D5-CA7D-40FB-964A-23276295459E}" dt="2021-07-06T04:55:27.110" v="6436" actId="207"/>
          <ac:spMkLst>
            <pc:docMk/>
            <pc:sldMk cId="2365006287" sldId="2193"/>
            <ac:spMk id="193" creationId="{E0AE16BE-90F8-40E4-A739-7DAF8EA978B2}"/>
          </ac:spMkLst>
        </pc:spChg>
        <pc:spChg chg="mod">
          <ac:chgData name="Aurelien Domont" userId="6da7715ce44349b3" providerId="LiveId" clId="{AFF9B0D5-CA7D-40FB-964A-23276295459E}" dt="2021-07-06T04:55:27.110" v="6436" actId="207"/>
          <ac:spMkLst>
            <pc:docMk/>
            <pc:sldMk cId="2365006287" sldId="2193"/>
            <ac:spMk id="194" creationId="{3E230726-7D04-48F3-A135-4F04E3E248FA}"/>
          </ac:spMkLst>
        </pc:spChg>
        <pc:spChg chg="mod">
          <ac:chgData name="Aurelien Domont" userId="6da7715ce44349b3" providerId="LiveId" clId="{AFF9B0D5-CA7D-40FB-964A-23276295459E}" dt="2021-07-06T04:55:27.110" v="6436" actId="207"/>
          <ac:spMkLst>
            <pc:docMk/>
            <pc:sldMk cId="2365006287" sldId="2193"/>
            <ac:spMk id="195" creationId="{E435410C-3B5C-4565-9E8D-60834A321263}"/>
          </ac:spMkLst>
        </pc:spChg>
        <pc:spChg chg="mod">
          <ac:chgData name="Aurelien Domont" userId="6da7715ce44349b3" providerId="LiveId" clId="{AFF9B0D5-CA7D-40FB-964A-23276295459E}" dt="2021-07-06T04:55:27.110" v="6436" actId="207"/>
          <ac:spMkLst>
            <pc:docMk/>
            <pc:sldMk cId="2365006287" sldId="2193"/>
            <ac:spMk id="196" creationId="{46F36E87-E302-412F-BB37-08F349D2161D}"/>
          </ac:spMkLst>
        </pc:spChg>
        <pc:spChg chg="mod">
          <ac:chgData name="Aurelien Domont" userId="6da7715ce44349b3" providerId="LiveId" clId="{AFF9B0D5-CA7D-40FB-964A-23276295459E}" dt="2021-07-06T04:55:27.110" v="6436" actId="207"/>
          <ac:spMkLst>
            <pc:docMk/>
            <pc:sldMk cId="2365006287" sldId="2193"/>
            <ac:spMk id="197" creationId="{C7ACEAE5-152B-49D2-8F07-FFD86767A0FB}"/>
          </ac:spMkLst>
        </pc:spChg>
        <pc:spChg chg="mod">
          <ac:chgData name="Aurelien Domont" userId="6da7715ce44349b3" providerId="LiveId" clId="{AFF9B0D5-CA7D-40FB-964A-23276295459E}" dt="2021-07-06T04:55:27.110" v="6436" actId="207"/>
          <ac:spMkLst>
            <pc:docMk/>
            <pc:sldMk cId="2365006287" sldId="2193"/>
            <ac:spMk id="198" creationId="{7104C839-48BF-4BA4-BF53-6AFD43BAED39}"/>
          </ac:spMkLst>
        </pc:spChg>
        <pc:spChg chg="mod">
          <ac:chgData name="Aurelien Domont" userId="6da7715ce44349b3" providerId="LiveId" clId="{AFF9B0D5-CA7D-40FB-964A-23276295459E}" dt="2021-07-06T04:55:27.110" v="6436" actId="207"/>
          <ac:spMkLst>
            <pc:docMk/>
            <pc:sldMk cId="2365006287" sldId="2193"/>
            <ac:spMk id="199" creationId="{0A27973E-F093-4443-948D-6F5E0135F593}"/>
          </ac:spMkLst>
        </pc:spChg>
        <pc:spChg chg="mod">
          <ac:chgData name="Aurelien Domont" userId="6da7715ce44349b3" providerId="LiveId" clId="{AFF9B0D5-CA7D-40FB-964A-23276295459E}" dt="2021-07-06T04:55:27.110" v="6436" actId="207"/>
          <ac:spMkLst>
            <pc:docMk/>
            <pc:sldMk cId="2365006287" sldId="2193"/>
            <ac:spMk id="200" creationId="{0C367E29-D0D4-4244-8139-3B655EF87F12}"/>
          </ac:spMkLst>
        </pc:spChg>
        <pc:spChg chg="mod">
          <ac:chgData name="Aurelien Domont" userId="6da7715ce44349b3" providerId="LiveId" clId="{AFF9B0D5-CA7D-40FB-964A-23276295459E}" dt="2021-07-06T04:55:27.110" v="6436" actId="207"/>
          <ac:spMkLst>
            <pc:docMk/>
            <pc:sldMk cId="2365006287" sldId="2193"/>
            <ac:spMk id="201" creationId="{1726BD3E-877B-4098-9E8D-71732ED9C71C}"/>
          </ac:spMkLst>
        </pc:spChg>
        <pc:spChg chg="mod">
          <ac:chgData name="Aurelien Domont" userId="6da7715ce44349b3" providerId="LiveId" clId="{AFF9B0D5-CA7D-40FB-964A-23276295459E}" dt="2021-07-06T04:55:27.110" v="6436" actId="207"/>
          <ac:spMkLst>
            <pc:docMk/>
            <pc:sldMk cId="2365006287" sldId="2193"/>
            <ac:spMk id="202" creationId="{417DE7D5-87EB-4446-90B6-E380A5B3F9E1}"/>
          </ac:spMkLst>
        </pc:spChg>
        <pc:spChg chg="mod">
          <ac:chgData name="Aurelien Domont" userId="6da7715ce44349b3" providerId="LiveId" clId="{AFF9B0D5-CA7D-40FB-964A-23276295459E}" dt="2021-07-06T04:55:27.110" v="6436" actId="207"/>
          <ac:spMkLst>
            <pc:docMk/>
            <pc:sldMk cId="2365006287" sldId="2193"/>
            <ac:spMk id="203" creationId="{F8234C4E-1277-4509-A12C-171C20B61378}"/>
          </ac:spMkLst>
        </pc:spChg>
        <pc:spChg chg="mod">
          <ac:chgData name="Aurelien Domont" userId="6da7715ce44349b3" providerId="LiveId" clId="{AFF9B0D5-CA7D-40FB-964A-23276295459E}" dt="2021-07-06T04:55:27.110" v="6436" actId="207"/>
          <ac:spMkLst>
            <pc:docMk/>
            <pc:sldMk cId="2365006287" sldId="2193"/>
            <ac:spMk id="204" creationId="{6CD2DCA3-6635-45E3-BAA3-A827175806C8}"/>
          </ac:spMkLst>
        </pc:spChg>
        <pc:spChg chg="mod">
          <ac:chgData name="Aurelien Domont" userId="6da7715ce44349b3" providerId="LiveId" clId="{AFF9B0D5-CA7D-40FB-964A-23276295459E}" dt="2021-07-06T04:55:27.110" v="6436" actId="207"/>
          <ac:spMkLst>
            <pc:docMk/>
            <pc:sldMk cId="2365006287" sldId="2193"/>
            <ac:spMk id="205" creationId="{D0EE785C-B516-4A7F-9FD6-932B3B082390}"/>
          </ac:spMkLst>
        </pc:spChg>
        <pc:spChg chg="mod">
          <ac:chgData name="Aurelien Domont" userId="6da7715ce44349b3" providerId="LiveId" clId="{AFF9B0D5-CA7D-40FB-964A-23276295459E}" dt="2021-07-06T04:55:27.110" v="6436" actId="207"/>
          <ac:spMkLst>
            <pc:docMk/>
            <pc:sldMk cId="2365006287" sldId="2193"/>
            <ac:spMk id="206" creationId="{69F9CB50-A8DF-4971-A970-65EBA0D3708C}"/>
          </ac:spMkLst>
        </pc:spChg>
        <pc:spChg chg="mod">
          <ac:chgData name="Aurelien Domont" userId="6da7715ce44349b3" providerId="LiveId" clId="{AFF9B0D5-CA7D-40FB-964A-23276295459E}" dt="2021-07-06T04:55:27.110" v="6436" actId="207"/>
          <ac:spMkLst>
            <pc:docMk/>
            <pc:sldMk cId="2365006287" sldId="2193"/>
            <ac:spMk id="207" creationId="{3A5C33E5-CB47-49F3-9703-5FABDAB57EC3}"/>
          </ac:spMkLst>
        </pc:spChg>
        <pc:spChg chg="mod">
          <ac:chgData name="Aurelien Domont" userId="6da7715ce44349b3" providerId="LiveId" clId="{AFF9B0D5-CA7D-40FB-964A-23276295459E}" dt="2021-07-06T04:55:27.110" v="6436" actId="207"/>
          <ac:spMkLst>
            <pc:docMk/>
            <pc:sldMk cId="2365006287" sldId="2193"/>
            <ac:spMk id="208" creationId="{85E7AF01-E658-4CF9-91AD-AAA4D538385C}"/>
          </ac:spMkLst>
        </pc:spChg>
        <pc:spChg chg="mod">
          <ac:chgData name="Aurelien Domont" userId="6da7715ce44349b3" providerId="LiveId" clId="{AFF9B0D5-CA7D-40FB-964A-23276295459E}" dt="2021-07-06T04:55:27.110" v="6436" actId="207"/>
          <ac:spMkLst>
            <pc:docMk/>
            <pc:sldMk cId="2365006287" sldId="2193"/>
            <ac:spMk id="209" creationId="{80F74A73-23C5-4D68-9D8A-23DC7F7E918C}"/>
          </ac:spMkLst>
        </pc:spChg>
        <pc:spChg chg="mod">
          <ac:chgData name="Aurelien Domont" userId="6da7715ce44349b3" providerId="LiveId" clId="{AFF9B0D5-CA7D-40FB-964A-23276295459E}" dt="2021-07-06T04:55:27.110" v="6436" actId="207"/>
          <ac:spMkLst>
            <pc:docMk/>
            <pc:sldMk cId="2365006287" sldId="2193"/>
            <ac:spMk id="210" creationId="{1C34C438-EB6D-4823-B4F5-43F46CB4F136}"/>
          </ac:spMkLst>
        </pc:spChg>
        <pc:spChg chg="mod">
          <ac:chgData name="Aurelien Domont" userId="6da7715ce44349b3" providerId="LiveId" clId="{AFF9B0D5-CA7D-40FB-964A-23276295459E}" dt="2021-07-06T04:55:27.110" v="6436" actId="207"/>
          <ac:spMkLst>
            <pc:docMk/>
            <pc:sldMk cId="2365006287" sldId="2193"/>
            <ac:spMk id="211" creationId="{62858DE9-8389-40F0-B1B8-BFA176A1109C}"/>
          </ac:spMkLst>
        </pc:spChg>
        <pc:spChg chg="mod">
          <ac:chgData name="Aurelien Domont" userId="6da7715ce44349b3" providerId="LiveId" clId="{AFF9B0D5-CA7D-40FB-964A-23276295459E}" dt="2021-07-06T04:55:27.110" v="6436" actId="207"/>
          <ac:spMkLst>
            <pc:docMk/>
            <pc:sldMk cId="2365006287" sldId="2193"/>
            <ac:spMk id="212" creationId="{35FA5D01-3B25-4F8D-9A0F-7FFF9F3BE0FB}"/>
          </ac:spMkLst>
        </pc:spChg>
        <pc:spChg chg="mod">
          <ac:chgData name="Aurelien Domont" userId="6da7715ce44349b3" providerId="LiveId" clId="{AFF9B0D5-CA7D-40FB-964A-23276295459E}" dt="2021-07-06T04:55:27.110" v="6436" actId="207"/>
          <ac:spMkLst>
            <pc:docMk/>
            <pc:sldMk cId="2365006287" sldId="2193"/>
            <ac:spMk id="213" creationId="{F07095F0-5F81-4E87-8152-6FA12EAABAAF}"/>
          </ac:spMkLst>
        </pc:spChg>
        <pc:spChg chg="mod">
          <ac:chgData name="Aurelien Domont" userId="6da7715ce44349b3" providerId="LiveId" clId="{AFF9B0D5-CA7D-40FB-964A-23276295459E}" dt="2021-07-06T04:55:27.110" v="6436" actId="207"/>
          <ac:spMkLst>
            <pc:docMk/>
            <pc:sldMk cId="2365006287" sldId="2193"/>
            <ac:spMk id="214" creationId="{6D88220E-9BA8-4095-9058-A84188E97F6B}"/>
          </ac:spMkLst>
        </pc:spChg>
        <pc:spChg chg="mod">
          <ac:chgData name="Aurelien Domont" userId="6da7715ce44349b3" providerId="LiveId" clId="{AFF9B0D5-CA7D-40FB-964A-23276295459E}" dt="2021-07-06T04:55:27.110" v="6436" actId="207"/>
          <ac:spMkLst>
            <pc:docMk/>
            <pc:sldMk cId="2365006287" sldId="2193"/>
            <ac:spMk id="215" creationId="{FA0F2FA6-CE91-4B62-9BA1-78C7638E7621}"/>
          </ac:spMkLst>
        </pc:spChg>
        <pc:spChg chg="mod">
          <ac:chgData name="Aurelien Domont" userId="6da7715ce44349b3" providerId="LiveId" clId="{AFF9B0D5-CA7D-40FB-964A-23276295459E}" dt="2021-07-06T04:55:27.110" v="6436" actId="207"/>
          <ac:spMkLst>
            <pc:docMk/>
            <pc:sldMk cId="2365006287" sldId="2193"/>
            <ac:spMk id="216" creationId="{02503988-11CB-45E2-8EBE-8DB0875F0A48}"/>
          </ac:spMkLst>
        </pc:spChg>
        <pc:spChg chg="mod">
          <ac:chgData name="Aurelien Domont" userId="6da7715ce44349b3" providerId="LiveId" clId="{AFF9B0D5-CA7D-40FB-964A-23276295459E}" dt="2021-07-06T04:55:27.110" v="6436" actId="207"/>
          <ac:spMkLst>
            <pc:docMk/>
            <pc:sldMk cId="2365006287" sldId="2193"/>
            <ac:spMk id="217" creationId="{A2D11221-FFDD-40DB-8071-FB96292CF32F}"/>
          </ac:spMkLst>
        </pc:spChg>
        <pc:spChg chg="mod">
          <ac:chgData name="Aurelien Domont" userId="6da7715ce44349b3" providerId="LiveId" clId="{AFF9B0D5-CA7D-40FB-964A-23276295459E}" dt="2021-07-06T04:55:27.110" v="6436" actId="207"/>
          <ac:spMkLst>
            <pc:docMk/>
            <pc:sldMk cId="2365006287" sldId="2193"/>
            <ac:spMk id="218" creationId="{F89419B7-8002-4A66-8E1F-B15EA2EF54CE}"/>
          </ac:spMkLst>
        </pc:spChg>
        <pc:spChg chg="mod">
          <ac:chgData name="Aurelien Domont" userId="6da7715ce44349b3" providerId="LiveId" clId="{AFF9B0D5-CA7D-40FB-964A-23276295459E}" dt="2021-07-06T04:55:27.110" v="6436" actId="207"/>
          <ac:spMkLst>
            <pc:docMk/>
            <pc:sldMk cId="2365006287" sldId="2193"/>
            <ac:spMk id="219" creationId="{2104C40C-A33D-4E6D-9D98-BC4F83960F51}"/>
          </ac:spMkLst>
        </pc:spChg>
        <pc:spChg chg="mod">
          <ac:chgData name="Aurelien Domont" userId="6da7715ce44349b3" providerId="LiveId" clId="{AFF9B0D5-CA7D-40FB-964A-23276295459E}" dt="2021-07-06T04:55:27.110" v="6436" actId="207"/>
          <ac:spMkLst>
            <pc:docMk/>
            <pc:sldMk cId="2365006287" sldId="2193"/>
            <ac:spMk id="220" creationId="{AE069398-DCB6-4C53-AE55-140B6878653C}"/>
          </ac:spMkLst>
        </pc:spChg>
        <pc:spChg chg="mod">
          <ac:chgData name="Aurelien Domont" userId="6da7715ce44349b3" providerId="LiveId" clId="{AFF9B0D5-CA7D-40FB-964A-23276295459E}" dt="2021-07-06T04:55:27.110" v="6436" actId="207"/>
          <ac:spMkLst>
            <pc:docMk/>
            <pc:sldMk cId="2365006287" sldId="2193"/>
            <ac:spMk id="221" creationId="{EA413C8C-5A81-4A84-9508-42F13C4C0267}"/>
          </ac:spMkLst>
        </pc:spChg>
        <pc:spChg chg="mod">
          <ac:chgData name="Aurelien Domont" userId="6da7715ce44349b3" providerId="LiveId" clId="{AFF9B0D5-CA7D-40FB-964A-23276295459E}" dt="2021-07-06T04:55:27.110" v="6436" actId="207"/>
          <ac:spMkLst>
            <pc:docMk/>
            <pc:sldMk cId="2365006287" sldId="2193"/>
            <ac:spMk id="222" creationId="{6F011FD1-4573-4382-B364-DB6F82607017}"/>
          </ac:spMkLst>
        </pc:spChg>
        <pc:spChg chg="mod">
          <ac:chgData name="Aurelien Domont" userId="6da7715ce44349b3" providerId="LiveId" clId="{AFF9B0D5-CA7D-40FB-964A-23276295459E}" dt="2021-07-06T04:55:27.110" v="6436" actId="207"/>
          <ac:spMkLst>
            <pc:docMk/>
            <pc:sldMk cId="2365006287" sldId="2193"/>
            <ac:spMk id="223" creationId="{B9602CC6-B71E-4ED6-9041-140D27C4E4E3}"/>
          </ac:spMkLst>
        </pc:spChg>
        <pc:spChg chg="mod">
          <ac:chgData name="Aurelien Domont" userId="6da7715ce44349b3" providerId="LiveId" clId="{AFF9B0D5-CA7D-40FB-964A-23276295459E}" dt="2021-07-06T04:55:27.110" v="6436" actId="207"/>
          <ac:spMkLst>
            <pc:docMk/>
            <pc:sldMk cId="2365006287" sldId="2193"/>
            <ac:spMk id="224" creationId="{E713764D-8FD9-4C54-A023-D80F71593A6B}"/>
          </ac:spMkLst>
        </pc:spChg>
        <pc:spChg chg="mod">
          <ac:chgData name="Aurelien Domont" userId="6da7715ce44349b3" providerId="LiveId" clId="{AFF9B0D5-CA7D-40FB-964A-23276295459E}" dt="2021-07-06T04:55:27.110" v="6436" actId="207"/>
          <ac:spMkLst>
            <pc:docMk/>
            <pc:sldMk cId="2365006287" sldId="2193"/>
            <ac:spMk id="225" creationId="{40198528-FAD1-4DF1-BE03-1F5CE0DF5115}"/>
          </ac:spMkLst>
        </pc:spChg>
        <pc:spChg chg="mod">
          <ac:chgData name="Aurelien Domont" userId="6da7715ce44349b3" providerId="LiveId" clId="{AFF9B0D5-CA7D-40FB-964A-23276295459E}" dt="2021-07-06T04:55:27.110" v="6436" actId="207"/>
          <ac:spMkLst>
            <pc:docMk/>
            <pc:sldMk cId="2365006287" sldId="2193"/>
            <ac:spMk id="226" creationId="{FF7CCC2D-2F86-44F8-B589-36D24F6BD3BC}"/>
          </ac:spMkLst>
        </pc:spChg>
        <pc:spChg chg="mod">
          <ac:chgData name="Aurelien Domont" userId="6da7715ce44349b3" providerId="LiveId" clId="{AFF9B0D5-CA7D-40FB-964A-23276295459E}" dt="2021-07-06T04:55:27.110" v="6436" actId="207"/>
          <ac:spMkLst>
            <pc:docMk/>
            <pc:sldMk cId="2365006287" sldId="2193"/>
            <ac:spMk id="227" creationId="{355CCFEB-EFF7-4767-B082-7F25BBEF1865}"/>
          </ac:spMkLst>
        </pc:spChg>
        <pc:spChg chg="mod">
          <ac:chgData name="Aurelien Domont" userId="6da7715ce44349b3" providerId="LiveId" clId="{AFF9B0D5-CA7D-40FB-964A-23276295459E}" dt="2021-07-06T04:55:27.110" v="6436" actId="207"/>
          <ac:spMkLst>
            <pc:docMk/>
            <pc:sldMk cId="2365006287" sldId="2193"/>
            <ac:spMk id="228" creationId="{3FEB8FE2-A508-41DC-AE11-14061B6EABC9}"/>
          </ac:spMkLst>
        </pc:spChg>
        <pc:spChg chg="mod">
          <ac:chgData name="Aurelien Domont" userId="6da7715ce44349b3" providerId="LiveId" clId="{AFF9B0D5-CA7D-40FB-964A-23276295459E}" dt="2021-07-06T04:55:27.110" v="6436" actId="207"/>
          <ac:spMkLst>
            <pc:docMk/>
            <pc:sldMk cId="2365006287" sldId="2193"/>
            <ac:spMk id="229" creationId="{B264EC5D-A47A-48AA-B4C5-9EF7968CDDAF}"/>
          </ac:spMkLst>
        </pc:spChg>
        <pc:spChg chg="mod">
          <ac:chgData name="Aurelien Domont" userId="6da7715ce44349b3" providerId="LiveId" clId="{AFF9B0D5-CA7D-40FB-964A-23276295459E}" dt="2021-07-06T04:55:27.110" v="6436" actId="207"/>
          <ac:spMkLst>
            <pc:docMk/>
            <pc:sldMk cId="2365006287" sldId="2193"/>
            <ac:spMk id="230" creationId="{4F1CECCC-B7AE-4091-99C7-3D8A57509494}"/>
          </ac:spMkLst>
        </pc:spChg>
        <pc:spChg chg="mod">
          <ac:chgData name="Aurelien Domont" userId="6da7715ce44349b3" providerId="LiveId" clId="{AFF9B0D5-CA7D-40FB-964A-23276295459E}" dt="2021-07-06T04:55:27.110" v="6436" actId="207"/>
          <ac:spMkLst>
            <pc:docMk/>
            <pc:sldMk cId="2365006287" sldId="2193"/>
            <ac:spMk id="231" creationId="{9D9F2C61-12B2-4CFC-9F59-A5D246962912}"/>
          </ac:spMkLst>
        </pc:spChg>
        <pc:spChg chg="mod">
          <ac:chgData name="Aurelien Domont" userId="6da7715ce44349b3" providerId="LiveId" clId="{AFF9B0D5-CA7D-40FB-964A-23276295459E}" dt="2021-07-06T04:55:27.110" v="6436" actId="207"/>
          <ac:spMkLst>
            <pc:docMk/>
            <pc:sldMk cId="2365006287" sldId="2193"/>
            <ac:spMk id="232" creationId="{038E4FC5-3825-4C9D-9C75-4359EB4187B2}"/>
          </ac:spMkLst>
        </pc:spChg>
        <pc:spChg chg="mod">
          <ac:chgData name="Aurelien Domont" userId="6da7715ce44349b3" providerId="LiveId" clId="{AFF9B0D5-CA7D-40FB-964A-23276295459E}" dt="2021-07-06T04:55:27.110" v="6436" actId="207"/>
          <ac:spMkLst>
            <pc:docMk/>
            <pc:sldMk cId="2365006287" sldId="2193"/>
            <ac:spMk id="233" creationId="{63489E06-23B3-4FDE-985E-9363B3EC7F8A}"/>
          </ac:spMkLst>
        </pc:spChg>
        <pc:spChg chg="mod">
          <ac:chgData name="Aurelien Domont" userId="6da7715ce44349b3" providerId="LiveId" clId="{AFF9B0D5-CA7D-40FB-964A-23276295459E}" dt="2021-07-06T04:55:27.110" v="6436" actId="207"/>
          <ac:spMkLst>
            <pc:docMk/>
            <pc:sldMk cId="2365006287" sldId="2193"/>
            <ac:spMk id="234" creationId="{79221B8C-59C2-42DB-BF50-6900D8AEB4D8}"/>
          </ac:spMkLst>
        </pc:spChg>
        <pc:spChg chg="mod">
          <ac:chgData name="Aurelien Domont" userId="6da7715ce44349b3" providerId="LiveId" clId="{AFF9B0D5-CA7D-40FB-964A-23276295459E}" dt="2021-07-06T04:55:27.110" v="6436" actId="207"/>
          <ac:spMkLst>
            <pc:docMk/>
            <pc:sldMk cId="2365006287" sldId="2193"/>
            <ac:spMk id="235" creationId="{8A915F83-38FE-40E1-B654-F200BD2669BB}"/>
          </ac:spMkLst>
        </pc:spChg>
        <pc:spChg chg="mod">
          <ac:chgData name="Aurelien Domont" userId="6da7715ce44349b3" providerId="LiveId" clId="{AFF9B0D5-CA7D-40FB-964A-23276295459E}" dt="2021-07-06T04:55:27.110" v="6436" actId="207"/>
          <ac:spMkLst>
            <pc:docMk/>
            <pc:sldMk cId="2365006287" sldId="2193"/>
            <ac:spMk id="236" creationId="{9A5EE1FD-B9F0-4328-8FAD-B440111B9798}"/>
          </ac:spMkLst>
        </pc:spChg>
        <pc:spChg chg="mod">
          <ac:chgData name="Aurelien Domont" userId="6da7715ce44349b3" providerId="LiveId" clId="{AFF9B0D5-CA7D-40FB-964A-23276295459E}" dt="2021-07-06T04:55:27.110" v="6436" actId="207"/>
          <ac:spMkLst>
            <pc:docMk/>
            <pc:sldMk cId="2365006287" sldId="2193"/>
            <ac:spMk id="237" creationId="{B1485E9E-08D1-4969-9994-4C08790CE3A9}"/>
          </ac:spMkLst>
        </pc:spChg>
        <pc:spChg chg="mod">
          <ac:chgData name="Aurelien Domont" userId="6da7715ce44349b3" providerId="LiveId" clId="{AFF9B0D5-CA7D-40FB-964A-23276295459E}" dt="2021-07-06T04:55:27.110" v="6436" actId="207"/>
          <ac:spMkLst>
            <pc:docMk/>
            <pc:sldMk cId="2365006287" sldId="2193"/>
            <ac:spMk id="238" creationId="{F9145D23-22F4-41E3-9E8D-910174B5DBB8}"/>
          </ac:spMkLst>
        </pc:spChg>
        <pc:spChg chg="mod">
          <ac:chgData name="Aurelien Domont" userId="6da7715ce44349b3" providerId="LiveId" clId="{AFF9B0D5-CA7D-40FB-964A-23276295459E}" dt="2021-07-06T04:55:27.110" v="6436" actId="207"/>
          <ac:spMkLst>
            <pc:docMk/>
            <pc:sldMk cId="2365006287" sldId="2193"/>
            <ac:spMk id="239" creationId="{A9742A27-D2E8-4A37-AA55-EB1308A6DA74}"/>
          </ac:spMkLst>
        </pc:spChg>
        <pc:spChg chg="mod">
          <ac:chgData name="Aurelien Domont" userId="6da7715ce44349b3" providerId="LiveId" clId="{AFF9B0D5-CA7D-40FB-964A-23276295459E}" dt="2021-07-06T04:55:27.110" v="6436" actId="207"/>
          <ac:spMkLst>
            <pc:docMk/>
            <pc:sldMk cId="2365006287" sldId="2193"/>
            <ac:spMk id="240" creationId="{A2DC8A6B-373E-4CAF-A535-BF54006E617E}"/>
          </ac:spMkLst>
        </pc:spChg>
        <pc:spChg chg="mod">
          <ac:chgData name="Aurelien Domont" userId="6da7715ce44349b3" providerId="LiveId" clId="{AFF9B0D5-CA7D-40FB-964A-23276295459E}" dt="2021-07-06T04:55:27.110" v="6436" actId="207"/>
          <ac:spMkLst>
            <pc:docMk/>
            <pc:sldMk cId="2365006287" sldId="2193"/>
            <ac:spMk id="241" creationId="{48655EB1-407B-43A0-8829-E858DAE63D9D}"/>
          </ac:spMkLst>
        </pc:spChg>
        <pc:spChg chg="mod">
          <ac:chgData name="Aurelien Domont" userId="6da7715ce44349b3" providerId="LiveId" clId="{AFF9B0D5-CA7D-40FB-964A-23276295459E}" dt="2021-07-06T04:55:27.110" v="6436" actId="207"/>
          <ac:spMkLst>
            <pc:docMk/>
            <pc:sldMk cId="2365006287" sldId="2193"/>
            <ac:spMk id="242" creationId="{B70CA7DC-536C-4452-8F7E-D2876C88E093}"/>
          </ac:spMkLst>
        </pc:spChg>
        <pc:spChg chg="mod">
          <ac:chgData name="Aurelien Domont" userId="6da7715ce44349b3" providerId="LiveId" clId="{AFF9B0D5-CA7D-40FB-964A-23276295459E}" dt="2021-07-06T04:55:27.110" v="6436" actId="207"/>
          <ac:spMkLst>
            <pc:docMk/>
            <pc:sldMk cId="2365006287" sldId="2193"/>
            <ac:spMk id="243" creationId="{9790A531-4D0D-41B6-94DE-DB614334F6D0}"/>
          </ac:spMkLst>
        </pc:spChg>
        <pc:spChg chg="mod">
          <ac:chgData name="Aurelien Domont" userId="6da7715ce44349b3" providerId="LiveId" clId="{AFF9B0D5-CA7D-40FB-964A-23276295459E}" dt="2021-07-06T04:55:27.110" v="6436" actId="207"/>
          <ac:spMkLst>
            <pc:docMk/>
            <pc:sldMk cId="2365006287" sldId="2193"/>
            <ac:spMk id="244" creationId="{98351D31-2037-45FE-AB54-87A5B51FBFDF}"/>
          </ac:spMkLst>
        </pc:spChg>
        <pc:spChg chg="mod">
          <ac:chgData name="Aurelien Domont" userId="6da7715ce44349b3" providerId="LiveId" clId="{AFF9B0D5-CA7D-40FB-964A-23276295459E}" dt="2021-07-06T04:55:27.110" v="6436" actId="207"/>
          <ac:spMkLst>
            <pc:docMk/>
            <pc:sldMk cId="2365006287" sldId="2193"/>
            <ac:spMk id="245" creationId="{8C3D4576-60DD-4805-812B-AA65ED83D9BA}"/>
          </ac:spMkLst>
        </pc:spChg>
        <pc:spChg chg="mod">
          <ac:chgData name="Aurelien Domont" userId="6da7715ce44349b3" providerId="LiveId" clId="{AFF9B0D5-CA7D-40FB-964A-23276295459E}" dt="2021-07-06T04:55:27.110" v="6436" actId="207"/>
          <ac:spMkLst>
            <pc:docMk/>
            <pc:sldMk cId="2365006287" sldId="2193"/>
            <ac:spMk id="246" creationId="{2195CA09-EFC7-4007-A7A7-10C502924E47}"/>
          </ac:spMkLst>
        </pc:spChg>
        <pc:spChg chg="mod">
          <ac:chgData name="Aurelien Domont" userId="6da7715ce44349b3" providerId="LiveId" clId="{AFF9B0D5-CA7D-40FB-964A-23276295459E}" dt="2021-07-06T04:55:27.110" v="6436" actId="207"/>
          <ac:spMkLst>
            <pc:docMk/>
            <pc:sldMk cId="2365006287" sldId="2193"/>
            <ac:spMk id="247" creationId="{07127B3D-D91B-4436-9C4C-CEB05642FF43}"/>
          </ac:spMkLst>
        </pc:spChg>
        <pc:spChg chg="mod">
          <ac:chgData name="Aurelien Domont" userId="6da7715ce44349b3" providerId="LiveId" clId="{AFF9B0D5-CA7D-40FB-964A-23276295459E}" dt="2021-07-06T04:55:27.110" v="6436" actId="207"/>
          <ac:spMkLst>
            <pc:docMk/>
            <pc:sldMk cId="2365006287" sldId="2193"/>
            <ac:spMk id="248" creationId="{C7E65F49-CA35-4C6F-99EF-A86431087C5C}"/>
          </ac:spMkLst>
        </pc:spChg>
        <pc:spChg chg="mod">
          <ac:chgData name="Aurelien Domont" userId="6da7715ce44349b3" providerId="LiveId" clId="{AFF9B0D5-CA7D-40FB-964A-23276295459E}" dt="2021-07-06T04:55:27.110" v="6436" actId="207"/>
          <ac:spMkLst>
            <pc:docMk/>
            <pc:sldMk cId="2365006287" sldId="2193"/>
            <ac:spMk id="249" creationId="{3CF81980-D6F0-499D-B952-0CCA99157FF3}"/>
          </ac:spMkLst>
        </pc:spChg>
        <pc:spChg chg="mod">
          <ac:chgData name="Aurelien Domont" userId="6da7715ce44349b3" providerId="LiveId" clId="{AFF9B0D5-CA7D-40FB-964A-23276295459E}" dt="2021-07-06T04:55:27.110" v="6436" actId="207"/>
          <ac:spMkLst>
            <pc:docMk/>
            <pc:sldMk cId="2365006287" sldId="2193"/>
            <ac:spMk id="250" creationId="{66CF125E-C950-46E1-AEB4-530BE2B6DB79}"/>
          </ac:spMkLst>
        </pc:spChg>
        <pc:spChg chg="mod">
          <ac:chgData name="Aurelien Domont" userId="6da7715ce44349b3" providerId="LiveId" clId="{AFF9B0D5-CA7D-40FB-964A-23276295459E}" dt="2021-07-06T04:55:27.110" v="6436" actId="207"/>
          <ac:spMkLst>
            <pc:docMk/>
            <pc:sldMk cId="2365006287" sldId="2193"/>
            <ac:spMk id="251" creationId="{E83F2309-B010-4B76-8F84-FB31FFAF091C}"/>
          </ac:spMkLst>
        </pc:spChg>
        <pc:spChg chg="mod">
          <ac:chgData name="Aurelien Domont" userId="6da7715ce44349b3" providerId="LiveId" clId="{AFF9B0D5-CA7D-40FB-964A-23276295459E}" dt="2021-07-06T04:55:27.110" v="6436" actId="207"/>
          <ac:spMkLst>
            <pc:docMk/>
            <pc:sldMk cId="2365006287" sldId="2193"/>
            <ac:spMk id="252" creationId="{BD6CF8CB-15A3-4ABD-AA76-432170908F04}"/>
          </ac:spMkLst>
        </pc:spChg>
        <pc:spChg chg="mod">
          <ac:chgData name="Aurelien Domont" userId="6da7715ce44349b3" providerId="LiveId" clId="{AFF9B0D5-CA7D-40FB-964A-23276295459E}" dt="2021-07-06T04:55:27.110" v="6436" actId="207"/>
          <ac:spMkLst>
            <pc:docMk/>
            <pc:sldMk cId="2365006287" sldId="2193"/>
            <ac:spMk id="253" creationId="{16517373-9328-4E32-9357-EDC75FAFB99B}"/>
          </ac:spMkLst>
        </pc:spChg>
        <pc:spChg chg="mod">
          <ac:chgData name="Aurelien Domont" userId="6da7715ce44349b3" providerId="LiveId" clId="{AFF9B0D5-CA7D-40FB-964A-23276295459E}" dt="2021-07-06T04:55:27.110" v="6436" actId="207"/>
          <ac:spMkLst>
            <pc:docMk/>
            <pc:sldMk cId="2365006287" sldId="2193"/>
            <ac:spMk id="254" creationId="{5C6F5702-5102-42BA-987D-E7B0AA7A99F5}"/>
          </ac:spMkLst>
        </pc:spChg>
        <pc:spChg chg="mod">
          <ac:chgData name="Aurelien Domont" userId="6da7715ce44349b3" providerId="LiveId" clId="{AFF9B0D5-CA7D-40FB-964A-23276295459E}" dt="2021-07-06T04:55:27.110" v="6436" actId="207"/>
          <ac:spMkLst>
            <pc:docMk/>
            <pc:sldMk cId="2365006287" sldId="2193"/>
            <ac:spMk id="255" creationId="{1DAAAD97-AE64-4EA0-95F4-DD6481A8F3FB}"/>
          </ac:spMkLst>
        </pc:spChg>
        <pc:spChg chg="mod">
          <ac:chgData name="Aurelien Domont" userId="6da7715ce44349b3" providerId="LiveId" clId="{AFF9B0D5-CA7D-40FB-964A-23276295459E}" dt="2021-07-06T04:55:27.110" v="6436" actId="207"/>
          <ac:spMkLst>
            <pc:docMk/>
            <pc:sldMk cId="2365006287" sldId="2193"/>
            <ac:spMk id="256" creationId="{FD77AEA8-D3B9-4B03-AAC1-D84292DB27F0}"/>
          </ac:spMkLst>
        </pc:spChg>
        <pc:spChg chg="mod">
          <ac:chgData name="Aurelien Domont" userId="6da7715ce44349b3" providerId="LiveId" clId="{AFF9B0D5-CA7D-40FB-964A-23276295459E}" dt="2021-07-06T04:55:27.110" v="6436" actId="207"/>
          <ac:spMkLst>
            <pc:docMk/>
            <pc:sldMk cId="2365006287" sldId="2193"/>
            <ac:spMk id="257" creationId="{C127406E-D506-41FE-A862-08B214DF7054}"/>
          </ac:spMkLst>
        </pc:spChg>
        <pc:spChg chg="mod">
          <ac:chgData name="Aurelien Domont" userId="6da7715ce44349b3" providerId="LiveId" clId="{AFF9B0D5-CA7D-40FB-964A-23276295459E}" dt="2021-07-06T04:55:27.110" v="6436" actId="207"/>
          <ac:spMkLst>
            <pc:docMk/>
            <pc:sldMk cId="2365006287" sldId="2193"/>
            <ac:spMk id="258" creationId="{5DDC51BE-2E59-4C3A-8264-BEC5D35F1086}"/>
          </ac:spMkLst>
        </pc:spChg>
        <pc:spChg chg="mod">
          <ac:chgData name="Aurelien Domont" userId="6da7715ce44349b3" providerId="LiveId" clId="{AFF9B0D5-CA7D-40FB-964A-23276295459E}" dt="2021-07-06T04:55:27.110" v="6436" actId="207"/>
          <ac:spMkLst>
            <pc:docMk/>
            <pc:sldMk cId="2365006287" sldId="2193"/>
            <ac:spMk id="259" creationId="{CA2283F1-72A8-46AB-A13B-BA6216774DA7}"/>
          </ac:spMkLst>
        </pc:spChg>
        <pc:spChg chg="mod">
          <ac:chgData name="Aurelien Domont" userId="6da7715ce44349b3" providerId="LiveId" clId="{AFF9B0D5-CA7D-40FB-964A-23276295459E}" dt="2021-07-06T04:55:27.110" v="6436" actId="207"/>
          <ac:spMkLst>
            <pc:docMk/>
            <pc:sldMk cId="2365006287" sldId="2193"/>
            <ac:spMk id="260" creationId="{19CBF73B-27AF-4FD5-B04C-456C7BBDDE93}"/>
          </ac:spMkLst>
        </pc:spChg>
        <pc:spChg chg="mod">
          <ac:chgData name="Aurelien Domont" userId="6da7715ce44349b3" providerId="LiveId" clId="{AFF9B0D5-CA7D-40FB-964A-23276295459E}" dt="2021-07-06T04:55:27.110" v="6436" actId="207"/>
          <ac:spMkLst>
            <pc:docMk/>
            <pc:sldMk cId="2365006287" sldId="2193"/>
            <ac:spMk id="261" creationId="{CB30A25C-C0BC-40C3-85C7-63C06C8CA694}"/>
          </ac:spMkLst>
        </pc:spChg>
        <pc:spChg chg="mod">
          <ac:chgData name="Aurelien Domont" userId="6da7715ce44349b3" providerId="LiveId" clId="{AFF9B0D5-CA7D-40FB-964A-23276295459E}" dt="2021-07-06T04:55:27.110" v="6436" actId="207"/>
          <ac:spMkLst>
            <pc:docMk/>
            <pc:sldMk cId="2365006287" sldId="2193"/>
            <ac:spMk id="262" creationId="{BB2E7AAB-6375-440E-8852-5A60B21E702E}"/>
          </ac:spMkLst>
        </pc:spChg>
        <pc:spChg chg="mod">
          <ac:chgData name="Aurelien Domont" userId="6da7715ce44349b3" providerId="LiveId" clId="{AFF9B0D5-CA7D-40FB-964A-23276295459E}" dt="2021-07-06T04:55:27.110" v="6436" actId="207"/>
          <ac:spMkLst>
            <pc:docMk/>
            <pc:sldMk cId="2365006287" sldId="2193"/>
            <ac:spMk id="263" creationId="{961625A5-71D7-4650-BA45-0A4B47CD917E}"/>
          </ac:spMkLst>
        </pc:spChg>
        <pc:spChg chg="mod">
          <ac:chgData name="Aurelien Domont" userId="6da7715ce44349b3" providerId="LiveId" clId="{AFF9B0D5-CA7D-40FB-964A-23276295459E}" dt="2021-07-06T04:55:27.110" v="6436" actId="207"/>
          <ac:spMkLst>
            <pc:docMk/>
            <pc:sldMk cId="2365006287" sldId="2193"/>
            <ac:spMk id="264" creationId="{448618C1-00F6-490C-AD92-E80B56FBF251}"/>
          </ac:spMkLst>
        </pc:spChg>
        <pc:spChg chg="mod">
          <ac:chgData name="Aurelien Domont" userId="6da7715ce44349b3" providerId="LiveId" clId="{AFF9B0D5-CA7D-40FB-964A-23276295459E}" dt="2021-07-06T04:55:27.110" v="6436" actId="207"/>
          <ac:spMkLst>
            <pc:docMk/>
            <pc:sldMk cId="2365006287" sldId="2193"/>
            <ac:spMk id="265" creationId="{AE388402-2123-4899-BB6F-5DEB0273117E}"/>
          </ac:spMkLst>
        </pc:spChg>
        <pc:spChg chg="mod">
          <ac:chgData name="Aurelien Domont" userId="6da7715ce44349b3" providerId="LiveId" clId="{AFF9B0D5-CA7D-40FB-964A-23276295459E}" dt="2021-07-06T04:55:27.110" v="6436" actId="207"/>
          <ac:spMkLst>
            <pc:docMk/>
            <pc:sldMk cId="2365006287" sldId="2193"/>
            <ac:spMk id="266" creationId="{CC680189-A550-4858-B692-80EA0F57D67A}"/>
          </ac:spMkLst>
        </pc:spChg>
        <pc:spChg chg="mod">
          <ac:chgData name="Aurelien Domont" userId="6da7715ce44349b3" providerId="LiveId" clId="{AFF9B0D5-CA7D-40FB-964A-23276295459E}" dt="2021-07-06T04:55:27.110" v="6436" actId="207"/>
          <ac:spMkLst>
            <pc:docMk/>
            <pc:sldMk cId="2365006287" sldId="2193"/>
            <ac:spMk id="267" creationId="{BEC58D69-1743-401D-995B-3DABB105C38E}"/>
          </ac:spMkLst>
        </pc:spChg>
        <pc:spChg chg="mod">
          <ac:chgData name="Aurelien Domont" userId="6da7715ce44349b3" providerId="LiveId" clId="{AFF9B0D5-CA7D-40FB-964A-23276295459E}" dt="2021-07-06T04:55:27.110" v="6436" actId="207"/>
          <ac:spMkLst>
            <pc:docMk/>
            <pc:sldMk cId="2365006287" sldId="2193"/>
            <ac:spMk id="268" creationId="{B2308CBA-51DB-4327-8C83-430D1BC9B381}"/>
          </ac:spMkLst>
        </pc:spChg>
        <pc:spChg chg="mod">
          <ac:chgData name="Aurelien Domont" userId="6da7715ce44349b3" providerId="LiveId" clId="{AFF9B0D5-CA7D-40FB-964A-23276295459E}" dt="2021-07-06T04:55:27.110" v="6436" actId="207"/>
          <ac:spMkLst>
            <pc:docMk/>
            <pc:sldMk cId="2365006287" sldId="2193"/>
            <ac:spMk id="269" creationId="{02D02326-76F8-489F-902D-E13229606DF4}"/>
          </ac:spMkLst>
        </pc:spChg>
        <pc:spChg chg="mod">
          <ac:chgData name="Aurelien Domont" userId="6da7715ce44349b3" providerId="LiveId" clId="{AFF9B0D5-CA7D-40FB-964A-23276295459E}" dt="2021-07-06T04:55:27.110" v="6436" actId="207"/>
          <ac:spMkLst>
            <pc:docMk/>
            <pc:sldMk cId="2365006287" sldId="2193"/>
            <ac:spMk id="270" creationId="{82A7A041-2D44-4311-932E-FF002429C68A}"/>
          </ac:spMkLst>
        </pc:spChg>
        <pc:spChg chg="mod">
          <ac:chgData name="Aurelien Domont" userId="6da7715ce44349b3" providerId="LiveId" clId="{AFF9B0D5-CA7D-40FB-964A-23276295459E}" dt="2021-07-06T04:55:27.110" v="6436" actId="207"/>
          <ac:spMkLst>
            <pc:docMk/>
            <pc:sldMk cId="2365006287" sldId="2193"/>
            <ac:spMk id="271" creationId="{B75C87F4-4973-47EC-BF93-3A8A98330813}"/>
          </ac:spMkLst>
        </pc:spChg>
        <pc:spChg chg="mod">
          <ac:chgData name="Aurelien Domont" userId="6da7715ce44349b3" providerId="LiveId" clId="{AFF9B0D5-CA7D-40FB-964A-23276295459E}" dt="2021-07-06T04:55:27.110" v="6436" actId="207"/>
          <ac:spMkLst>
            <pc:docMk/>
            <pc:sldMk cId="2365006287" sldId="2193"/>
            <ac:spMk id="272" creationId="{C9320842-AFED-47CC-94CD-949B95E4D937}"/>
          </ac:spMkLst>
        </pc:spChg>
        <pc:spChg chg="mod">
          <ac:chgData name="Aurelien Domont" userId="6da7715ce44349b3" providerId="LiveId" clId="{AFF9B0D5-CA7D-40FB-964A-23276295459E}" dt="2021-07-06T04:55:27.110" v="6436" actId="207"/>
          <ac:spMkLst>
            <pc:docMk/>
            <pc:sldMk cId="2365006287" sldId="2193"/>
            <ac:spMk id="273" creationId="{ED2EA6C0-2417-4198-9D9D-07017AF226EB}"/>
          </ac:spMkLst>
        </pc:spChg>
        <pc:spChg chg="mod">
          <ac:chgData name="Aurelien Domont" userId="6da7715ce44349b3" providerId="LiveId" clId="{AFF9B0D5-CA7D-40FB-964A-23276295459E}" dt="2021-07-06T04:55:27.110" v="6436" actId="207"/>
          <ac:spMkLst>
            <pc:docMk/>
            <pc:sldMk cId="2365006287" sldId="2193"/>
            <ac:spMk id="274" creationId="{98B7D588-D563-4CB9-B794-36C95C9DD022}"/>
          </ac:spMkLst>
        </pc:spChg>
        <pc:spChg chg="mod">
          <ac:chgData name="Aurelien Domont" userId="6da7715ce44349b3" providerId="LiveId" clId="{AFF9B0D5-CA7D-40FB-964A-23276295459E}" dt="2021-07-06T04:55:27.110" v="6436" actId="207"/>
          <ac:spMkLst>
            <pc:docMk/>
            <pc:sldMk cId="2365006287" sldId="2193"/>
            <ac:spMk id="275" creationId="{BB8E45AA-5429-4C1A-B292-889E0D29C23D}"/>
          </ac:spMkLst>
        </pc:spChg>
        <pc:spChg chg="mod">
          <ac:chgData name="Aurelien Domont" userId="6da7715ce44349b3" providerId="LiveId" clId="{AFF9B0D5-CA7D-40FB-964A-23276295459E}" dt="2021-07-06T04:55:27.110" v="6436" actId="207"/>
          <ac:spMkLst>
            <pc:docMk/>
            <pc:sldMk cId="2365006287" sldId="2193"/>
            <ac:spMk id="276" creationId="{6D62197F-F232-483F-BD40-DE7097ED8BCC}"/>
          </ac:spMkLst>
        </pc:spChg>
        <pc:spChg chg="mod">
          <ac:chgData name="Aurelien Domont" userId="6da7715ce44349b3" providerId="LiveId" clId="{AFF9B0D5-CA7D-40FB-964A-23276295459E}" dt="2021-07-06T04:55:27.110" v="6436" actId="207"/>
          <ac:spMkLst>
            <pc:docMk/>
            <pc:sldMk cId="2365006287" sldId="2193"/>
            <ac:spMk id="277" creationId="{D18B01B6-7A89-49E8-ACED-449071B54FF2}"/>
          </ac:spMkLst>
        </pc:spChg>
        <pc:spChg chg="mod">
          <ac:chgData name="Aurelien Domont" userId="6da7715ce44349b3" providerId="LiveId" clId="{AFF9B0D5-CA7D-40FB-964A-23276295459E}" dt="2021-07-06T04:55:27.110" v="6436" actId="207"/>
          <ac:spMkLst>
            <pc:docMk/>
            <pc:sldMk cId="2365006287" sldId="2193"/>
            <ac:spMk id="278" creationId="{F69E19C1-53F0-4BF5-81BD-52D5EE13A71E}"/>
          </ac:spMkLst>
        </pc:spChg>
        <pc:spChg chg="mod">
          <ac:chgData name="Aurelien Domont" userId="6da7715ce44349b3" providerId="LiveId" clId="{AFF9B0D5-CA7D-40FB-964A-23276295459E}" dt="2021-07-06T04:55:27.110" v="6436" actId="207"/>
          <ac:spMkLst>
            <pc:docMk/>
            <pc:sldMk cId="2365006287" sldId="2193"/>
            <ac:spMk id="279" creationId="{264919A1-9FA5-47E9-AE8B-4EC40CDB2256}"/>
          </ac:spMkLst>
        </pc:spChg>
        <pc:spChg chg="mod">
          <ac:chgData name="Aurelien Domont" userId="6da7715ce44349b3" providerId="LiveId" clId="{AFF9B0D5-CA7D-40FB-964A-23276295459E}" dt="2021-07-06T04:55:27.110" v="6436" actId="207"/>
          <ac:spMkLst>
            <pc:docMk/>
            <pc:sldMk cId="2365006287" sldId="2193"/>
            <ac:spMk id="280" creationId="{E4146AC9-FAA9-4FDA-B045-443AC2FD4ACF}"/>
          </ac:spMkLst>
        </pc:spChg>
        <pc:spChg chg="mod">
          <ac:chgData name="Aurelien Domont" userId="6da7715ce44349b3" providerId="LiveId" clId="{AFF9B0D5-CA7D-40FB-964A-23276295459E}" dt="2021-07-06T04:55:27.110" v="6436" actId="207"/>
          <ac:spMkLst>
            <pc:docMk/>
            <pc:sldMk cId="2365006287" sldId="2193"/>
            <ac:spMk id="281" creationId="{F23081F6-AB2E-4599-AF93-E2918EB05AAA}"/>
          </ac:spMkLst>
        </pc:spChg>
        <pc:spChg chg="mod">
          <ac:chgData name="Aurelien Domont" userId="6da7715ce44349b3" providerId="LiveId" clId="{AFF9B0D5-CA7D-40FB-964A-23276295459E}" dt="2021-07-06T04:55:27.110" v="6436" actId="207"/>
          <ac:spMkLst>
            <pc:docMk/>
            <pc:sldMk cId="2365006287" sldId="2193"/>
            <ac:spMk id="282" creationId="{DE94D9E9-CBB8-44AA-A4E5-8CE0C707EF6C}"/>
          </ac:spMkLst>
        </pc:spChg>
        <pc:spChg chg="mod">
          <ac:chgData name="Aurelien Domont" userId="6da7715ce44349b3" providerId="LiveId" clId="{AFF9B0D5-CA7D-40FB-964A-23276295459E}" dt="2021-07-06T04:55:27.110" v="6436" actId="207"/>
          <ac:spMkLst>
            <pc:docMk/>
            <pc:sldMk cId="2365006287" sldId="2193"/>
            <ac:spMk id="283" creationId="{8B25ABEE-9536-4BE8-94F1-AAD91DBA02D5}"/>
          </ac:spMkLst>
        </pc:spChg>
        <pc:spChg chg="mod">
          <ac:chgData name="Aurelien Domont" userId="6da7715ce44349b3" providerId="LiveId" clId="{AFF9B0D5-CA7D-40FB-964A-23276295459E}" dt="2021-07-06T04:55:27.110" v="6436" actId="207"/>
          <ac:spMkLst>
            <pc:docMk/>
            <pc:sldMk cId="2365006287" sldId="2193"/>
            <ac:spMk id="284" creationId="{1D668561-C8ED-4D80-BF96-03CE41435EEC}"/>
          </ac:spMkLst>
        </pc:spChg>
        <pc:spChg chg="mod">
          <ac:chgData name="Aurelien Domont" userId="6da7715ce44349b3" providerId="LiveId" clId="{AFF9B0D5-CA7D-40FB-964A-23276295459E}" dt="2021-07-06T04:55:27.110" v="6436" actId="207"/>
          <ac:spMkLst>
            <pc:docMk/>
            <pc:sldMk cId="2365006287" sldId="2193"/>
            <ac:spMk id="285" creationId="{98B10F92-DA53-484B-8844-DE36C140D00E}"/>
          </ac:spMkLst>
        </pc:spChg>
        <pc:spChg chg="mod">
          <ac:chgData name="Aurelien Domont" userId="6da7715ce44349b3" providerId="LiveId" clId="{AFF9B0D5-CA7D-40FB-964A-23276295459E}" dt="2021-07-06T04:55:27.110" v="6436" actId="207"/>
          <ac:spMkLst>
            <pc:docMk/>
            <pc:sldMk cId="2365006287" sldId="2193"/>
            <ac:spMk id="286" creationId="{70B179E6-E53C-48F0-874F-640E3D3516FA}"/>
          </ac:spMkLst>
        </pc:spChg>
        <pc:spChg chg="add del mod">
          <ac:chgData name="Aurelien Domont" userId="6da7715ce44349b3" providerId="LiveId" clId="{AFF9B0D5-CA7D-40FB-964A-23276295459E}" dt="2021-07-06T04:55:36.891" v="6440" actId="478"/>
          <ac:spMkLst>
            <pc:docMk/>
            <pc:sldMk cId="2365006287" sldId="2193"/>
            <ac:spMk id="287" creationId="{CF08BEEC-A553-4644-B181-2A8A18463B96}"/>
          </ac:spMkLst>
        </pc:spChg>
        <pc:grpChg chg="mod">
          <ac:chgData name="Aurelien Domont" userId="6da7715ce44349b3" providerId="LiveId" clId="{AFF9B0D5-CA7D-40FB-964A-23276295459E}" dt="2021-07-06T04:55:27.110" v="6436" actId="207"/>
          <ac:grpSpMkLst>
            <pc:docMk/>
            <pc:sldMk cId="2365006287" sldId="2193"/>
            <ac:grpSpMk id="15" creationId="{9C0E45AE-B2E6-4B14-B298-BE405EA25E84}"/>
          </ac:grpSpMkLst>
        </pc:grpChg>
        <pc:grpChg chg="mod">
          <ac:chgData name="Aurelien Domont" userId="6da7715ce44349b3" providerId="LiveId" clId="{AFF9B0D5-CA7D-40FB-964A-23276295459E}" dt="2021-07-06T04:55:27.110" v="6436" actId="207"/>
          <ac:grpSpMkLst>
            <pc:docMk/>
            <pc:sldMk cId="2365006287" sldId="2193"/>
            <ac:grpSpMk id="17" creationId="{D7FD3650-AC39-4106-8A94-C39AD36375A5}"/>
          </ac:grpSpMkLst>
        </pc:grpChg>
        <pc:grpChg chg="mod">
          <ac:chgData name="Aurelien Domont" userId="6da7715ce44349b3" providerId="LiveId" clId="{AFF9B0D5-CA7D-40FB-964A-23276295459E}" dt="2021-07-06T04:55:27.110" v="6436" actId="207"/>
          <ac:grpSpMkLst>
            <pc:docMk/>
            <pc:sldMk cId="2365006287" sldId="2193"/>
            <ac:grpSpMk id="21" creationId="{968782E9-CA2E-480E-8CE1-A8E01F2D48CD}"/>
          </ac:grpSpMkLst>
        </pc:grpChg>
        <pc:grpChg chg="mod">
          <ac:chgData name="Aurelien Domont" userId="6da7715ce44349b3" providerId="LiveId" clId="{AFF9B0D5-CA7D-40FB-964A-23276295459E}" dt="2021-07-06T04:55:27.110" v="6436" actId="207"/>
          <ac:grpSpMkLst>
            <pc:docMk/>
            <pc:sldMk cId="2365006287" sldId="2193"/>
            <ac:grpSpMk id="28" creationId="{EE95D2F9-12D6-4383-9822-1B3404DCE0BA}"/>
          </ac:grpSpMkLst>
        </pc:grpChg>
        <pc:grpChg chg="mod">
          <ac:chgData name="Aurelien Domont" userId="6da7715ce44349b3" providerId="LiveId" clId="{AFF9B0D5-CA7D-40FB-964A-23276295459E}" dt="2021-07-06T04:55:27.110" v="6436" actId="207"/>
          <ac:grpSpMkLst>
            <pc:docMk/>
            <pc:sldMk cId="2365006287" sldId="2193"/>
            <ac:grpSpMk id="32" creationId="{C2AA4E4D-F099-4B69-BB71-8D05B53DA0FD}"/>
          </ac:grpSpMkLst>
        </pc:grpChg>
        <pc:grpChg chg="mod">
          <ac:chgData name="Aurelien Domont" userId="6da7715ce44349b3" providerId="LiveId" clId="{AFF9B0D5-CA7D-40FB-964A-23276295459E}" dt="2021-07-06T04:55:27.110" v="6436" actId="207"/>
          <ac:grpSpMkLst>
            <pc:docMk/>
            <pc:sldMk cId="2365006287" sldId="2193"/>
            <ac:grpSpMk id="36" creationId="{52771FB2-67D6-4FCE-A682-36315160C6EE}"/>
          </ac:grpSpMkLst>
        </pc:grpChg>
        <pc:grpChg chg="mod">
          <ac:chgData name="Aurelien Domont" userId="6da7715ce44349b3" providerId="LiveId" clId="{AFF9B0D5-CA7D-40FB-964A-23276295459E}" dt="2021-07-06T04:55:27.110" v="6436" actId="207"/>
          <ac:grpSpMkLst>
            <pc:docMk/>
            <pc:sldMk cId="2365006287" sldId="2193"/>
            <ac:grpSpMk id="43" creationId="{0D073FB2-9887-4DC7-9A8E-55301515F760}"/>
          </ac:grpSpMkLst>
        </pc:grpChg>
        <pc:grpChg chg="mod">
          <ac:chgData name="Aurelien Domont" userId="6da7715ce44349b3" providerId="LiveId" clId="{AFF9B0D5-CA7D-40FB-964A-23276295459E}" dt="2021-07-06T04:55:27.110" v="6436" actId="207"/>
          <ac:grpSpMkLst>
            <pc:docMk/>
            <pc:sldMk cId="2365006287" sldId="2193"/>
            <ac:grpSpMk id="45" creationId="{7C8F2046-8479-458F-BD6E-6311EC3DBB77}"/>
          </ac:grpSpMkLst>
        </pc:grpChg>
        <pc:grpChg chg="mod">
          <ac:chgData name="Aurelien Domont" userId="6da7715ce44349b3" providerId="LiveId" clId="{AFF9B0D5-CA7D-40FB-964A-23276295459E}" dt="2021-07-06T04:55:27.110" v="6436" actId="207"/>
          <ac:grpSpMkLst>
            <pc:docMk/>
            <pc:sldMk cId="2365006287" sldId="2193"/>
            <ac:grpSpMk id="46" creationId="{C326D45F-63EE-4C85-9BB1-455E811D4BF3}"/>
          </ac:grpSpMkLst>
        </pc:grpChg>
        <pc:grpChg chg="mod">
          <ac:chgData name="Aurelien Domont" userId="6da7715ce44349b3" providerId="LiveId" clId="{AFF9B0D5-CA7D-40FB-964A-23276295459E}" dt="2021-07-06T04:55:27.110" v="6436" actId="207"/>
          <ac:grpSpMkLst>
            <pc:docMk/>
            <pc:sldMk cId="2365006287" sldId="2193"/>
            <ac:grpSpMk id="61" creationId="{F9192B0A-60BC-458A-A90A-64E6BCF7B168}"/>
          </ac:grpSpMkLst>
        </pc:grpChg>
        <pc:grpChg chg="mod">
          <ac:chgData name="Aurelien Domont" userId="6da7715ce44349b3" providerId="LiveId" clId="{AFF9B0D5-CA7D-40FB-964A-23276295459E}" dt="2021-07-06T04:55:27.110" v="6436" actId="207"/>
          <ac:grpSpMkLst>
            <pc:docMk/>
            <pc:sldMk cId="2365006287" sldId="2193"/>
            <ac:grpSpMk id="124" creationId="{3F59DADE-E8D8-4B62-87BA-E7852DAF2A4A}"/>
          </ac:grpSpMkLst>
        </pc:grpChg>
        <pc:grpChg chg="mod">
          <ac:chgData name="Aurelien Domont" userId="6da7715ce44349b3" providerId="LiveId" clId="{AFF9B0D5-CA7D-40FB-964A-23276295459E}" dt="2021-07-06T04:55:27.110" v="6436" actId="207"/>
          <ac:grpSpMkLst>
            <pc:docMk/>
            <pc:sldMk cId="2365006287" sldId="2193"/>
            <ac:grpSpMk id="126" creationId="{695ED9C2-44C8-42C0-98F4-CDFA0A6FAB71}"/>
          </ac:grpSpMkLst>
        </pc:grpChg>
        <pc:grpChg chg="mod">
          <ac:chgData name="Aurelien Domont" userId="6da7715ce44349b3" providerId="LiveId" clId="{AFF9B0D5-CA7D-40FB-964A-23276295459E}" dt="2021-07-06T04:55:27.110" v="6436" actId="207"/>
          <ac:grpSpMkLst>
            <pc:docMk/>
            <pc:sldMk cId="2365006287" sldId="2193"/>
            <ac:grpSpMk id="128" creationId="{0CE860CB-0ACE-499B-B341-E9BAB83D7E19}"/>
          </ac:grpSpMkLst>
        </pc:grpChg>
        <pc:grpChg chg="mod">
          <ac:chgData name="Aurelien Domont" userId="6da7715ce44349b3" providerId="LiveId" clId="{AFF9B0D5-CA7D-40FB-964A-23276295459E}" dt="2021-07-06T04:55:27.110" v="6436" actId="207"/>
          <ac:grpSpMkLst>
            <pc:docMk/>
            <pc:sldMk cId="2365006287" sldId="2193"/>
            <ac:grpSpMk id="130" creationId="{C92112EC-D917-45DB-AC30-F792AAB9BB01}"/>
          </ac:grpSpMkLst>
        </pc:grpChg>
        <pc:grpChg chg="mod">
          <ac:chgData name="Aurelien Domont" userId="6da7715ce44349b3" providerId="LiveId" clId="{AFF9B0D5-CA7D-40FB-964A-23276295459E}" dt="2021-07-06T04:55:27.110" v="6436" actId="207"/>
          <ac:grpSpMkLst>
            <pc:docMk/>
            <pc:sldMk cId="2365006287" sldId="2193"/>
            <ac:grpSpMk id="141" creationId="{BF9644D1-2144-4F03-A2EB-F31C8C23F2B8}"/>
          </ac:grpSpMkLst>
        </pc:grpChg>
      </pc:sldChg>
      <pc:sldChg chg="add del">
        <pc:chgData name="Aurelien Domont" userId="6da7715ce44349b3" providerId="LiveId" clId="{AFF9B0D5-CA7D-40FB-964A-23276295459E}" dt="2021-07-06T05:45:33.756" v="7160" actId="47"/>
        <pc:sldMkLst>
          <pc:docMk/>
          <pc:sldMk cId="1733001810" sldId="2194"/>
        </pc:sldMkLst>
      </pc:sldChg>
      <pc:sldChg chg="addSp modSp add del mod">
        <pc:chgData name="Aurelien Domont" userId="6da7715ce44349b3" providerId="LiveId" clId="{AFF9B0D5-CA7D-40FB-964A-23276295459E}" dt="2021-07-06T05:45:33.756" v="7160" actId="47"/>
        <pc:sldMkLst>
          <pc:docMk/>
          <pc:sldMk cId="426468274" sldId="2195"/>
        </pc:sldMkLst>
        <pc:spChg chg="mod">
          <ac:chgData name="Aurelien Domont" userId="6da7715ce44349b3" providerId="LiveId" clId="{AFF9B0D5-CA7D-40FB-964A-23276295459E}" dt="2021-07-06T05:22:24.863" v="6856" actId="14100"/>
          <ac:spMkLst>
            <pc:docMk/>
            <pc:sldMk cId="426468274" sldId="2195"/>
            <ac:spMk id="28" creationId="{9890D867-710A-4021-80A0-9EDD68F8268E}"/>
          </ac:spMkLst>
        </pc:spChg>
        <pc:picChg chg="add mod">
          <ac:chgData name="Aurelien Domont" userId="6da7715ce44349b3" providerId="LiveId" clId="{AFF9B0D5-CA7D-40FB-964A-23276295459E}" dt="2021-07-06T05:22:10.919" v="6829" actId="1076"/>
          <ac:picMkLst>
            <pc:docMk/>
            <pc:sldMk cId="426468274" sldId="2195"/>
            <ac:picMk id="317" creationId="{2F450989-A408-4375-9CF4-35729A5A3E3C}"/>
          </ac:picMkLst>
        </pc:picChg>
      </pc:sldChg>
      <pc:sldChg chg="add del">
        <pc:chgData name="Aurelien Domont" userId="6da7715ce44349b3" providerId="LiveId" clId="{AFF9B0D5-CA7D-40FB-964A-23276295459E}" dt="2021-07-06T05:45:33.756" v="7160" actId="47"/>
        <pc:sldMkLst>
          <pc:docMk/>
          <pc:sldMk cId="3615286702" sldId="2196"/>
        </pc:sldMkLst>
      </pc:sldChg>
    </pc:docChg>
  </pc:docChgLst>
  <pc:docChgLst>
    <pc:chgData name="Aurelien Domont" userId="6da7715ce44349b3" providerId="LiveId" clId="{9DB28F03-1A25-4A4E-9946-97135BA1FDC9}"/>
    <pc:docChg chg="undo custSel addSld delSld modSld">
      <pc:chgData name="Aurelien Domont" userId="6da7715ce44349b3" providerId="LiveId" clId="{9DB28F03-1A25-4A4E-9946-97135BA1FDC9}" dt="2021-05-12T07:03:12.756" v="23" actId="20577"/>
      <pc:docMkLst>
        <pc:docMk/>
      </pc:docMkLst>
      <pc:sldChg chg="addSp delSp modSp add del mod">
        <pc:chgData name="Aurelien Domont" userId="6da7715ce44349b3" providerId="LiveId" clId="{9DB28F03-1A25-4A4E-9946-97135BA1FDC9}" dt="2021-05-12T07:03:12.756" v="23" actId="20577"/>
        <pc:sldMkLst>
          <pc:docMk/>
          <pc:sldMk cId="1659127470" sldId="1924"/>
        </pc:sldMkLst>
        <pc:spChg chg="del">
          <ac:chgData name="Aurelien Domont" userId="6da7715ce44349b3" providerId="LiveId" clId="{9DB28F03-1A25-4A4E-9946-97135BA1FDC9}" dt="2021-05-12T07:02:36.244" v="14" actId="478"/>
          <ac:spMkLst>
            <pc:docMk/>
            <pc:sldMk cId="1659127470" sldId="1924"/>
            <ac:spMk id="14" creationId="{493F826D-CCF6-440C-BFA4-C3799A3ED755}"/>
          </ac:spMkLst>
        </pc:spChg>
        <pc:spChg chg="add del mod">
          <ac:chgData name="Aurelien Domont" userId="6da7715ce44349b3" providerId="LiveId" clId="{9DB28F03-1A25-4A4E-9946-97135BA1FDC9}" dt="2021-05-12T07:02:43.931" v="16" actId="478"/>
          <ac:spMkLst>
            <pc:docMk/>
            <pc:sldMk cId="1659127470" sldId="1924"/>
            <ac:spMk id="15" creationId="{8492F43E-A244-4187-9CD1-2A383862A364}"/>
          </ac:spMkLst>
        </pc:spChg>
        <pc:spChg chg="add mod">
          <ac:chgData name="Aurelien Domont" userId="6da7715ce44349b3" providerId="LiveId" clId="{9DB28F03-1A25-4A4E-9946-97135BA1FDC9}" dt="2021-05-12T07:02:40.961" v="15"/>
          <ac:spMkLst>
            <pc:docMk/>
            <pc:sldMk cId="1659127470" sldId="1924"/>
            <ac:spMk id="17" creationId="{469F466A-B940-41E3-B12F-110D72502BCE}"/>
          </ac:spMkLst>
        </pc:spChg>
        <pc:spChg chg="del">
          <ac:chgData name="Aurelien Domont" userId="6da7715ce44349b3" providerId="LiveId" clId="{9DB28F03-1A25-4A4E-9946-97135BA1FDC9}" dt="2021-05-12T07:02:36.244" v="14" actId="478"/>
          <ac:spMkLst>
            <pc:docMk/>
            <pc:sldMk cId="1659127470" sldId="1924"/>
            <ac:spMk id="18" creationId="{0BCD4164-FFCE-447D-8269-E5891A7FEF0D}"/>
          </ac:spMkLst>
        </pc:spChg>
        <pc:spChg chg="del">
          <ac:chgData name="Aurelien Domont" userId="6da7715ce44349b3" providerId="LiveId" clId="{9DB28F03-1A25-4A4E-9946-97135BA1FDC9}" dt="2021-05-12T07:02:36.244" v="14" actId="478"/>
          <ac:spMkLst>
            <pc:docMk/>
            <pc:sldMk cId="1659127470" sldId="1924"/>
            <ac:spMk id="19" creationId="{554EE1B4-E11D-4B37-9F78-B5B5FA8738AA}"/>
          </ac:spMkLst>
        </pc:spChg>
        <pc:spChg chg="add mod">
          <ac:chgData name="Aurelien Domont" userId="6da7715ce44349b3" providerId="LiveId" clId="{9DB28F03-1A25-4A4E-9946-97135BA1FDC9}" dt="2021-05-12T07:02:40.961" v="15"/>
          <ac:spMkLst>
            <pc:docMk/>
            <pc:sldMk cId="1659127470" sldId="1924"/>
            <ac:spMk id="20" creationId="{3A4E6A8C-908C-49FF-9BF8-90A9FC12224D}"/>
          </ac:spMkLst>
        </pc:spChg>
        <pc:spChg chg="add mod">
          <ac:chgData name="Aurelien Domont" userId="6da7715ce44349b3" providerId="LiveId" clId="{9DB28F03-1A25-4A4E-9946-97135BA1FDC9}" dt="2021-05-12T07:02:40.961" v="15"/>
          <ac:spMkLst>
            <pc:docMk/>
            <pc:sldMk cId="1659127470" sldId="1924"/>
            <ac:spMk id="21" creationId="{16FAC062-BB56-4A49-9044-4444E78429DF}"/>
          </ac:spMkLst>
        </pc:spChg>
        <pc:spChg chg="add mod">
          <ac:chgData name="Aurelien Domont" userId="6da7715ce44349b3" providerId="LiveId" clId="{9DB28F03-1A25-4A4E-9946-97135BA1FDC9}" dt="2021-05-12T07:02:40.961" v="15"/>
          <ac:spMkLst>
            <pc:docMk/>
            <pc:sldMk cId="1659127470" sldId="1924"/>
            <ac:spMk id="24" creationId="{95714746-22CF-48C5-AD51-9D9AE6E5F2C8}"/>
          </ac:spMkLst>
        </pc:spChg>
        <pc:spChg chg="add mod">
          <ac:chgData name="Aurelien Domont" userId="6da7715ce44349b3" providerId="LiveId" clId="{9DB28F03-1A25-4A4E-9946-97135BA1FDC9}" dt="2021-05-12T07:03:12.756" v="23" actId="20577"/>
          <ac:spMkLst>
            <pc:docMk/>
            <pc:sldMk cId="1659127470" sldId="1924"/>
            <ac:spMk id="25" creationId="{0B462317-12E0-4745-AFEC-1DF156C5EB17}"/>
          </ac:spMkLst>
        </pc:spChg>
        <pc:spChg chg="add del mod">
          <ac:chgData name="Aurelien Domont" userId="6da7715ce44349b3" providerId="LiveId" clId="{9DB28F03-1A25-4A4E-9946-97135BA1FDC9}" dt="2021-05-12T07:02:51.744" v="19" actId="478"/>
          <ac:spMkLst>
            <pc:docMk/>
            <pc:sldMk cId="1659127470" sldId="1924"/>
            <ac:spMk id="26" creationId="{8207AE42-440E-461F-9002-F8171C2B0FB7}"/>
          </ac:spMkLst>
        </pc:spChg>
        <pc:spChg chg="add del mod">
          <ac:chgData name="Aurelien Domont" userId="6da7715ce44349b3" providerId="LiveId" clId="{9DB28F03-1A25-4A4E-9946-97135BA1FDC9}" dt="2021-05-12T07:02:52.643" v="20" actId="478"/>
          <ac:spMkLst>
            <pc:docMk/>
            <pc:sldMk cId="1659127470" sldId="1924"/>
            <ac:spMk id="27" creationId="{7874958D-3681-4FEB-AF57-767FF2BE43F8}"/>
          </ac:spMkLst>
        </pc:spChg>
        <pc:spChg chg="add del mod">
          <ac:chgData name="Aurelien Domont" userId="6da7715ce44349b3" providerId="LiveId" clId="{9DB28F03-1A25-4A4E-9946-97135BA1FDC9}" dt="2021-05-12T07:02:46.824" v="18" actId="478"/>
          <ac:spMkLst>
            <pc:docMk/>
            <pc:sldMk cId="1659127470" sldId="1924"/>
            <ac:spMk id="28" creationId="{46F541B2-19A4-48FE-BC36-F95AB3359448}"/>
          </ac:spMkLst>
        </pc:spChg>
        <pc:spChg chg="del">
          <ac:chgData name="Aurelien Domont" userId="6da7715ce44349b3" providerId="LiveId" clId="{9DB28F03-1A25-4A4E-9946-97135BA1FDC9}" dt="2021-05-12T07:02:36.244" v="14" actId="478"/>
          <ac:spMkLst>
            <pc:docMk/>
            <pc:sldMk cId="1659127470" sldId="1924"/>
            <ac:spMk id="34" creationId="{E2BDE0B8-90AF-4DE7-A71B-FE78ADE30B55}"/>
          </ac:spMkLst>
        </pc:spChg>
        <pc:spChg chg="del">
          <ac:chgData name="Aurelien Domont" userId="6da7715ce44349b3" providerId="LiveId" clId="{9DB28F03-1A25-4A4E-9946-97135BA1FDC9}" dt="2021-05-12T07:02:36.244" v="14" actId="478"/>
          <ac:spMkLst>
            <pc:docMk/>
            <pc:sldMk cId="1659127470" sldId="1924"/>
            <ac:spMk id="35" creationId="{1BC3B263-81C3-42AD-96C7-45AB7FFD0557}"/>
          </ac:spMkLst>
        </pc:spChg>
        <pc:spChg chg="del">
          <ac:chgData name="Aurelien Domont" userId="6da7715ce44349b3" providerId="LiveId" clId="{9DB28F03-1A25-4A4E-9946-97135BA1FDC9}" dt="2021-05-12T07:02:36.244" v="14" actId="478"/>
          <ac:spMkLst>
            <pc:docMk/>
            <pc:sldMk cId="1659127470" sldId="1924"/>
            <ac:spMk id="36" creationId="{DEACEA99-9E9A-408A-9277-86EFC1C60A69}"/>
          </ac:spMkLst>
        </pc:spChg>
        <pc:cxnChg chg="del">
          <ac:chgData name="Aurelien Domont" userId="6da7715ce44349b3" providerId="LiveId" clId="{9DB28F03-1A25-4A4E-9946-97135BA1FDC9}" dt="2021-05-12T07:02:36.244" v="14" actId="478"/>
          <ac:cxnSpMkLst>
            <pc:docMk/>
            <pc:sldMk cId="1659127470" sldId="1924"/>
            <ac:cxnSpMk id="6" creationId="{91E4FFAB-FF4F-40BB-B034-751A14BFD071}"/>
          </ac:cxnSpMkLst>
        </pc:cxnChg>
        <pc:cxnChg chg="add mod">
          <ac:chgData name="Aurelien Domont" userId="6da7715ce44349b3" providerId="LiveId" clId="{9DB28F03-1A25-4A4E-9946-97135BA1FDC9}" dt="2021-05-12T07:02:40.961" v="15"/>
          <ac:cxnSpMkLst>
            <pc:docMk/>
            <pc:sldMk cId="1659127470" sldId="1924"/>
            <ac:cxnSpMk id="22" creationId="{8F214CF9-01D2-40DC-9D6F-DAC675E238D0}"/>
          </ac:cxnSpMkLst>
        </pc:cxnChg>
        <pc:cxnChg chg="add mod">
          <ac:chgData name="Aurelien Domont" userId="6da7715ce44349b3" providerId="LiveId" clId="{9DB28F03-1A25-4A4E-9946-97135BA1FDC9}" dt="2021-05-12T07:02:40.961" v="15"/>
          <ac:cxnSpMkLst>
            <pc:docMk/>
            <pc:sldMk cId="1659127470" sldId="1924"/>
            <ac:cxnSpMk id="23" creationId="{919B0EFB-7619-4E1E-BC50-B4C9AA07AF7A}"/>
          </ac:cxnSpMkLst>
        </pc:cxnChg>
        <pc:cxnChg chg="del">
          <ac:chgData name="Aurelien Domont" userId="6da7715ce44349b3" providerId="LiveId" clId="{9DB28F03-1A25-4A4E-9946-97135BA1FDC9}" dt="2021-05-12T07:02:36.244" v="14" actId="478"/>
          <ac:cxnSpMkLst>
            <pc:docMk/>
            <pc:sldMk cId="1659127470" sldId="1924"/>
            <ac:cxnSpMk id="33" creationId="{3B31C624-A379-4A7C-8695-3B2B901C5E36}"/>
          </ac:cxnSpMkLst>
        </pc:cxnChg>
      </pc:sldChg>
      <pc:sldChg chg="addSp delSp modSp add del mod">
        <pc:chgData name="Aurelien Domont" userId="6da7715ce44349b3" providerId="LiveId" clId="{9DB28F03-1A25-4A4E-9946-97135BA1FDC9}" dt="2021-05-12T07:02:31.884" v="13"/>
        <pc:sldMkLst>
          <pc:docMk/>
          <pc:sldMk cId="2780470134" sldId="2169"/>
        </pc:sldMkLst>
        <pc:spChg chg="add del">
          <ac:chgData name="Aurelien Domont" userId="6da7715ce44349b3" providerId="LiveId" clId="{9DB28F03-1A25-4A4E-9946-97135BA1FDC9}" dt="2021-05-12T07:02:27.560" v="11" actId="478"/>
          <ac:spMkLst>
            <pc:docMk/>
            <pc:sldMk cId="2780470134" sldId="2169"/>
            <ac:spMk id="4" creationId="{D1930ED8-C851-405B-901E-2CC967E63EEB}"/>
          </ac:spMkLst>
        </pc:spChg>
        <pc:spChg chg="add del">
          <ac:chgData name="Aurelien Domont" userId="6da7715ce44349b3" providerId="LiveId" clId="{9DB28F03-1A25-4A4E-9946-97135BA1FDC9}" dt="2021-05-12T07:02:27.560" v="11" actId="478"/>
          <ac:spMkLst>
            <pc:docMk/>
            <pc:sldMk cId="2780470134" sldId="2169"/>
            <ac:spMk id="15" creationId="{A49EC62A-DF00-4CF2-94E8-C5D0BE35FC0B}"/>
          </ac:spMkLst>
        </pc:spChg>
        <pc:spChg chg="add del mod">
          <ac:chgData name="Aurelien Domont" userId="6da7715ce44349b3" providerId="LiveId" clId="{9DB28F03-1A25-4A4E-9946-97135BA1FDC9}" dt="2021-05-12T07:02:27.277" v="10" actId="1076"/>
          <ac:spMkLst>
            <pc:docMk/>
            <pc:sldMk cId="2780470134" sldId="2169"/>
            <ac:spMk id="17" creationId="{3B83C0B2-844F-4168-BE85-BA50DF2BED24}"/>
          </ac:spMkLst>
        </pc:spChg>
        <pc:spChg chg="add del">
          <ac:chgData name="Aurelien Domont" userId="6da7715ce44349b3" providerId="LiveId" clId="{9DB28F03-1A25-4A4E-9946-97135BA1FDC9}" dt="2021-05-12T07:02:15.133" v="6" actId="478"/>
          <ac:spMkLst>
            <pc:docMk/>
            <pc:sldMk cId="2780470134" sldId="2169"/>
            <ac:spMk id="35" creationId="{1BC3B263-81C3-42AD-96C7-45AB7FFD0557}"/>
          </ac:spMkLst>
        </pc:spChg>
      </pc:sldChg>
    </pc:docChg>
  </pc:docChgLst>
  <pc:docChgLst>
    <pc:chgData name="Aurelien Domont" userId="6da7715ce44349b3" providerId="LiveId" clId="{C18CC5C4-3AAC-491D-9097-885406CBF5DB}"/>
    <pc:docChg chg="custSel addSld delSld modSld">
      <pc:chgData name="Aurelien Domont" userId="6da7715ce44349b3" providerId="LiveId" clId="{C18CC5C4-3AAC-491D-9097-885406CBF5DB}" dt="2021-05-04T04:11:38.160" v="272" actId="478"/>
      <pc:docMkLst>
        <pc:docMk/>
      </pc:docMkLst>
      <pc:sldChg chg="modSp mod">
        <pc:chgData name="Aurelien Domont" userId="6da7715ce44349b3" providerId="LiveId" clId="{C18CC5C4-3AAC-491D-9097-885406CBF5DB}" dt="2021-05-04T03:22:26.865" v="21" actId="20577"/>
        <pc:sldMkLst>
          <pc:docMk/>
          <pc:sldMk cId="3131901387" sldId="256"/>
        </pc:sldMkLst>
        <pc:spChg chg="mod">
          <ac:chgData name="Aurelien Domont" userId="6da7715ce44349b3" providerId="LiveId" clId="{C18CC5C4-3AAC-491D-9097-885406CBF5DB}" dt="2021-05-04T03:22:26.865" v="21" actId="20577"/>
          <ac:spMkLst>
            <pc:docMk/>
            <pc:sldMk cId="3131901387" sldId="256"/>
            <ac:spMk id="2" creationId="{5261080C-C60C-4746-B6B1-A9A4FFA86785}"/>
          </ac:spMkLst>
        </pc:spChg>
      </pc:sldChg>
      <pc:sldChg chg="del">
        <pc:chgData name="Aurelien Domont" userId="6da7715ce44349b3" providerId="LiveId" clId="{C18CC5C4-3AAC-491D-9097-885406CBF5DB}" dt="2021-05-04T03:29:51.423" v="270" actId="47"/>
        <pc:sldMkLst>
          <pc:docMk/>
          <pc:sldMk cId="3692499981" sldId="1597"/>
        </pc:sldMkLst>
      </pc:sldChg>
      <pc:sldChg chg="del">
        <pc:chgData name="Aurelien Domont" userId="6da7715ce44349b3" providerId="LiveId" clId="{C18CC5C4-3AAC-491D-9097-885406CBF5DB}" dt="2021-05-04T03:29:41.764" v="269" actId="47"/>
        <pc:sldMkLst>
          <pc:docMk/>
          <pc:sldMk cId="1754585881" sldId="1598"/>
        </pc:sldMkLst>
      </pc:sldChg>
      <pc:sldChg chg="del">
        <pc:chgData name="Aurelien Domont" userId="6da7715ce44349b3" providerId="LiveId" clId="{C18CC5C4-3AAC-491D-9097-885406CBF5DB}" dt="2021-05-04T03:29:41.764" v="269" actId="47"/>
        <pc:sldMkLst>
          <pc:docMk/>
          <pc:sldMk cId="748962572" sldId="1599"/>
        </pc:sldMkLst>
      </pc:sldChg>
      <pc:sldChg chg="del">
        <pc:chgData name="Aurelien Domont" userId="6da7715ce44349b3" providerId="LiveId" clId="{C18CC5C4-3AAC-491D-9097-885406CBF5DB}" dt="2021-05-04T03:29:41.764" v="269" actId="47"/>
        <pc:sldMkLst>
          <pc:docMk/>
          <pc:sldMk cId="2853806433" sldId="1600"/>
        </pc:sldMkLst>
      </pc:sldChg>
      <pc:sldChg chg="modSp mod">
        <pc:chgData name="Aurelien Domont" userId="6da7715ce44349b3" providerId="LiveId" clId="{C18CC5C4-3AAC-491D-9097-885406CBF5DB}" dt="2021-05-04T03:28:04.054" v="247" actId="20577"/>
        <pc:sldMkLst>
          <pc:docMk/>
          <pc:sldMk cId="3324303879" sldId="1917"/>
        </pc:sldMkLst>
        <pc:spChg chg="mod">
          <ac:chgData name="Aurelien Domont" userId="6da7715ce44349b3" providerId="LiveId" clId="{C18CC5C4-3AAC-491D-9097-885406CBF5DB}" dt="2021-05-04T03:28:04.054" v="247" actId="20577"/>
          <ac:spMkLst>
            <pc:docMk/>
            <pc:sldMk cId="3324303879" sldId="1917"/>
            <ac:spMk id="14" creationId="{956AA4B1-A1E2-4421-8BDC-FFA14C801B6B}"/>
          </ac:spMkLst>
        </pc:spChg>
        <pc:spChg chg="mod">
          <ac:chgData name="Aurelien Domont" userId="6da7715ce44349b3" providerId="LiveId" clId="{C18CC5C4-3AAC-491D-9097-885406CBF5DB}" dt="2021-05-04T03:24:41.474" v="69" actId="20577"/>
          <ac:spMkLst>
            <pc:docMk/>
            <pc:sldMk cId="3324303879" sldId="1917"/>
            <ac:spMk id="16" creationId="{6C2BB713-9637-4B9B-938F-E9768876782A}"/>
          </ac:spMkLst>
        </pc:spChg>
      </pc:sldChg>
      <pc:sldChg chg="modSp mod">
        <pc:chgData name="Aurelien Domont" userId="6da7715ce44349b3" providerId="LiveId" clId="{C18CC5C4-3AAC-491D-9097-885406CBF5DB}" dt="2021-05-04T03:24:04.586" v="51" actId="313"/>
        <pc:sldMkLst>
          <pc:docMk/>
          <pc:sldMk cId="1872329668" sldId="1923"/>
        </pc:sldMkLst>
        <pc:spChg chg="mod">
          <ac:chgData name="Aurelien Domont" userId="6da7715ce44349b3" providerId="LiveId" clId="{C18CC5C4-3AAC-491D-9097-885406CBF5DB}" dt="2021-05-04T03:24:04.586" v="51" actId="313"/>
          <ac:spMkLst>
            <pc:docMk/>
            <pc:sldMk cId="1872329668" sldId="1923"/>
            <ac:spMk id="14" creationId="{C9800183-F524-4412-AB39-A6E1A21FF0B3}"/>
          </ac:spMkLst>
        </pc:spChg>
      </pc:sldChg>
      <pc:sldChg chg="delSp modSp mod">
        <pc:chgData name="Aurelien Domont" userId="6da7715ce44349b3" providerId="LiveId" clId="{C18CC5C4-3AAC-491D-9097-885406CBF5DB}" dt="2021-05-04T04:11:38.160" v="272" actId="478"/>
        <pc:sldMkLst>
          <pc:docMk/>
          <pc:sldMk cId="1659127470" sldId="1924"/>
        </pc:sldMkLst>
        <pc:spChg chg="del">
          <ac:chgData name="Aurelien Domont" userId="6da7715ce44349b3" providerId="LiveId" clId="{C18CC5C4-3AAC-491D-9097-885406CBF5DB}" dt="2021-05-04T04:11:38.160" v="272" actId="478"/>
          <ac:spMkLst>
            <pc:docMk/>
            <pc:sldMk cId="1659127470" sldId="1924"/>
            <ac:spMk id="2" creationId="{47EAB931-197A-40BB-B426-D6D65C61BAA2}"/>
          </ac:spMkLst>
        </pc:spChg>
        <pc:spChg chg="mod">
          <ac:chgData name="Aurelien Domont" userId="6da7715ce44349b3" providerId="LiveId" clId="{C18CC5C4-3AAC-491D-9097-885406CBF5DB}" dt="2021-05-04T03:28:53.465" v="267" actId="20577"/>
          <ac:spMkLst>
            <pc:docMk/>
            <pc:sldMk cId="1659127470" sldId="1924"/>
            <ac:spMk id="16" creationId="{6C2BB713-9637-4B9B-938F-E9768876782A}"/>
          </ac:spMkLst>
        </pc:spChg>
      </pc:sldChg>
      <pc:sldChg chg="add">
        <pc:chgData name="Aurelien Domont" userId="6da7715ce44349b3" providerId="LiveId" clId="{C18CC5C4-3AAC-491D-9097-885406CBF5DB}" dt="2021-05-04T03:29:39.341" v="268"/>
        <pc:sldMkLst>
          <pc:docMk/>
          <pc:sldMk cId="3274212698" sldId="1925"/>
        </pc:sldMkLst>
      </pc:sldChg>
      <pc:sldChg chg="add del">
        <pc:chgData name="Aurelien Domont" userId="6da7715ce44349b3" providerId="LiveId" clId="{C18CC5C4-3AAC-491D-9097-885406CBF5DB}" dt="2021-05-04T03:30:17.302" v="271" actId="47"/>
        <pc:sldMkLst>
          <pc:docMk/>
          <pc:sldMk cId="3028091984" sldId="2146"/>
        </pc:sldMkLst>
      </pc:sldChg>
      <pc:sldChg chg="add">
        <pc:chgData name="Aurelien Domont" userId="6da7715ce44349b3" providerId="LiveId" clId="{C18CC5C4-3AAC-491D-9097-885406CBF5DB}" dt="2021-05-04T03:29:39.341" v="268"/>
        <pc:sldMkLst>
          <pc:docMk/>
          <pc:sldMk cId="4057054822" sldId="2147"/>
        </pc:sldMkLst>
      </pc:sldChg>
      <pc:sldChg chg="add">
        <pc:chgData name="Aurelien Domont" userId="6da7715ce44349b3" providerId="LiveId" clId="{C18CC5C4-3AAC-491D-9097-885406CBF5DB}" dt="2021-05-04T03:29:39.341" v="268"/>
        <pc:sldMkLst>
          <pc:docMk/>
          <pc:sldMk cId="4208437711" sldId="2148"/>
        </pc:sldMkLst>
      </pc:sldChg>
      <pc:sldChg chg="add">
        <pc:chgData name="Aurelien Domont" userId="6da7715ce44349b3" providerId="LiveId" clId="{C18CC5C4-3AAC-491D-9097-885406CBF5DB}" dt="2021-05-04T03:29:39.341" v="268"/>
        <pc:sldMkLst>
          <pc:docMk/>
          <pc:sldMk cId="1289725493" sldId="2149"/>
        </pc:sldMkLst>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29D6A56D-AB0D-41B6-B017-3803A210466B}"/>
    <pc:docChg chg="undo redo custSel addSld delSld modSld sldOrd">
      <pc:chgData name="Aurelien Domont" userId="6da7715ce44349b3" providerId="LiveId" clId="{29D6A56D-AB0D-41B6-B017-3803A210466B}" dt="2023-05-22T03:52:23.852" v="8373"/>
      <pc:docMkLst>
        <pc:docMk/>
      </pc:docMkLst>
      <pc:sldChg chg="addSp delSp modSp del mod">
        <pc:chgData name="Aurelien Domont" userId="6da7715ce44349b3" providerId="LiveId" clId="{29D6A56D-AB0D-41B6-B017-3803A210466B}" dt="2023-01-12T23:47:23.944" v="8151" actId="47"/>
        <pc:sldMkLst>
          <pc:docMk/>
          <pc:sldMk cId="3131901387" sldId="256"/>
        </pc:sldMkLst>
        <pc:spChg chg="mod">
          <ac:chgData name="Aurelien Domont" userId="6da7715ce44349b3" providerId="LiveId" clId="{29D6A56D-AB0D-41B6-B017-3803A210466B}" dt="2023-01-12T23:44:41.660" v="8036" actId="404"/>
          <ac:spMkLst>
            <pc:docMk/>
            <pc:sldMk cId="3131901387" sldId="256"/>
            <ac:spMk id="2" creationId="{5261080C-C60C-4746-B6B1-A9A4FFA86785}"/>
          </ac:spMkLst>
        </pc:spChg>
        <pc:spChg chg="mod">
          <ac:chgData name="Aurelien Domont" userId="6da7715ce44349b3" providerId="LiveId" clId="{29D6A56D-AB0D-41B6-B017-3803A210466B}" dt="2023-01-12T23:44:41.660" v="8036" actId="404"/>
          <ac:spMkLst>
            <pc:docMk/>
            <pc:sldMk cId="3131901387" sldId="256"/>
            <ac:spMk id="6" creationId="{F04C1B76-90D8-40DB-94ED-24A864BFBA56}"/>
          </ac:spMkLst>
        </pc:spChg>
        <pc:spChg chg="mod">
          <ac:chgData name="Aurelien Domont" userId="6da7715ce44349b3" providerId="LiveId" clId="{29D6A56D-AB0D-41B6-B017-3803A210466B}" dt="2023-01-12T23:44:41.660" v="8036" actId="404"/>
          <ac:spMkLst>
            <pc:docMk/>
            <pc:sldMk cId="3131901387" sldId="256"/>
            <ac:spMk id="8" creationId="{BF61102C-BCA7-4CBF-AA08-2A8190D41E84}"/>
          </ac:spMkLst>
        </pc:spChg>
        <pc:spChg chg="mod">
          <ac:chgData name="Aurelien Domont" userId="6da7715ce44349b3" providerId="LiveId" clId="{29D6A56D-AB0D-41B6-B017-3803A210466B}" dt="2023-01-12T23:44:41.660" v="8036" actId="404"/>
          <ac:spMkLst>
            <pc:docMk/>
            <pc:sldMk cId="3131901387" sldId="256"/>
            <ac:spMk id="16" creationId="{2436D48A-FAB5-4E4C-AB97-233E7A3795E6}"/>
          </ac:spMkLst>
        </pc:spChg>
        <pc:picChg chg="add del mod">
          <ac:chgData name="Aurelien Domont" userId="6da7715ce44349b3" providerId="LiveId" clId="{29D6A56D-AB0D-41B6-B017-3803A210466B}" dt="2023-01-12T23:03:45.523" v="7583" actId="478"/>
          <ac:picMkLst>
            <pc:docMk/>
            <pc:sldMk cId="3131901387" sldId="256"/>
            <ac:picMk id="3" creationId="{C46A2262-531D-7CAA-16A4-ECF6144E8ADF}"/>
          </ac:picMkLst>
        </pc:picChg>
        <pc:picChg chg="add mod">
          <ac:chgData name="Aurelien Domont" userId="6da7715ce44349b3" providerId="LiveId" clId="{29D6A56D-AB0D-41B6-B017-3803A210466B}" dt="2023-01-12T23:03:52.037" v="7588" actId="1037"/>
          <ac:picMkLst>
            <pc:docMk/>
            <pc:sldMk cId="3131901387" sldId="256"/>
            <ac:picMk id="4" creationId="{625FB19C-012E-4D48-8FDD-FA2F55B2F5DA}"/>
          </ac:picMkLst>
        </pc:picChg>
        <pc:picChg chg="del">
          <ac:chgData name="Aurelien Domont" userId="6da7715ce44349b3" providerId="LiveId" clId="{29D6A56D-AB0D-41B6-B017-3803A210466B}" dt="2022-12-07T02:31:32.759" v="6112" actId="478"/>
          <ac:picMkLst>
            <pc:docMk/>
            <pc:sldMk cId="3131901387" sldId="256"/>
            <ac:picMk id="7" creationId="{56F6D9FE-2BD8-43FA-8517-544E7B92AA1A}"/>
          </ac:picMkLst>
        </pc:picChg>
        <pc:picChg chg="add mod">
          <ac:chgData name="Aurelien Domont" userId="6da7715ce44349b3" providerId="LiveId" clId="{29D6A56D-AB0D-41B6-B017-3803A210466B}" dt="2023-01-12T23:44:33.528" v="8031" actId="14100"/>
          <ac:picMkLst>
            <pc:docMk/>
            <pc:sldMk cId="3131901387" sldId="256"/>
            <ac:picMk id="13" creationId="{D6043782-9F9C-8748-3D73-7FD6B812B7F1}"/>
          </ac:picMkLst>
        </pc:picChg>
      </pc:sldChg>
      <pc:sldChg chg="del">
        <pc:chgData name="Aurelien Domont" userId="6da7715ce44349b3" providerId="LiveId" clId="{29D6A56D-AB0D-41B6-B017-3803A210466B}" dt="2021-08-05T07:00:57.610" v="1625" actId="47"/>
        <pc:sldMkLst>
          <pc:docMk/>
          <pc:sldMk cId="3072119178" sldId="1488"/>
        </pc:sldMkLst>
      </pc:sldChg>
      <pc:sldChg chg="del">
        <pc:chgData name="Aurelien Domont" userId="6da7715ce44349b3" providerId="LiveId" clId="{29D6A56D-AB0D-41B6-B017-3803A210466B}" dt="2021-08-05T07:00:57.610" v="1625" actId="47"/>
        <pc:sldMkLst>
          <pc:docMk/>
          <pc:sldMk cId="926313830" sldId="1489"/>
        </pc:sldMkLst>
      </pc:sldChg>
      <pc:sldChg chg="del">
        <pc:chgData name="Aurelien Domont" userId="6da7715ce44349b3" providerId="LiveId" clId="{29D6A56D-AB0D-41B6-B017-3803A210466B}" dt="2021-08-05T07:00:57.610" v="1625" actId="47"/>
        <pc:sldMkLst>
          <pc:docMk/>
          <pc:sldMk cId="3370215172" sldId="1490"/>
        </pc:sldMkLst>
      </pc:sldChg>
      <pc:sldChg chg="modSp add del">
        <pc:chgData name="Aurelien Domont" userId="6da7715ce44349b3" providerId="LiveId" clId="{29D6A56D-AB0D-41B6-B017-3803A210466B}" dt="2023-01-12T04:54:10.174" v="7493" actId="47"/>
        <pc:sldMkLst>
          <pc:docMk/>
          <pc:sldMk cId="1397809860" sldId="1499"/>
        </pc:sldMkLst>
        <pc:spChg chg="mod">
          <ac:chgData name="Aurelien Domont" userId="6da7715ce44349b3" providerId="LiveId" clId="{29D6A56D-AB0D-41B6-B017-3803A210466B}" dt="2022-11-29T03:10:19.794" v="3765"/>
          <ac:spMkLst>
            <pc:docMk/>
            <pc:sldMk cId="1397809860" sldId="1499"/>
            <ac:spMk id="3" creationId="{E7A26292-23DB-44E5-949D-BAFE0A7919DF}"/>
          </ac:spMkLst>
        </pc:spChg>
        <pc:spChg chg="mod">
          <ac:chgData name="Aurelien Domont" userId="6da7715ce44349b3" providerId="LiveId" clId="{29D6A56D-AB0D-41B6-B017-3803A210466B}" dt="2022-11-29T03:10:19.794" v="3765"/>
          <ac:spMkLst>
            <pc:docMk/>
            <pc:sldMk cId="1397809860" sldId="1499"/>
            <ac:spMk id="16" creationId="{6C2BB713-9637-4B9B-938F-E9768876782A}"/>
          </ac:spMkLst>
        </pc:spChg>
      </pc:sldChg>
      <pc:sldChg chg="del">
        <pc:chgData name="Aurelien Domont" userId="6da7715ce44349b3" providerId="LiveId" clId="{29D6A56D-AB0D-41B6-B017-3803A210466B}" dt="2021-08-05T07:00:57.610" v="1625" actId="47"/>
        <pc:sldMkLst>
          <pc:docMk/>
          <pc:sldMk cId="388158782" sldId="1514"/>
        </pc:sldMkLst>
      </pc:sldChg>
      <pc:sldChg chg="del">
        <pc:chgData name="Aurelien Domont" userId="6da7715ce44349b3" providerId="LiveId" clId="{29D6A56D-AB0D-41B6-B017-3803A210466B}" dt="2021-08-05T07:00:57.610" v="1625" actId="47"/>
        <pc:sldMkLst>
          <pc:docMk/>
          <pc:sldMk cId="2270541995" sldId="1519"/>
        </pc:sldMkLst>
      </pc:sldChg>
      <pc:sldChg chg="del">
        <pc:chgData name="Aurelien Domont" userId="6da7715ce44349b3" providerId="LiveId" clId="{29D6A56D-AB0D-41B6-B017-3803A210466B}" dt="2021-08-05T07:00:57.610" v="1625" actId="47"/>
        <pc:sldMkLst>
          <pc:docMk/>
          <pc:sldMk cId="112122695" sldId="1521"/>
        </pc:sldMkLst>
      </pc:sldChg>
      <pc:sldChg chg="del">
        <pc:chgData name="Aurelien Domont" userId="6da7715ce44349b3" providerId="LiveId" clId="{29D6A56D-AB0D-41B6-B017-3803A210466B}" dt="2021-08-05T07:00:57.610" v="1625" actId="47"/>
        <pc:sldMkLst>
          <pc:docMk/>
          <pc:sldMk cId="3014473461" sldId="1527"/>
        </pc:sldMkLst>
      </pc:sldChg>
      <pc:sldChg chg="del">
        <pc:chgData name="Aurelien Domont" userId="6da7715ce44349b3" providerId="LiveId" clId="{29D6A56D-AB0D-41B6-B017-3803A210466B}" dt="2021-08-05T07:00:57.610" v="1625" actId="47"/>
        <pc:sldMkLst>
          <pc:docMk/>
          <pc:sldMk cId="4130717619" sldId="1530"/>
        </pc:sldMkLst>
      </pc:sldChg>
      <pc:sldChg chg="add del">
        <pc:chgData name="Aurelien Domont" userId="6da7715ce44349b3" providerId="LiveId" clId="{29D6A56D-AB0D-41B6-B017-3803A210466B}" dt="2021-08-05T06:43:32.904" v="1471"/>
        <pc:sldMkLst>
          <pc:docMk/>
          <pc:sldMk cId="2658212128" sldId="1531"/>
        </pc:sldMkLst>
      </pc:sldChg>
      <pc:sldChg chg="modSp add del">
        <pc:chgData name="Aurelien Domont" userId="6da7715ce44349b3" providerId="LiveId" clId="{29D6A56D-AB0D-41B6-B017-3803A210466B}" dt="2023-01-12T04:55:25.953" v="7496" actId="47"/>
        <pc:sldMkLst>
          <pc:docMk/>
          <pc:sldMk cId="4026207615" sldId="1580"/>
        </pc:sldMkLst>
        <pc:spChg chg="mod">
          <ac:chgData name="Aurelien Domont" userId="6da7715ce44349b3" providerId="LiveId" clId="{29D6A56D-AB0D-41B6-B017-3803A210466B}" dt="2022-11-29T03:10:19.794" v="3765"/>
          <ac:spMkLst>
            <pc:docMk/>
            <pc:sldMk cId="4026207615" sldId="1580"/>
            <ac:spMk id="2" creationId="{A67BEC9B-911F-478E-9C56-72957F18467D}"/>
          </ac:spMkLst>
        </pc:spChg>
        <pc:spChg chg="mod">
          <ac:chgData name="Aurelien Domont" userId="6da7715ce44349b3" providerId="LiveId" clId="{29D6A56D-AB0D-41B6-B017-3803A210466B}" dt="2022-11-29T03:10:19.794" v="3765"/>
          <ac:spMkLst>
            <pc:docMk/>
            <pc:sldMk cId="4026207615" sldId="1580"/>
            <ac:spMk id="14" creationId="{C9800183-F524-4412-AB39-A6E1A21FF0B3}"/>
          </ac:spMkLst>
        </pc:spChg>
      </pc:sldChg>
      <pc:sldChg chg="modSp add del">
        <pc:chgData name="Aurelien Domont" userId="6da7715ce44349b3" providerId="LiveId" clId="{29D6A56D-AB0D-41B6-B017-3803A210466B}" dt="2023-05-22T03:52:23.852" v="8373"/>
        <pc:sldMkLst>
          <pc:docMk/>
          <pc:sldMk cId="1754585881" sldId="1598"/>
        </pc:sldMkLst>
        <pc:spChg chg="mod">
          <ac:chgData name="Aurelien Domont" userId="6da7715ce44349b3" providerId="LiveId" clId="{29D6A56D-AB0D-41B6-B017-3803A210466B}" dt="2022-11-29T03:10:19.794" v="3765"/>
          <ac:spMkLst>
            <pc:docMk/>
            <pc:sldMk cId="1754585881" sldId="1598"/>
            <ac:spMk id="6" creationId="{DE0F4260-85F5-47B2-8F90-716F6604029A}"/>
          </ac:spMkLst>
        </pc:spChg>
      </pc:sldChg>
      <pc:sldChg chg="addSp delSp modSp add del mod">
        <pc:chgData name="Aurelien Domont" userId="6da7715ce44349b3" providerId="LiveId" clId="{29D6A56D-AB0D-41B6-B017-3803A210466B}" dt="2023-05-22T03:52:23.852" v="8373"/>
        <pc:sldMkLst>
          <pc:docMk/>
          <pc:sldMk cId="2853806433" sldId="1600"/>
        </pc:sldMkLst>
        <pc:spChg chg="mod">
          <ac:chgData name="Aurelien Domont" userId="6da7715ce44349b3" providerId="LiveId" clId="{29D6A56D-AB0D-41B6-B017-3803A210466B}" dt="2023-01-12T03:51:40.072" v="7112" actId="404"/>
          <ac:spMkLst>
            <pc:docMk/>
            <pc:sldMk cId="2853806433" sldId="1600"/>
            <ac:spMk id="2" creationId="{406113FD-AA7D-4249-90D7-70AF85BE48E1}"/>
          </ac:spMkLst>
        </pc:spChg>
        <pc:spChg chg="mod">
          <ac:chgData name="Aurelien Domont" userId="6da7715ce44349b3" providerId="LiveId" clId="{29D6A56D-AB0D-41B6-B017-3803A210466B}" dt="2023-01-12T03:50:38.669" v="7100"/>
          <ac:spMkLst>
            <pc:docMk/>
            <pc:sldMk cId="2853806433" sldId="1600"/>
            <ac:spMk id="5" creationId="{251BB141-D469-5D0A-FE7E-B2BB376D708E}"/>
          </ac:spMkLst>
        </pc:spChg>
        <pc:spChg chg="mod">
          <ac:chgData name="Aurelien Domont" userId="6da7715ce44349b3" providerId="LiveId" clId="{29D6A56D-AB0D-41B6-B017-3803A210466B}" dt="2022-11-29T03:10:19.794" v="3765"/>
          <ac:spMkLst>
            <pc:docMk/>
            <pc:sldMk cId="2853806433" sldId="1600"/>
            <ac:spMk id="8" creationId="{3D029769-9B2F-4A51-8446-2206A9A2EF30}"/>
          </ac:spMkLst>
        </pc:spChg>
        <pc:spChg chg="mod">
          <ac:chgData name="Aurelien Domont" userId="6da7715ce44349b3" providerId="LiveId" clId="{29D6A56D-AB0D-41B6-B017-3803A210466B}" dt="2023-01-12T03:50:38.669" v="7100"/>
          <ac:spMkLst>
            <pc:docMk/>
            <pc:sldMk cId="2853806433" sldId="1600"/>
            <ac:spMk id="9" creationId="{F5ED7FA7-7EFF-708F-663B-3352DE67FE3C}"/>
          </ac:spMkLst>
        </pc:spChg>
        <pc:spChg chg="mod">
          <ac:chgData name="Aurelien Domont" userId="6da7715ce44349b3" providerId="LiveId" clId="{29D6A56D-AB0D-41B6-B017-3803A210466B}" dt="2023-01-12T03:50:38.669" v="7100"/>
          <ac:spMkLst>
            <pc:docMk/>
            <pc:sldMk cId="2853806433" sldId="1600"/>
            <ac:spMk id="10" creationId="{F53FC9B7-37DD-506F-0C1D-9AF5B160ED2A}"/>
          </ac:spMkLst>
        </pc:spChg>
        <pc:spChg chg="mod">
          <ac:chgData name="Aurelien Domont" userId="6da7715ce44349b3" providerId="LiveId" clId="{29D6A56D-AB0D-41B6-B017-3803A210466B}" dt="2023-01-12T03:50:38.669" v="7100"/>
          <ac:spMkLst>
            <pc:docMk/>
            <pc:sldMk cId="2853806433" sldId="1600"/>
            <ac:spMk id="12" creationId="{23592E12-FB3B-9F84-17D0-D32E36772462}"/>
          </ac:spMkLst>
        </pc:spChg>
        <pc:spChg chg="del">
          <ac:chgData name="Aurelien Domont" userId="6da7715ce44349b3" providerId="LiveId" clId="{29D6A56D-AB0D-41B6-B017-3803A210466B}" dt="2023-02-09T05:41:40.227" v="8198" actId="478"/>
          <ac:spMkLst>
            <pc:docMk/>
            <pc:sldMk cId="2853806433" sldId="1600"/>
            <ac:spMk id="21" creationId="{E8DAB30E-4A95-4189-A17B-D6BED1B10135}"/>
          </ac:spMkLst>
        </pc:spChg>
        <pc:spChg chg="del">
          <ac:chgData name="Aurelien Domont" userId="6da7715ce44349b3" providerId="LiveId" clId="{29D6A56D-AB0D-41B6-B017-3803A210466B}" dt="2023-02-09T05:41:42.274" v="8199" actId="478"/>
          <ac:spMkLst>
            <pc:docMk/>
            <pc:sldMk cId="2853806433" sldId="1600"/>
            <ac:spMk id="22" creationId="{42719C9D-04F3-4DAC-9FB5-A9FED928C93B}"/>
          </ac:spMkLst>
        </pc:spChg>
        <pc:grpChg chg="add del mod">
          <ac:chgData name="Aurelien Domont" userId="6da7715ce44349b3" providerId="LiveId" clId="{29D6A56D-AB0D-41B6-B017-3803A210466B}" dt="2023-01-12T03:50:49.388" v="7106" actId="478"/>
          <ac:grpSpMkLst>
            <pc:docMk/>
            <pc:sldMk cId="2853806433" sldId="1600"/>
            <ac:grpSpMk id="4" creationId="{FF8E6F14-45F8-0923-EE36-FFBA3AF1F971}"/>
          </ac:grpSpMkLst>
        </pc:grpChg>
        <pc:picChg chg="del">
          <ac:chgData name="Aurelien Domont" userId="6da7715ce44349b3" providerId="LiveId" clId="{29D6A56D-AB0D-41B6-B017-3803A210466B}" dt="2023-01-12T03:50:38.348" v="7099" actId="478"/>
          <ac:picMkLst>
            <pc:docMk/>
            <pc:sldMk cId="2853806433" sldId="1600"/>
            <ac:picMk id="3" creationId="{76D80435-6127-8B5A-A042-7E4F9ED8123A}"/>
          </ac:picMkLst>
        </pc:picChg>
        <pc:picChg chg="add mod ord">
          <ac:chgData name="Aurelien Domont" userId="6da7715ce44349b3" providerId="LiveId" clId="{29D6A56D-AB0D-41B6-B017-3803A210466B}" dt="2023-02-09T05:41:35.981" v="8196" actId="167"/>
          <ac:picMkLst>
            <pc:docMk/>
            <pc:sldMk cId="2853806433" sldId="1600"/>
            <ac:picMk id="3" creationId="{AC4BA8F5-D233-6F88-C267-EBFA42ECB72D}"/>
          </ac:picMkLst>
        </pc:picChg>
        <pc:picChg chg="add del mod">
          <ac:chgData name="Aurelien Domont" userId="6da7715ce44349b3" providerId="LiveId" clId="{29D6A56D-AB0D-41B6-B017-3803A210466B}" dt="2023-02-09T05:41:37.732" v="8197" actId="478"/>
          <ac:picMkLst>
            <pc:docMk/>
            <pc:sldMk cId="2853806433" sldId="1600"/>
            <ac:picMk id="13" creationId="{BBDB805D-6999-05AD-6643-3C2CF353366B}"/>
          </ac:picMkLst>
        </pc:picChg>
      </pc:sldChg>
      <pc:sldChg chg="del">
        <pc:chgData name="Aurelien Domont" userId="6da7715ce44349b3" providerId="LiveId" clId="{29D6A56D-AB0D-41B6-B017-3803A210466B}" dt="2021-08-05T07:00:57.610" v="1625" actId="47"/>
        <pc:sldMkLst>
          <pc:docMk/>
          <pc:sldMk cId="2815671749" sldId="1601"/>
        </pc:sldMkLst>
      </pc:sldChg>
      <pc:sldChg chg="modSp add del">
        <pc:chgData name="Aurelien Domont" userId="6da7715ce44349b3" providerId="LiveId" clId="{29D6A56D-AB0D-41B6-B017-3803A210466B}" dt="2023-01-12T04:54:10.174" v="7493" actId="47"/>
        <pc:sldMkLst>
          <pc:docMk/>
          <pc:sldMk cId="2419878592" sldId="1628"/>
        </pc:sldMkLst>
        <pc:spChg chg="mod">
          <ac:chgData name="Aurelien Domont" userId="6da7715ce44349b3" providerId="LiveId" clId="{29D6A56D-AB0D-41B6-B017-3803A210466B}" dt="2022-11-29T03:10:19.794" v="3765"/>
          <ac:spMkLst>
            <pc:docMk/>
            <pc:sldMk cId="2419878592" sldId="1628"/>
            <ac:spMk id="2" creationId="{A67BEC9B-911F-478E-9C56-72957F18467D}"/>
          </ac:spMkLst>
        </pc:spChg>
        <pc:spChg chg="mod">
          <ac:chgData name="Aurelien Domont" userId="6da7715ce44349b3" providerId="LiveId" clId="{29D6A56D-AB0D-41B6-B017-3803A210466B}" dt="2022-11-29T03:10:19.794" v="3765"/>
          <ac:spMkLst>
            <pc:docMk/>
            <pc:sldMk cId="2419878592" sldId="1628"/>
            <ac:spMk id="14" creationId="{C9800183-F524-4412-AB39-A6E1A21FF0B3}"/>
          </ac:spMkLst>
        </pc:spChg>
        <pc:spChg chg="mod">
          <ac:chgData name="Aurelien Domont" userId="6da7715ce44349b3" providerId="LiveId" clId="{29D6A56D-AB0D-41B6-B017-3803A210466B}" dt="2022-02-23T02:44:32.088" v="3424"/>
          <ac:spMkLst>
            <pc:docMk/>
            <pc:sldMk cId="2419878592" sldId="1628"/>
            <ac:spMk id="87" creationId="{8CA116D3-AFF5-4342-B9F0-D3C27F3A7E6E}"/>
          </ac:spMkLst>
        </pc:spChg>
        <pc:spChg chg="mod">
          <ac:chgData name="Aurelien Domont" userId="6da7715ce44349b3" providerId="LiveId" clId="{29D6A56D-AB0D-41B6-B017-3803A210466B}" dt="2022-02-23T02:44:51.734" v="3425"/>
          <ac:spMkLst>
            <pc:docMk/>
            <pc:sldMk cId="2419878592" sldId="1628"/>
            <ac:spMk id="88" creationId="{E94F6BCD-0990-4CF5-8FC4-C1B5CCBB0DCB}"/>
          </ac:spMkLst>
        </pc:spChg>
      </pc:sldChg>
      <pc:sldChg chg="add">
        <pc:chgData name="Aurelien Domont" userId="6da7715ce44349b3" providerId="LiveId" clId="{29D6A56D-AB0D-41B6-B017-3803A210466B}" dt="2023-01-12T23:02:53.144" v="7582"/>
        <pc:sldMkLst>
          <pc:docMk/>
          <pc:sldMk cId="1137526162" sldId="1666"/>
        </pc:sldMkLst>
      </pc:sldChg>
      <pc:sldChg chg="modSp ord">
        <pc:chgData name="Aurelien Domont" userId="6da7715ce44349b3" providerId="LiveId" clId="{29D6A56D-AB0D-41B6-B017-3803A210466B}" dt="2022-11-29T03:10:19.794" v="3765"/>
        <pc:sldMkLst>
          <pc:docMk/>
          <pc:sldMk cId="1840726201" sldId="1710"/>
        </pc:sldMkLst>
        <pc:spChg chg="mod">
          <ac:chgData name="Aurelien Domont" userId="6da7715ce44349b3" providerId="LiveId" clId="{29D6A56D-AB0D-41B6-B017-3803A210466B}" dt="2022-11-29T03:10:19.794" v="3765"/>
          <ac:spMkLst>
            <pc:docMk/>
            <pc:sldMk cId="1840726201" sldId="1710"/>
            <ac:spMk id="3" creationId="{CE2529A3-BA97-486F-9E02-8DFAAA7D8D38}"/>
          </ac:spMkLst>
        </pc:spChg>
        <pc:spChg chg="mod">
          <ac:chgData name="Aurelien Domont" userId="6da7715ce44349b3" providerId="LiveId" clId="{29D6A56D-AB0D-41B6-B017-3803A210466B}" dt="2022-02-23T02:39:38.623" v="3415"/>
          <ac:spMkLst>
            <pc:docMk/>
            <pc:sldMk cId="1840726201" sldId="1710"/>
            <ac:spMk id="4" creationId="{75234E7C-CFB3-4A0A-8825-F2911FE94F71}"/>
          </ac:spMkLst>
        </pc:spChg>
        <pc:spChg chg="mod">
          <ac:chgData name="Aurelien Domont" userId="6da7715ce44349b3" providerId="LiveId" clId="{29D6A56D-AB0D-41B6-B017-3803A210466B}" dt="2022-11-29T03:10:19.794" v="3765"/>
          <ac:spMkLst>
            <pc:docMk/>
            <pc:sldMk cId="1840726201" sldId="1710"/>
            <ac:spMk id="16" creationId="{6C2BB713-9637-4B9B-938F-E9768876782A}"/>
          </ac:spMkLst>
        </pc:spChg>
      </pc:sldChg>
      <pc:sldChg chg="modSp add del mod">
        <pc:chgData name="Aurelien Domont" userId="6da7715ce44349b3" providerId="LiveId" clId="{29D6A56D-AB0D-41B6-B017-3803A210466B}" dt="2023-05-22T03:52:23.852" v="8373"/>
        <pc:sldMkLst>
          <pc:docMk/>
          <pc:sldMk cId="1252826214" sldId="1711"/>
        </pc:sldMkLst>
        <pc:spChg chg="mod">
          <ac:chgData name="Aurelien Domont" userId="6da7715ce44349b3" providerId="LiveId" clId="{29D6A56D-AB0D-41B6-B017-3803A210466B}" dt="2022-11-29T03:10:19.794" v="3765"/>
          <ac:spMkLst>
            <pc:docMk/>
            <pc:sldMk cId="1252826214" sldId="1711"/>
            <ac:spMk id="3" creationId="{CE2529A3-BA97-486F-9E02-8DFAAA7D8D38}"/>
          </ac:spMkLst>
        </pc:spChg>
        <pc:spChg chg="mod">
          <ac:chgData name="Aurelien Domont" userId="6da7715ce44349b3" providerId="LiveId" clId="{29D6A56D-AB0D-41B6-B017-3803A210466B}" dt="2023-01-12T04:54:47.746" v="7495" actId="207"/>
          <ac:spMkLst>
            <pc:docMk/>
            <pc:sldMk cId="1252826214" sldId="1711"/>
            <ac:spMk id="76" creationId="{EF511045-E73B-4CFF-885B-23ECD1E8C178}"/>
          </ac:spMkLst>
        </pc:spChg>
        <pc:spChg chg="mod">
          <ac:chgData name="Aurelien Domont" userId="6da7715ce44349b3" providerId="LiveId" clId="{29D6A56D-AB0D-41B6-B017-3803A210466B}" dt="2022-11-29T03:10:19.794" v="3765"/>
          <ac:spMkLst>
            <pc:docMk/>
            <pc:sldMk cId="1252826214" sldId="1711"/>
            <ac:spMk id="316" creationId="{E1807DFC-6E0A-41E9-BAC7-1EE85BC2BECF}"/>
          </ac:spMkLst>
        </pc:spChg>
      </pc:sldChg>
      <pc:sldChg chg="del">
        <pc:chgData name="Aurelien Domont" userId="6da7715ce44349b3" providerId="LiveId" clId="{29D6A56D-AB0D-41B6-B017-3803A210466B}" dt="2021-08-03T07:27:33.416" v="1149" actId="47"/>
        <pc:sldMkLst>
          <pc:docMk/>
          <pc:sldMk cId="317099162" sldId="1749"/>
        </pc:sldMkLst>
      </pc:sldChg>
      <pc:sldChg chg="del">
        <pc:chgData name="Aurelien Domont" userId="6da7715ce44349b3" providerId="LiveId" clId="{29D6A56D-AB0D-41B6-B017-3803A210466B}" dt="2021-08-05T07:00:57.610" v="1625" actId="47"/>
        <pc:sldMkLst>
          <pc:docMk/>
          <pc:sldMk cId="2603859724" sldId="1763"/>
        </pc:sldMkLst>
      </pc:sldChg>
      <pc:sldChg chg="del">
        <pc:chgData name="Aurelien Domont" userId="6da7715ce44349b3" providerId="LiveId" clId="{29D6A56D-AB0D-41B6-B017-3803A210466B}" dt="2021-08-05T07:00:57.610" v="1625" actId="47"/>
        <pc:sldMkLst>
          <pc:docMk/>
          <pc:sldMk cId="99687317" sldId="1764"/>
        </pc:sldMkLst>
      </pc:sldChg>
      <pc:sldChg chg="del">
        <pc:chgData name="Aurelien Domont" userId="6da7715ce44349b3" providerId="LiveId" clId="{29D6A56D-AB0D-41B6-B017-3803A210466B}" dt="2021-08-05T07:00:57.610" v="1625" actId="47"/>
        <pc:sldMkLst>
          <pc:docMk/>
          <pc:sldMk cId="3975128435" sldId="1765"/>
        </pc:sldMkLst>
      </pc:sldChg>
      <pc:sldChg chg="del">
        <pc:chgData name="Aurelien Domont" userId="6da7715ce44349b3" providerId="LiveId" clId="{29D6A56D-AB0D-41B6-B017-3803A210466B}" dt="2021-08-05T07:00:57.610" v="1625" actId="47"/>
        <pc:sldMkLst>
          <pc:docMk/>
          <pc:sldMk cId="3598292899" sldId="1770"/>
        </pc:sldMkLst>
      </pc:sldChg>
      <pc:sldChg chg="del">
        <pc:chgData name="Aurelien Domont" userId="6da7715ce44349b3" providerId="LiveId" clId="{29D6A56D-AB0D-41B6-B017-3803A210466B}" dt="2021-08-05T07:00:57.610" v="1625" actId="47"/>
        <pc:sldMkLst>
          <pc:docMk/>
          <pc:sldMk cId="1016381984" sldId="1771"/>
        </pc:sldMkLst>
      </pc:sldChg>
      <pc:sldChg chg="add">
        <pc:chgData name="Aurelien Domont" userId="6da7715ce44349b3" providerId="LiveId" clId="{29D6A56D-AB0D-41B6-B017-3803A210466B}" dt="2023-01-12T23:26:51.043" v="7593"/>
        <pc:sldMkLst>
          <pc:docMk/>
          <pc:sldMk cId="1899632073" sldId="1825"/>
        </pc:sldMkLst>
      </pc:sldChg>
      <pc:sldChg chg="add">
        <pc:chgData name="Aurelien Domont" userId="6da7715ce44349b3" providerId="LiveId" clId="{29D6A56D-AB0D-41B6-B017-3803A210466B}" dt="2023-01-12T23:26:51.043" v="7593"/>
        <pc:sldMkLst>
          <pc:docMk/>
          <pc:sldMk cId="3933480471" sldId="1826"/>
        </pc:sldMkLst>
      </pc:sldChg>
      <pc:sldChg chg="modSp add del mod">
        <pc:chgData name="Aurelien Domont" userId="6da7715ce44349b3" providerId="LiveId" clId="{29D6A56D-AB0D-41B6-B017-3803A210466B}" dt="2023-01-12T23:29:28.456" v="7612"/>
        <pc:sldMkLst>
          <pc:docMk/>
          <pc:sldMk cId="2601056755" sldId="1946"/>
        </pc:sldMkLst>
        <pc:spChg chg="mod">
          <ac:chgData name="Aurelien Domont" userId="6da7715ce44349b3" providerId="LiveId" clId="{29D6A56D-AB0D-41B6-B017-3803A210466B}" dt="2022-11-29T03:10:19.794" v="3765"/>
          <ac:spMkLst>
            <pc:docMk/>
            <pc:sldMk cId="2601056755" sldId="1946"/>
            <ac:spMk id="3" creationId="{CE2529A3-BA97-486F-9E02-8DFAAA7D8D38}"/>
          </ac:spMkLst>
        </pc:spChg>
        <pc:spChg chg="mod">
          <ac:chgData name="Aurelien Domont" userId="6da7715ce44349b3" providerId="LiveId" clId="{29D6A56D-AB0D-41B6-B017-3803A210466B}" dt="2022-11-29T03:10:19.794" v="3765"/>
          <ac:spMkLst>
            <pc:docMk/>
            <pc:sldMk cId="2601056755" sldId="1946"/>
            <ac:spMk id="16" creationId="{6C2BB713-9637-4B9B-938F-E9768876782A}"/>
          </ac:spMkLst>
        </pc:spChg>
        <pc:spChg chg="mod">
          <ac:chgData name="Aurelien Domont" userId="6da7715ce44349b3" providerId="LiveId" clId="{29D6A56D-AB0D-41B6-B017-3803A210466B}" dt="2022-02-23T02:49:29.671" v="3440" actId="20577"/>
          <ac:spMkLst>
            <pc:docMk/>
            <pc:sldMk cId="2601056755" sldId="1946"/>
            <ac:spMk id="19" creationId="{EE8DEC52-05EF-4995-880E-7F6E5431CF2F}"/>
          </ac:spMkLst>
        </pc:spChg>
      </pc:sldChg>
      <pc:sldChg chg="addSp delSp modSp add del">
        <pc:chgData name="Aurelien Domont" userId="6da7715ce44349b3" providerId="LiveId" clId="{29D6A56D-AB0D-41B6-B017-3803A210466B}" dt="2023-01-12T23:29:28.456" v="7612"/>
        <pc:sldMkLst>
          <pc:docMk/>
          <pc:sldMk cId="1835011772" sldId="1949"/>
        </pc:sldMkLst>
        <pc:spChg chg="mod">
          <ac:chgData name="Aurelien Domont" userId="6da7715ce44349b3" providerId="LiveId" clId="{29D6A56D-AB0D-41B6-B017-3803A210466B}" dt="2022-11-29T03:10:19.794" v="3765"/>
          <ac:spMkLst>
            <pc:docMk/>
            <pc:sldMk cId="1835011772" sldId="1949"/>
            <ac:spMk id="3" creationId="{CE2529A3-BA97-486F-9E02-8DFAAA7D8D38}"/>
          </ac:spMkLst>
        </pc:spChg>
        <pc:spChg chg="mod">
          <ac:chgData name="Aurelien Domont" userId="6da7715ce44349b3" providerId="LiveId" clId="{29D6A56D-AB0D-41B6-B017-3803A210466B}" dt="2022-11-29T03:10:19.794" v="3765"/>
          <ac:spMkLst>
            <pc:docMk/>
            <pc:sldMk cId="1835011772" sldId="1949"/>
            <ac:spMk id="16" creationId="{6C2BB713-9637-4B9B-938F-E9768876782A}"/>
          </ac:spMkLst>
        </pc:spChg>
        <pc:graphicFrameChg chg="add del">
          <ac:chgData name="Aurelien Domont" userId="6da7715ce44349b3" providerId="LiveId" clId="{29D6A56D-AB0D-41B6-B017-3803A210466B}" dt="2022-02-23T02:49:47.377" v="3443"/>
          <ac:graphicFrameMkLst>
            <pc:docMk/>
            <pc:sldMk cId="1835011772" sldId="1949"/>
            <ac:graphicFrameMk id="2" creationId="{778C61AC-F4FE-4165-B745-ACE0F9BD0A39}"/>
          </ac:graphicFrameMkLst>
        </pc:graphicFrameChg>
        <pc:graphicFrameChg chg="del">
          <ac:chgData name="Aurelien Domont" userId="6da7715ce44349b3" providerId="LiveId" clId="{29D6A56D-AB0D-41B6-B017-3803A210466B}" dt="2022-02-23T02:49:47.377" v="3443"/>
          <ac:graphicFrameMkLst>
            <pc:docMk/>
            <pc:sldMk cId="1835011772" sldId="1949"/>
            <ac:graphicFrameMk id="6" creationId="{778C61AC-F4FE-4165-B745-ACE0F9BD0A39}"/>
          </ac:graphicFrameMkLst>
        </pc:graphicFrameChg>
        <pc:graphicFrameChg chg="del">
          <ac:chgData name="Aurelien Domont" userId="6da7715ce44349b3" providerId="LiveId" clId="{29D6A56D-AB0D-41B6-B017-3803A210466B}" dt="2022-02-23T02:49:46.197" v="3441"/>
          <ac:graphicFrameMkLst>
            <pc:docMk/>
            <pc:sldMk cId="1835011772" sldId="1949"/>
            <ac:graphicFrameMk id="9" creationId="{778C61AC-F4FE-4165-B745-ACE0F9BD0A39}"/>
          </ac:graphicFrameMkLst>
        </pc:graphicFrameChg>
      </pc:sldChg>
      <pc:sldChg chg="add">
        <pc:chgData name="Aurelien Domont" userId="6da7715ce44349b3" providerId="LiveId" clId="{29D6A56D-AB0D-41B6-B017-3803A210466B}" dt="2023-01-12T23:27:07.029" v="7594"/>
        <pc:sldMkLst>
          <pc:docMk/>
          <pc:sldMk cId="1332684990" sldId="1958"/>
        </pc:sldMkLst>
      </pc:sldChg>
      <pc:sldChg chg="add">
        <pc:chgData name="Aurelien Domont" userId="6da7715ce44349b3" providerId="LiveId" clId="{29D6A56D-AB0D-41B6-B017-3803A210466B}" dt="2023-01-12T23:27:07.029" v="7594"/>
        <pc:sldMkLst>
          <pc:docMk/>
          <pc:sldMk cId="3299486938" sldId="1959"/>
        </pc:sldMkLst>
      </pc:sldChg>
      <pc:sldChg chg="add">
        <pc:chgData name="Aurelien Domont" userId="6da7715ce44349b3" providerId="LiveId" clId="{29D6A56D-AB0D-41B6-B017-3803A210466B}" dt="2023-01-12T23:27:07.029" v="7594"/>
        <pc:sldMkLst>
          <pc:docMk/>
          <pc:sldMk cId="1373343180" sldId="1960"/>
        </pc:sldMkLst>
      </pc:sldChg>
      <pc:sldChg chg="add">
        <pc:chgData name="Aurelien Domont" userId="6da7715ce44349b3" providerId="LiveId" clId="{29D6A56D-AB0D-41B6-B017-3803A210466B}" dt="2023-01-12T23:26:38.399" v="7592"/>
        <pc:sldMkLst>
          <pc:docMk/>
          <pc:sldMk cId="1817574191" sldId="1972"/>
        </pc:sldMkLst>
      </pc:sldChg>
      <pc:sldChg chg="modSp add del">
        <pc:chgData name="Aurelien Domont" userId="6da7715ce44349b3" providerId="LiveId" clId="{29D6A56D-AB0D-41B6-B017-3803A210466B}" dt="2023-01-12T04:55:25.953" v="7496" actId="47"/>
        <pc:sldMkLst>
          <pc:docMk/>
          <pc:sldMk cId="535454910" sldId="1974"/>
        </pc:sldMkLst>
        <pc:spChg chg="mod">
          <ac:chgData name="Aurelien Domont" userId="6da7715ce44349b3" providerId="LiveId" clId="{29D6A56D-AB0D-41B6-B017-3803A210466B}" dt="2022-11-29T03:10:19.794" v="3765"/>
          <ac:spMkLst>
            <pc:docMk/>
            <pc:sldMk cId="535454910" sldId="1974"/>
            <ac:spMk id="3" creationId="{CE2529A3-BA97-486F-9E02-8DFAAA7D8D38}"/>
          </ac:spMkLst>
        </pc:spChg>
        <pc:spChg chg="mod">
          <ac:chgData name="Aurelien Domont" userId="6da7715ce44349b3" providerId="LiveId" clId="{29D6A56D-AB0D-41B6-B017-3803A210466B}" dt="2022-11-29T03:10:19.794" v="3765"/>
          <ac:spMkLst>
            <pc:docMk/>
            <pc:sldMk cId="535454910" sldId="1974"/>
            <ac:spMk id="16" creationId="{6C2BB713-9637-4B9B-938F-E9768876782A}"/>
          </ac:spMkLst>
        </pc:spChg>
        <pc:spChg chg="mod">
          <ac:chgData name="Aurelien Domont" userId="6da7715ce44349b3" providerId="LiveId" clId="{29D6A56D-AB0D-41B6-B017-3803A210466B}" dt="2022-02-23T02:47:04.128" v="3430"/>
          <ac:spMkLst>
            <pc:docMk/>
            <pc:sldMk cId="535454910" sldId="1974"/>
            <ac:spMk id="24" creationId="{5262883E-429E-4FBD-BE90-9FFFC2CD6641}"/>
          </ac:spMkLst>
        </pc:spChg>
      </pc:sldChg>
      <pc:sldChg chg="modSp add del mod">
        <pc:chgData name="Aurelien Domont" userId="6da7715ce44349b3" providerId="LiveId" clId="{29D6A56D-AB0D-41B6-B017-3803A210466B}" dt="2023-01-12T04:55:25.953" v="7496" actId="47"/>
        <pc:sldMkLst>
          <pc:docMk/>
          <pc:sldMk cId="284582528" sldId="1975"/>
        </pc:sldMkLst>
        <pc:spChg chg="mod">
          <ac:chgData name="Aurelien Domont" userId="6da7715ce44349b3" providerId="LiveId" clId="{29D6A56D-AB0D-41B6-B017-3803A210466B}" dt="2022-11-29T03:10:19.794" v="3765"/>
          <ac:spMkLst>
            <pc:docMk/>
            <pc:sldMk cId="284582528" sldId="1975"/>
            <ac:spMk id="3" creationId="{CE2529A3-BA97-486F-9E02-8DFAAA7D8D38}"/>
          </ac:spMkLst>
        </pc:spChg>
        <pc:spChg chg="mod">
          <ac:chgData name="Aurelien Domont" userId="6da7715ce44349b3" providerId="LiveId" clId="{29D6A56D-AB0D-41B6-B017-3803A210466B}" dt="2022-02-23T02:51:12.152" v="3446" actId="313"/>
          <ac:spMkLst>
            <pc:docMk/>
            <pc:sldMk cId="284582528" sldId="1975"/>
            <ac:spMk id="9" creationId="{458828A9-0954-4BBA-8125-38576B2EF6F7}"/>
          </ac:spMkLst>
        </pc:spChg>
        <pc:spChg chg="mod">
          <ac:chgData name="Aurelien Domont" userId="6da7715ce44349b3" providerId="LiveId" clId="{29D6A56D-AB0D-41B6-B017-3803A210466B}" dt="2022-11-29T03:10:19.794" v="3765"/>
          <ac:spMkLst>
            <pc:docMk/>
            <pc:sldMk cId="284582528" sldId="1975"/>
            <ac:spMk id="16" creationId="{6C2BB713-9637-4B9B-938F-E9768876782A}"/>
          </ac:spMkLst>
        </pc:spChg>
      </pc:sldChg>
      <pc:sldChg chg="addSp delSp modSp add del">
        <pc:chgData name="Aurelien Domont" userId="6da7715ce44349b3" providerId="LiveId" clId="{29D6A56D-AB0D-41B6-B017-3803A210466B}" dt="2023-01-12T04:55:25.953" v="7496" actId="47"/>
        <pc:sldMkLst>
          <pc:docMk/>
          <pc:sldMk cId="2708523607" sldId="1976"/>
        </pc:sldMkLst>
        <pc:spChg chg="mod">
          <ac:chgData name="Aurelien Domont" userId="6da7715ce44349b3" providerId="LiveId" clId="{29D6A56D-AB0D-41B6-B017-3803A210466B}" dt="2022-11-29T03:10:19.794" v="3765"/>
          <ac:spMkLst>
            <pc:docMk/>
            <pc:sldMk cId="2708523607" sldId="1976"/>
            <ac:spMk id="3" creationId="{CE2529A3-BA97-486F-9E02-8DFAAA7D8D38}"/>
          </ac:spMkLst>
        </pc:spChg>
        <pc:spChg chg="mod">
          <ac:chgData name="Aurelien Domont" userId="6da7715ce44349b3" providerId="LiveId" clId="{29D6A56D-AB0D-41B6-B017-3803A210466B}" dt="2022-11-29T03:10:19.794" v="3765"/>
          <ac:spMkLst>
            <pc:docMk/>
            <pc:sldMk cId="2708523607" sldId="1976"/>
            <ac:spMk id="16" creationId="{6C2BB713-9637-4B9B-938F-E9768876782A}"/>
          </ac:spMkLst>
        </pc:spChg>
        <pc:grpChg chg="add del">
          <ac:chgData name="Aurelien Domont" userId="6da7715ce44349b3" providerId="LiveId" clId="{29D6A56D-AB0D-41B6-B017-3803A210466B}" dt="2022-02-23T02:47:18.150" v="3435"/>
          <ac:grpSpMkLst>
            <pc:docMk/>
            <pc:sldMk cId="2708523607" sldId="1976"/>
            <ac:grpSpMk id="2" creationId="{4C7117C0-3D7B-4A38-953D-031F0B4B39F4}"/>
          </ac:grpSpMkLst>
        </pc:grpChg>
        <pc:grpChg chg="del">
          <ac:chgData name="Aurelien Domont" userId="6da7715ce44349b3" providerId="LiveId" clId="{29D6A56D-AB0D-41B6-B017-3803A210466B}" dt="2022-02-23T02:47:18.150" v="3435"/>
          <ac:grpSpMkLst>
            <pc:docMk/>
            <pc:sldMk cId="2708523607" sldId="1976"/>
            <ac:grpSpMk id="6" creationId="{4C7117C0-3D7B-4A38-953D-031F0B4B39F4}"/>
          </ac:grpSpMkLst>
        </pc:grpChg>
      </pc:sldChg>
      <pc:sldChg chg="addSp delSp modSp add del">
        <pc:chgData name="Aurelien Domont" userId="6da7715ce44349b3" providerId="LiveId" clId="{29D6A56D-AB0D-41B6-B017-3803A210466B}" dt="2023-01-12T04:55:25.953" v="7496" actId="47"/>
        <pc:sldMkLst>
          <pc:docMk/>
          <pc:sldMk cId="350950659" sldId="1977"/>
        </pc:sldMkLst>
        <pc:spChg chg="mod">
          <ac:chgData name="Aurelien Domont" userId="6da7715ce44349b3" providerId="LiveId" clId="{29D6A56D-AB0D-41B6-B017-3803A210466B}" dt="2022-11-29T03:10:19.794" v="3765"/>
          <ac:spMkLst>
            <pc:docMk/>
            <pc:sldMk cId="350950659" sldId="1977"/>
            <ac:spMk id="3" creationId="{CE2529A3-BA97-486F-9E02-8DFAAA7D8D38}"/>
          </ac:spMkLst>
        </pc:spChg>
        <pc:spChg chg="mod">
          <ac:chgData name="Aurelien Domont" userId="6da7715ce44349b3" providerId="LiveId" clId="{29D6A56D-AB0D-41B6-B017-3803A210466B}" dt="2022-11-29T03:10:19.794" v="3765"/>
          <ac:spMkLst>
            <pc:docMk/>
            <pc:sldMk cId="350950659" sldId="1977"/>
            <ac:spMk id="16" creationId="{6C2BB713-9637-4B9B-938F-E9768876782A}"/>
          </ac:spMkLst>
        </pc:spChg>
        <pc:grpChg chg="add">
          <ac:chgData name="Aurelien Domont" userId="6da7715ce44349b3" providerId="LiveId" clId="{29D6A56D-AB0D-41B6-B017-3803A210466B}" dt="2022-02-23T02:47:22.917" v="3436"/>
          <ac:grpSpMkLst>
            <pc:docMk/>
            <pc:sldMk cId="350950659" sldId="1977"/>
            <ac:grpSpMk id="2" creationId="{4C7117C0-3D7B-4A38-953D-031F0B4B39F4}"/>
          </ac:grpSpMkLst>
        </pc:grpChg>
        <pc:grpChg chg="del">
          <ac:chgData name="Aurelien Domont" userId="6da7715ce44349b3" providerId="LiveId" clId="{29D6A56D-AB0D-41B6-B017-3803A210466B}" dt="2022-02-23T02:47:22.917" v="3436"/>
          <ac:grpSpMkLst>
            <pc:docMk/>
            <pc:sldMk cId="350950659" sldId="1977"/>
            <ac:grpSpMk id="6" creationId="{4C7117C0-3D7B-4A38-953D-031F0B4B39F4}"/>
          </ac:grpSpMkLst>
        </pc:grpChg>
      </pc:sldChg>
      <pc:sldChg chg="addSp delSp modSp add del">
        <pc:chgData name="Aurelien Domont" userId="6da7715ce44349b3" providerId="LiveId" clId="{29D6A56D-AB0D-41B6-B017-3803A210466B}" dt="2023-01-12T04:55:25.953" v="7496" actId="47"/>
        <pc:sldMkLst>
          <pc:docMk/>
          <pc:sldMk cId="2541933330" sldId="1978"/>
        </pc:sldMkLst>
        <pc:spChg chg="mod">
          <ac:chgData name="Aurelien Domont" userId="6da7715ce44349b3" providerId="LiveId" clId="{29D6A56D-AB0D-41B6-B017-3803A210466B}" dt="2022-11-29T03:10:19.794" v="3765"/>
          <ac:spMkLst>
            <pc:docMk/>
            <pc:sldMk cId="2541933330" sldId="1978"/>
            <ac:spMk id="3" creationId="{CE2529A3-BA97-486F-9E02-8DFAAA7D8D38}"/>
          </ac:spMkLst>
        </pc:spChg>
        <pc:spChg chg="mod">
          <ac:chgData name="Aurelien Domont" userId="6da7715ce44349b3" providerId="LiveId" clId="{29D6A56D-AB0D-41B6-B017-3803A210466B}" dt="2022-11-29T03:10:19.794" v="3765"/>
          <ac:spMkLst>
            <pc:docMk/>
            <pc:sldMk cId="2541933330" sldId="1978"/>
            <ac:spMk id="16" creationId="{6C2BB713-9637-4B9B-938F-E9768876782A}"/>
          </ac:spMkLst>
        </pc:spChg>
        <pc:grpChg chg="add">
          <ac:chgData name="Aurelien Domont" userId="6da7715ce44349b3" providerId="LiveId" clId="{29D6A56D-AB0D-41B6-B017-3803A210466B}" dt="2022-02-23T02:47:26.686" v="3437"/>
          <ac:grpSpMkLst>
            <pc:docMk/>
            <pc:sldMk cId="2541933330" sldId="1978"/>
            <ac:grpSpMk id="2" creationId="{4C7117C0-3D7B-4A38-953D-031F0B4B39F4}"/>
          </ac:grpSpMkLst>
        </pc:grpChg>
        <pc:grpChg chg="del">
          <ac:chgData name="Aurelien Domont" userId="6da7715ce44349b3" providerId="LiveId" clId="{29D6A56D-AB0D-41B6-B017-3803A210466B}" dt="2022-02-23T02:47:26.686" v="3437"/>
          <ac:grpSpMkLst>
            <pc:docMk/>
            <pc:sldMk cId="2541933330" sldId="1978"/>
            <ac:grpSpMk id="6" creationId="{4C7117C0-3D7B-4A38-953D-031F0B4B39F4}"/>
          </ac:grpSpMkLst>
        </pc:grpChg>
      </pc:sldChg>
      <pc:sldChg chg="add">
        <pc:chgData name="Aurelien Domont" userId="6da7715ce44349b3" providerId="LiveId" clId="{29D6A56D-AB0D-41B6-B017-3803A210466B}" dt="2023-01-12T23:15:09.118" v="7589"/>
        <pc:sldMkLst>
          <pc:docMk/>
          <pc:sldMk cId="2068665984" sldId="1988"/>
        </pc:sldMkLst>
      </pc:sldChg>
      <pc:sldChg chg="addSp modSp add mod">
        <pc:chgData name="Aurelien Domont" userId="6da7715ce44349b3" providerId="LiveId" clId="{29D6A56D-AB0D-41B6-B017-3803A210466B}" dt="2022-11-29T03:56:03.021" v="4313" actId="404"/>
        <pc:sldMkLst>
          <pc:docMk/>
          <pc:sldMk cId="2036344484" sldId="2005"/>
        </pc:sldMkLst>
        <pc:spChg chg="add mod">
          <ac:chgData name="Aurelien Domont" userId="6da7715ce44349b3" providerId="LiveId" clId="{29D6A56D-AB0D-41B6-B017-3803A210466B}" dt="2022-11-29T03:49:00.072" v="4000"/>
          <ac:spMkLst>
            <pc:docMk/>
            <pc:sldMk cId="2036344484" sldId="2005"/>
            <ac:spMk id="2" creationId="{14CFB211-0B2D-8D7B-5A06-53A1270C89A4}"/>
          </ac:spMkLst>
        </pc:spChg>
        <pc:spChg chg="mod">
          <ac:chgData name="Aurelien Domont" userId="6da7715ce44349b3" providerId="LiveId" clId="{29D6A56D-AB0D-41B6-B017-3803A210466B}" dt="2022-11-29T03:56:03.021" v="4313" actId="404"/>
          <ac:spMkLst>
            <pc:docMk/>
            <pc:sldMk cId="2036344484" sldId="2005"/>
            <ac:spMk id="16" creationId="{6C2BB713-9637-4B9B-938F-E9768876782A}"/>
          </ac:spMkLst>
        </pc:spChg>
        <pc:spChg chg="mod">
          <ac:chgData name="Aurelien Domont" userId="6da7715ce44349b3" providerId="LiveId" clId="{29D6A56D-AB0D-41B6-B017-3803A210466B}" dt="2022-11-29T03:13:32.505" v="3808" actId="207"/>
          <ac:spMkLst>
            <pc:docMk/>
            <pc:sldMk cId="2036344484" sldId="2005"/>
            <ac:spMk id="21" creationId="{83978A19-CA80-4D7C-851F-704DE617ED90}"/>
          </ac:spMkLst>
        </pc:spChg>
        <pc:spChg chg="mod">
          <ac:chgData name="Aurelien Domont" userId="6da7715ce44349b3" providerId="LiveId" clId="{29D6A56D-AB0D-41B6-B017-3803A210466B}" dt="2022-11-29T03:13:48.801" v="3811" actId="403"/>
          <ac:spMkLst>
            <pc:docMk/>
            <pc:sldMk cId="2036344484" sldId="2005"/>
            <ac:spMk id="24" creationId="{0C72F473-423A-4E44-BC1D-90F2C606526D}"/>
          </ac:spMkLst>
        </pc:spChg>
        <pc:spChg chg="mod">
          <ac:chgData name="Aurelien Domont" userId="6da7715ce44349b3" providerId="LiveId" clId="{29D6A56D-AB0D-41B6-B017-3803A210466B}" dt="2022-11-29T03:47:49.254" v="3962" actId="207"/>
          <ac:spMkLst>
            <pc:docMk/>
            <pc:sldMk cId="2036344484" sldId="2005"/>
            <ac:spMk id="26" creationId="{BB2F1A6B-49B2-4701-81D4-A06B2B2CCB85}"/>
          </ac:spMkLst>
        </pc:spChg>
      </pc:sldChg>
      <pc:sldChg chg="modSp add del mod">
        <pc:chgData name="Aurelien Domont" userId="6da7715ce44349b3" providerId="LiveId" clId="{29D6A56D-AB0D-41B6-B017-3803A210466B}" dt="2023-05-22T03:52:23.852" v="8373"/>
        <pc:sldMkLst>
          <pc:docMk/>
          <pc:sldMk cId="3938337455" sldId="2034"/>
        </pc:sldMkLst>
        <pc:spChg chg="mod">
          <ac:chgData name="Aurelien Domont" userId="6da7715ce44349b3" providerId="LiveId" clId="{29D6A56D-AB0D-41B6-B017-3803A210466B}" dt="2022-11-29T03:10:19.794" v="3765"/>
          <ac:spMkLst>
            <pc:docMk/>
            <pc:sldMk cId="3938337455" sldId="2034"/>
            <ac:spMk id="2" creationId="{406113FD-AA7D-4249-90D7-70AF85BE48E1}"/>
          </ac:spMkLst>
        </pc:spChg>
        <pc:spChg chg="mod">
          <ac:chgData name="Aurelien Domont" userId="6da7715ce44349b3" providerId="LiveId" clId="{29D6A56D-AB0D-41B6-B017-3803A210466B}" dt="2022-11-29T03:10:19.794" v="3765"/>
          <ac:spMkLst>
            <pc:docMk/>
            <pc:sldMk cId="3938337455" sldId="2034"/>
            <ac:spMk id="9" creationId="{A4C0187A-3E85-4C87-AB6B-7D4F4276FE07}"/>
          </ac:spMkLst>
        </pc:spChg>
        <pc:spChg chg="mod">
          <ac:chgData name="Aurelien Domont" userId="6da7715ce44349b3" providerId="LiveId" clId="{29D6A56D-AB0D-41B6-B017-3803A210466B}" dt="2021-10-06T03:47:23.851" v="3414"/>
          <ac:spMkLst>
            <pc:docMk/>
            <pc:sldMk cId="3938337455" sldId="2034"/>
            <ac:spMk id="48" creationId="{971D573A-5304-4C92-8CB7-47985CE6549D}"/>
          </ac:spMkLst>
        </pc:spChg>
      </pc:sldChg>
      <pc:sldChg chg="modSp add del">
        <pc:chgData name="Aurelien Domont" userId="6da7715ce44349b3" providerId="LiveId" clId="{29D6A56D-AB0D-41B6-B017-3803A210466B}" dt="2023-05-22T03:52:22.298" v="8372" actId="47"/>
        <pc:sldMkLst>
          <pc:docMk/>
          <pc:sldMk cId="1926619926" sldId="2147"/>
        </pc:sldMkLst>
        <pc:spChg chg="mod">
          <ac:chgData name="Aurelien Domont" userId="6da7715ce44349b3" providerId="LiveId" clId="{29D6A56D-AB0D-41B6-B017-3803A210466B}" dt="2022-11-29T03:10:19.794" v="3765"/>
          <ac:spMkLst>
            <pc:docMk/>
            <pc:sldMk cId="1926619926" sldId="2147"/>
            <ac:spMk id="2" creationId="{DEFE2F89-2C68-4882-ACAA-4D3583EC021E}"/>
          </ac:spMkLst>
        </pc:spChg>
        <pc:spChg chg="mod">
          <ac:chgData name="Aurelien Domont" userId="6da7715ce44349b3" providerId="LiveId" clId="{29D6A56D-AB0D-41B6-B017-3803A210466B}" dt="2022-11-29T03:10:19.794" v="3765"/>
          <ac:spMkLst>
            <pc:docMk/>
            <pc:sldMk cId="1926619926" sldId="2147"/>
            <ac:spMk id="4" creationId="{01275858-1501-44F3-B5E3-F24097F0F591}"/>
          </ac:spMkLst>
        </pc:spChg>
      </pc:sldChg>
      <pc:sldChg chg="addSp delSp modSp add mod ord">
        <pc:chgData name="Aurelien Domont" userId="6da7715ce44349b3" providerId="LiveId" clId="{29D6A56D-AB0D-41B6-B017-3803A210466B}" dt="2023-01-12T04:51:48.492" v="7482" actId="20577"/>
        <pc:sldMkLst>
          <pc:docMk/>
          <pc:sldMk cId="481449207" sldId="2154"/>
        </pc:sldMkLst>
        <pc:spChg chg="mod">
          <ac:chgData name="Aurelien Domont" userId="6da7715ce44349b3" providerId="LiveId" clId="{29D6A56D-AB0D-41B6-B017-3803A210466B}" dt="2023-01-12T04:42:16.346" v="7289" actId="20577"/>
          <ac:spMkLst>
            <pc:docMk/>
            <pc:sldMk cId="481449207" sldId="2154"/>
            <ac:spMk id="2" creationId="{406113FD-AA7D-4249-90D7-70AF85BE48E1}"/>
          </ac:spMkLst>
        </pc:spChg>
        <pc:spChg chg="mod">
          <ac:chgData name="Aurelien Domont" userId="6da7715ce44349b3" providerId="LiveId" clId="{29D6A56D-AB0D-41B6-B017-3803A210466B}" dt="2022-11-29T03:10:19.794" v="3765"/>
          <ac:spMkLst>
            <pc:docMk/>
            <pc:sldMk cId="481449207" sldId="2154"/>
            <ac:spMk id="4" creationId="{6F7AE37A-9246-4985-8F29-8D68449D9F28}"/>
          </ac:spMkLst>
        </pc:spChg>
        <pc:spChg chg="add mod">
          <ac:chgData name="Aurelien Domont" userId="6da7715ce44349b3" providerId="LiveId" clId="{29D6A56D-AB0D-41B6-B017-3803A210466B}" dt="2023-01-12T04:43:07.807" v="7306" actId="207"/>
          <ac:spMkLst>
            <pc:docMk/>
            <pc:sldMk cId="481449207" sldId="2154"/>
            <ac:spMk id="6" creationId="{8C9E1E9F-B6D1-4C9B-89F6-850F0CD08945}"/>
          </ac:spMkLst>
        </pc:spChg>
        <pc:spChg chg="add del mod">
          <ac:chgData name="Aurelien Domont" userId="6da7715ce44349b3" providerId="LiveId" clId="{29D6A56D-AB0D-41B6-B017-3803A210466B}" dt="2023-01-12T04:41:45.814" v="7288" actId="478"/>
          <ac:spMkLst>
            <pc:docMk/>
            <pc:sldMk cId="481449207" sldId="2154"/>
            <ac:spMk id="7" creationId="{F867E0EF-BAD2-0DBF-8B93-6486B66494F2}"/>
          </ac:spMkLst>
        </pc:spChg>
        <pc:spChg chg="add mod">
          <ac:chgData name="Aurelien Domont" userId="6da7715ce44349b3" providerId="LiveId" clId="{29D6A56D-AB0D-41B6-B017-3803A210466B}" dt="2023-01-12T04:51:48.492" v="7482" actId="20577"/>
          <ac:spMkLst>
            <pc:docMk/>
            <pc:sldMk cId="481449207" sldId="2154"/>
            <ac:spMk id="8" creationId="{F601F365-36FE-43BA-A063-30AAF326381A}"/>
          </ac:spMkLst>
        </pc:spChg>
        <pc:spChg chg="add mod ord">
          <ac:chgData name="Aurelien Domont" userId="6da7715ce44349b3" providerId="LiveId" clId="{29D6A56D-AB0D-41B6-B017-3803A210466B}" dt="2023-01-12T04:47:30.582" v="7431" actId="14100"/>
          <ac:spMkLst>
            <pc:docMk/>
            <pc:sldMk cId="481449207" sldId="2154"/>
            <ac:spMk id="9" creationId="{12B01F11-E54D-4AB1-A9A7-59F137CC9151}"/>
          </ac:spMkLst>
        </pc:spChg>
        <pc:spChg chg="add del mod">
          <ac:chgData name="Aurelien Domont" userId="6da7715ce44349b3" providerId="LiveId" clId="{29D6A56D-AB0D-41B6-B017-3803A210466B}" dt="2023-01-12T04:41:45.814" v="7288" actId="478"/>
          <ac:spMkLst>
            <pc:docMk/>
            <pc:sldMk cId="481449207" sldId="2154"/>
            <ac:spMk id="10" creationId="{950CA531-738C-0309-B872-12A5D402611E}"/>
          </ac:spMkLst>
        </pc:spChg>
        <pc:spChg chg="add mod ord">
          <ac:chgData name="Aurelien Domont" userId="6da7715ce44349b3" providerId="LiveId" clId="{29D6A56D-AB0D-41B6-B017-3803A210466B}" dt="2023-01-12T04:48:27.443" v="7450" actId="14100"/>
          <ac:spMkLst>
            <pc:docMk/>
            <pc:sldMk cId="481449207" sldId="2154"/>
            <ac:spMk id="11" creationId="{396683CE-C2F6-4990-BA65-5E87ED73768C}"/>
          </ac:spMkLst>
        </pc:spChg>
        <pc:spChg chg="add mod">
          <ac:chgData name="Aurelien Domont" userId="6da7715ce44349b3" providerId="LiveId" clId="{29D6A56D-AB0D-41B6-B017-3803A210466B}" dt="2021-08-09T04:37:37.662" v="3384" actId="1036"/>
          <ac:spMkLst>
            <pc:docMk/>
            <pc:sldMk cId="481449207" sldId="2154"/>
            <ac:spMk id="12" creationId="{81F2281D-E4F7-4810-BF24-5FBB0FC1DE84}"/>
          </ac:spMkLst>
        </pc:spChg>
        <pc:spChg chg="add del mod">
          <ac:chgData name="Aurelien Domont" userId="6da7715ce44349b3" providerId="LiveId" clId="{29D6A56D-AB0D-41B6-B017-3803A210466B}" dt="2023-01-12T04:41:45.814" v="7288" actId="478"/>
          <ac:spMkLst>
            <pc:docMk/>
            <pc:sldMk cId="481449207" sldId="2154"/>
            <ac:spMk id="13" creationId="{52AA4C53-D192-AFB8-B72A-8124AF0C7450}"/>
          </ac:spMkLst>
        </pc:spChg>
        <pc:spChg chg="add del mod">
          <ac:chgData name="Aurelien Domont" userId="6da7715ce44349b3" providerId="LiveId" clId="{29D6A56D-AB0D-41B6-B017-3803A210466B}" dt="2023-01-12T04:39:43.750" v="7197" actId="478"/>
          <ac:spMkLst>
            <pc:docMk/>
            <pc:sldMk cId="481449207" sldId="2154"/>
            <ac:spMk id="14" creationId="{462F7E36-C536-6090-5AD1-0763E2B2C381}"/>
          </ac:spMkLst>
        </pc:spChg>
        <pc:spChg chg="add del mod">
          <ac:chgData name="Aurelien Domont" userId="6da7715ce44349b3" providerId="LiveId" clId="{29D6A56D-AB0D-41B6-B017-3803A210466B}" dt="2023-01-12T04:39:43.750" v="7197" actId="478"/>
          <ac:spMkLst>
            <pc:docMk/>
            <pc:sldMk cId="481449207" sldId="2154"/>
            <ac:spMk id="15" creationId="{67DA8C81-67B6-5F32-DDAB-D15457ADB6D9}"/>
          </ac:spMkLst>
        </pc:spChg>
        <pc:spChg chg="add del mod">
          <ac:chgData name="Aurelien Domont" userId="6da7715ce44349b3" providerId="LiveId" clId="{29D6A56D-AB0D-41B6-B017-3803A210466B}" dt="2023-01-12T04:41:37.945" v="7287" actId="478"/>
          <ac:spMkLst>
            <pc:docMk/>
            <pc:sldMk cId="481449207" sldId="2154"/>
            <ac:spMk id="16" creationId="{CDC05FF4-CE19-7ACE-644F-A073F2E075A6}"/>
          </ac:spMkLst>
        </pc:spChg>
        <pc:spChg chg="add del mod">
          <ac:chgData name="Aurelien Domont" userId="6da7715ce44349b3" providerId="LiveId" clId="{29D6A56D-AB0D-41B6-B017-3803A210466B}" dt="2023-01-12T04:41:37.945" v="7287" actId="478"/>
          <ac:spMkLst>
            <pc:docMk/>
            <pc:sldMk cId="481449207" sldId="2154"/>
            <ac:spMk id="17" creationId="{81F76E8D-A40B-A826-8606-72CF12FA2BB3}"/>
          </ac:spMkLst>
        </pc:spChg>
        <pc:spChg chg="add del mod">
          <ac:chgData name="Aurelien Domont" userId="6da7715ce44349b3" providerId="LiveId" clId="{29D6A56D-AB0D-41B6-B017-3803A210466B}" dt="2023-01-12T04:41:37.945" v="7287" actId="478"/>
          <ac:spMkLst>
            <pc:docMk/>
            <pc:sldMk cId="481449207" sldId="2154"/>
            <ac:spMk id="18" creationId="{EBCF510C-4397-091B-2E28-E1579F55BF03}"/>
          </ac:spMkLst>
        </pc:spChg>
        <pc:spChg chg="add del mod">
          <ac:chgData name="Aurelien Domont" userId="6da7715ce44349b3" providerId="LiveId" clId="{29D6A56D-AB0D-41B6-B017-3803A210466B}" dt="2023-01-12T04:41:37.945" v="7287" actId="478"/>
          <ac:spMkLst>
            <pc:docMk/>
            <pc:sldMk cId="481449207" sldId="2154"/>
            <ac:spMk id="19" creationId="{58416F3D-D066-F5ED-A10D-4AF79C0BAF03}"/>
          </ac:spMkLst>
        </pc:spChg>
        <pc:spChg chg="add del mod">
          <ac:chgData name="Aurelien Domont" userId="6da7715ce44349b3" providerId="LiveId" clId="{29D6A56D-AB0D-41B6-B017-3803A210466B}" dt="2023-01-12T04:41:37.945" v="7287" actId="478"/>
          <ac:spMkLst>
            <pc:docMk/>
            <pc:sldMk cId="481449207" sldId="2154"/>
            <ac:spMk id="20" creationId="{E7236419-A477-2367-AC24-23E559892C5A}"/>
          </ac:spMkLst>
        </pc:spChg>
        <pc:spChg chg="add del mod">
          <ac:chgData name="Aurelien Domont" userId="6da7715ce44349b3" providerId="LiveId" clId="{29D6A56D-AB0D-41B6-B017-3803A210466B}" dt="2023-01-12T04:41:37.945" v="7287" actId="478"/>
          <ac:spMkLst>
            <pc:docMk/>
            <pc:sldMk cId="481449207" sldId="2154"/>
            <ac:spMk id="21" creationId="{0B543819-4A3A-4E14-A108-374B0741EEF3}"/>
          </ac:spMkLst>
        </pc:spChg>
        <pc:spChg chg="add del mod">
          <ac:chgData name="Aurelien Domont" userId="6da7715ce44349b3" providerId="LiveId" clId="{29D6A56D-AB0D-41B6-B017-3803A210466B}" dt="2023-01-12T04:41:37.945" v="7287" actId="478"/>
          <ac:spMkLst>
            <pc:docMk/>
            <pc:sldMk cId="481449207" sldId="2154"/>
            <ac:spMk id="22" creationId="{A286303D-6EA6-0D06-52CA-230A0A00AD93}"/>
          </ac:spMkLst>
        </pc:spChg>
        <pc:spChg chg="add del mod">
          <ac:chgData name="Aurelien Domont" userId="6da7715ce44349b3" providerId="LiveId" clId="{29D6A56D-AB0D-41B6-B017-3803A210466B}" dt="2023-01-12T04:41:37.945" v="7287" actId="478"/>
          <ac:spMkLst>
            <pc:docMk/>
            <pc:sldMk cId="481449207" sldId="2154"/>
            <ac:spMk id="23" creationId="{5053AE44-680E-F6A9-9691-3083B0CF219B}"/>
          </ac:spMkLst>
        </pc:spChg>
        <pc:spChg chg="add del mod">
          <ac:chgData name="Aurelien Domont" userId="6da7715ce44349b3" providerId="LiveId" clId="{29D6A56D-AB0D-41B6-B017-3803A210466B}" dt="2023-01-12T04:41:37.945" v="7287" actId="478"/>
          <ac:spMkLst>
            <pc:docMk/>
            <pc:sldMk cId="481449207" sldId="2154"/>
            <ac:spMk id="24" creationId="{CE32ED1E-8B47-6F18-97F7-485DC9DDED76}"/>
          </ac:spMkLst>
        </pc:spChg>
        <pc:spChg chg="add del mod">
          <ac:chgData name="Aurelien Domont" userId="6da7715ce44349b3" providerId="LiveId" clId="{29D6A56D-AB0D-41B6-B017-3803A210466B}" dt="2023-01-12T04:41:37.945" v="7287" actId="478"/>
          <ac:spMkLst>
            <pc:docMk/>
            <pc:sldMk cId="481449207" sldId="2154"/>
            <ac:spMk id="25" creationId="{C12B4662-FD07-E27D-71B6-A9034D681388}"/>
          </ac:spMkLst>
        </pc:spChg>
        <pc:spChg chg="add del mod">
          <ac:chgData name="Aurelien Domont" userId="6da7715ce44349b3" providerId="LiveId" clId="{29D6A56D-AB0D-41B6-B017-3803A210466B}" dt="2023-01-12T04:45:25.384" v="7388" actId="478"/>
          <ac:spMkLst>
            <pc:docMk/>
            <pc:sldMk cId="481449207" sldId="2154"/>
            <ac:spMk id="26" creationId="{E3056A81-B63C-72CD-FBAD-7E2E27CA76E1}"/>
          </ac:spMkLst>
        </pc:spChg>
        <pc:spChg chg="add del mod">
          <ac:chgData name="Aurelien Domont" userId="6da7715ce44349b3" providerId="LiveId" clId="{29D6A56D-AB0D-41B6-B017-3803A210466B}" dt="2023-01-12T04:46:21.924" v="7425" actId="478"/>
          <ac:spMkLst>
            <pc:docMk/>
            <pc:sldMk cId="481449207" sldId="2154"/>
            <ac:spMk id="27" creationId="{53BBB267-BFC4-59F5-FEFE-7DDE9343C565}"/>
          </ac:spMkLst>
        </pc:spChg>
        <pc:spChg chg="add del mod">
          <ac:chgData name="Aurelien Domont" userId="6da7715ce44349b3" providerId="LiveId" clId="{29D6A56D-AB0D-41B6-B017-3803A210466B}" dt="2023-01-12T04:46:21.924" v="7425" actId="478"/>
          <ac:spMkLst>
            <pc:docMk/>
            <pc:sldMk cId="481449207" sldId="2154"/>
            <ac:spMk id="28" creationId="{1CB404FB-107F-543A-1750-DD15DC403484}"/>
          </ac:spMkLst>
        </pc:spChg>
        <pc:spChg chg="add del mod">
          <ac:chgData name="Aurelien Domont" userId="6da7715ce44349b3" providerId="LiveId" clId="{29D6A56D-AB0D-41B6-B017-3803A210466B}" dt="2023-01-12T04:46:21.924" v="7425" actId="478"/>
          <ac:spMkLst>
            <pc:docMk/>
            <pc:sldMk cId="481449207" sldId="2154"/>
            <ac:spMk id="29" creationId="{82D367E8-ADFD-B7CE-3BC4-E5BEE82CC2F5}"/>
          </ac:spMkLst>
        </pc:spChg>
        <pc:spChg chg="add del mod">
          <ac:chgData name="Aurelien Domont" userId="6da7715ce44349b3" providerId="LiveId" clId="{29D6A56D-AB0D-41B6-B017-3803A210466B}" dt="2023-01-12T04:45:25.384" v="7388" actId="478"/>
          <ac:spMkLst>
            <pc:docMk/>
            <pc:sldMk cId="481449207" sldId="2154"/>
            <ac:spMk id="30" creationId="{FE5DD7D7-EA2C-651D-A08A-DFA3A4C6AC2B}"/>
          </ac:spMkLst>
        </pc:spChg>
        <pc:spChg chg="add del mod">
          <ac:chgData name="Aurelien Domont" userId="6da7715ce44349b3" providerId="LiveId" clId="{29D6A56D-AB0D-41B6-B017-3803A210466B}" dt="2023-01-12T04:46:21.924" v="7425" actId="478"/>
          <ac:spMkLst>
            <pc:docMk/>
            <pc:sldMk cId="481449207" sldId="2154"/>
            <ac:spMk id="31" creationId="{4B971649-6261-6061-8985-C417CF2BEC5D}"/>
          </ac:spMkLst>
        </pc:spChg>
        <pc:spChg chg="add del mod">
          <ac:chgData name="Aurelien Domont" userId="6da7715ce44349b3" providerId="LiveId" clId="{29D6A56D-AB0D-41B6-B017-3803A210466B}" dt="2023-01-12T04:46:21.924" v="7425" actId="478"/>
          <ac:spMkLst>
            <pc:docMk/>
            <pc:sldMk cId="481449207" sldId="2154"/>
            <ac:spMk id="32" creationId="{6912F704-B3A0-6A55-7852-B8677D328FDD}"/>
          </ac:spMkLst>
        </pc:spChg>
        <pc:spChg chg="mod">
          <ac:chgData name="Aurelien Domont" userId="6da7715ce44349b3" providerId="LiveId" clId="{29D6A56D-AB0D-41B6-B017-3803A210466B}" dt="2023-01-12T04:46:44.451" v="7428" actId="179"/>
          <ac:spMkLst>
            <pc:docMk/>
            <pc:sldMk cId="481449207" sldId="2154"/>
            <ac:spMk id="45" creationId="{C40ABB58-A617-4C1D-B300-D06F0DBE43C3}"/>
          </ac:spMkLst>
        </pc:spChg>
        <pc:picChg chg="del">
          <ac:chgData name="Aurelien Domont" userId="6da7715ce44349b3" providerId="LiveId" clId="{29D6A56D-AB0D-41B6-B017-3803A210466B}" dt="2021-08-09T03:51:15.949" v="2412" actId="478"/>
          <ac:picMkLst>
            <pc:docMk/>
            <pc:sldMk cId="481449207" sldId="2154"/>
            <ac:picMk id="7" creationId="{4F9A73C4-9F2E-4CA3-AEB4-304509B28FAF}"/>
          </ac:picMkLst>
        </pc:picChg>
      </pc:sldChg>
      <pc:sldChg chg="del">
        <pc:chgData name="Aurelien Domont" userId="6da7715ce44349b3" providerId="LiveId" clId="{29D6A56D-AB0D-41B6-B017-3803A210466B}" dt="2021-08-05T07:00:57.610" v="1625" actId="47"/>
        <pc:sldMkLst>
          <pc:docMk/>
          <pc:sldMk cId="2943938352" sldId="2154"/>
        </pc:sldMkLst>
      </pc:sldChg>
      <pc:sldChg chg="del">
        <pc:chgData name="Aurelien Domont" userId="6da7715ce44349b3" providerId="LiveId" clId="{29D6A56D-AB0D-41B6-B017-3803A210466B}" dt="2021-08-05T07:00:57.610" v="1625" actId="47"/>
        <pc:sldMkLst>
          <pc:docMk/>
          <pc:sldMk cId="1479295029" sldId="2156"/>
        </pc:sldMkLst>
      </pc:sldChg>
      <pc:sldChg chg="del">
        <pc:chgData name="Aurelien Domont" userId="6da7715ce44349b3" providerId="LiveId" clId="{29D6A56D-AB0D-41B6-B017-3803A210466B}" dt="2021-08-03T07:27:34.042" v="1150" actId="47"/>
        <pc:sldMkLst>
          <pc:docMk/>
          <pc:sldMk cId="1073937120" sldId="2160"/>
        </pc:sldMkLst>
      </pc:sldChg>
      <pc:sldChg chg="addSp delSp modSp mod ord">
        <pc:chgData name="Aurelien Domont" userId="6da7715ce44349b3" providerId="LiveId" clId="{29D6A56D-AB0D-41B6-B017-3803A210466B}" dt="2022-11-29T04:15:59.675" v="4814" actId="20577"/>
        <pc:sldMkLst>
          <pc:docMk/>
          <pc:sldMk cId="62308209" sldId="2161"/>
        </pc:sldMkLst>
        <pc:spChg chg="add del mod">
          <ac:chgData name="Aurelien Domont" userId="6da7715ce44349b3" providerId="LiveId" clId="{29D6A56D-AB0D-41B6-B017-3803A210466B}" dt="2022-11-29T03:49:15.683" v="4003" actId="478"/>
          <ac:spMkLst>
            <pc:docMk/>
            <pc:sldMk cId="62308209" sldId="2161"/>
            <ac:spMk id="2" creationId="{7E6D99B0-CE8F-05A5-1BA3-4A20C3C3A0E1}"/>
          </ac:spMkLst>
        </pc:spChg>
        <pc:spChg chg="add del mod">
          <ac:chgData name="Aurelien Domont" userId="6da7715ce44349b3" providerId="LiveId" clId="{29D6A56D-AB0D-41B6-B017-3803A210466B}" dt="2022-11-29T03:49:15.683" v="4003" actId="478"/>
          <ac:spMkLst>
            <pc:docMk/>
            <pc:sldMk cId="62308209" sldId="2161"/>
            <ac:spMk id="3" creationId="{DE037F3C-B820-661C-4E4B-9BC8ED69158B}"/>
          </ac:spMkLst>
        </pc:spChg>
        <pc:spChg chg="add del mod">
          <ac:chgData name="Aurelien Domont" userId="6da7715ce44349b3" providerId="LiveId" clId="{29D6A56D-AB0D-41B6-B017-3803A210466B}" dt="2022-11-29T03:49:15.683" v="4003" actId="478"/>
          <ac:spMkLst>
            <pc:docMk/>
            <pc:sldMk cId="62308209" sldId="2161"/>
            <ac:spMk id="4" creationId="{51311BAA-435E-21FF-370E-CF4EF40611B2}"/>
          </ac:spMkLst>
        </pc:spChg>
        <pc:spChg chg="del mod">
          <ac:chgData name="Aurelien Domont" userId="6da7715ce44349b3" providerId="LiveId" clId="{29D6A56D-AB0D-41B6-B017-3803A210466B}" dt="2022-11-29T03:12:06.598" v="3766" actId="478"/>
          <ac:spMkLst>
            <pc:docMk/>
            <pc:sldMk cId="62308209" sldId="2161"/>
            <ac:spMk id="5" creationId="{3AA7B8AD-E6F9-4E25-A3A4-71D021032612}"/>
          </ac:spMkLst>
        </pc:spChg>
        <pc:spChg chg="add del mod">
          <ac:chgData name="Aurelien Domont" userId="6da7715ce44349b3" providerId="LiveId" clId="{29D6A56D-AB0D-41B6-B017-3803A210466B}" dt="2022-11-29T03:49:15.683" v="4003" actId="478"/>
          <ac:spMkLst>
            <pc:docMk/>
            <pc:sldMk cId="62308209" sldId="2161"/>
            <ac:spMk id="6" creationId="{DAC57BEB-E436-C9C4-E9D0-5E69ED5F674B}"/>
          </ac:spMkLst>
        </pc:spChg>
        <pc:spChg chg="add del mod">
          <ac:chgData name="Aurelien Domont" userId="6da7715ce44349b3" providerId="LiveId" clId="{29D6A56D-AB0D-41B6-B017-3803A210466B}" dt="2022-11-29T03:49:15.683" v="4003" actId="478"/>
          <ac:spMkLst>
            <pc:docMk/>
            <pc:sldMk cId="62308209" sldId="2161"/>
            <ac:spMk id="7" creationId="{3218315B-8BDE-667D-651E-28DA97D22140}"/>
          </ac:spMkLst>
        </pc:spChg>
        <pc:spChg chg="add del mod">
          <ac:chgData name="Aurelien Domont" userId="6da7715ce44349b3" providerId="LiveId" clId="{29D6A56D-AB0D-41B6-B017-3803A210466B}" dt="2022-11-29T03:49:15.683" v="4003" actId="478"/>
          <ac:spMkLst>
            <pc:docMk/>
            <pc:sldMk cId="62308209" sldId="2161"/>
            <ac:spMk id="8" creationId="{14A688DE-571B-EE46-0482-B2EEF634FAA0}"/>
          </ac:spMkLst>
        </pc:spChg>
        <pc:spChg chg="add del mod">
          <ac:chgData name="Aurelien Domont" userId="6da7715ce44349b3" providerId="LiveId" clId="{29D6A56D-AB0D-41B6-B017-3803A210466B}" dt="2022-11-29T03:49:15.683" v="4003" actId="478"/>
          <ac:spMkLst>
            <pc:docMk/>
            <pc:sldMk cId="62308209" sldId="2161"/>
            <ac:spMk id="9" creationId="{CC40CBC3-F2A3-CEC1-446D-60A32B1CBF65}"/>
          </ac:spMkLst>
        </pc:spChg>
        <pc:spChg chg="mod">
          <ac:chgData name="Aurelien Domont" userId="6da7715ce44349b3" providerId="LiveId" clId="{29D6A56D-AB0D-41B6-B017-3803A210466B}" dt="2022-11-29T03:50:11.182" v="4100" actId="403"/>
          <ac:spMkLst>
            <pc:docMk/>
            <pc:sldMk cId="62308209" sldId="2161"/>
            <ac:spMk id="16" creationId="{6C2BB713-9637-4B9B-938F-E9768876782A}"/>
          </ac:spMkLst>
        </pc:spChg>
        <pc:spChg chg="add del mod">
          <ac:chgData name="Aurelien Domont" userId="6da7715ce44349b3" providerId="LiveId" clId="{29D6A56D-AB0D-41B6-B017-3803A210466B}" dt="2022-11-29T03:49:15.683" v="4003" actId="478"/>
          <ac:spMkLst>
            <pc:docMk/>
            <pc:sldMk cId="62308209" sldId="2161"/>
            <ac:spMk id="19" creationId="{B9B831E6-026E-45F7-3998-4E1D68F5DCB8}"/>
          </ac:spMkLst>
        </pc:spChg>
        <pc:spChg chg="add del mod">
          <ac:chgData name="Aurelien Domont" userId="6da7715ce44349b3" providerId="LiveId" clId="{29D6A56D-AB0D-41B6-B017-3803A210466B}" dt="2022-11-29T03:49:15.683" v="4003" actId="478"/>
          <ac:spMkLst>
            <pc:docMk/>
            <pc:sldMk cId="62308209" sldId="2161"/>
            <ac:spMk id="20" creationId="{7F43EDBD-1F49-E1F2-2ACC-0BD0B6D74466}"/>
          </ac:spMkLst>
        </pc:spChg>
        <pc:spChg chg="add del mod">
          <ac:chgData name="Aurelien Domont" userId="6da7715ce44349b3" providerId="LiveId" clId="{29D6A56D-AB0D-41B6-B017-3803A210466B}" dt="2022-11-29T03:49:15.683" v="4003" actId="478"/>
          <ac:spMkLst>
            <pc:docMk/>
            <pc:sldMk cId="62308209" sldId="2161"/>
            <ac:spMk id="21" creationId="{0ED5CEB0-3F32-5599-CC4E-DF3049F1F031}"/>
          </ac:spMkLst>
        </pc:spChg>
        <pc:spChg chg="add del mod">
          <ac:chgData name="Aurelien Domont" userId="6da7715ce44349b3" providerId="LiveId" clId="{29D6A56D-AB0D-41B6-B017-3803A210466B}" dt="2022-11-29T03:49:15.683" v="4003" actId="478"/>
          <ac:spMkLst>
            <pc:docMk/>
            <pc:sldMk cId="62308209" sldId="2161"/>
            <ac:spMk id="22" creationId="{89D9EC98-DAB3-157F-6EDF-5F4C7C14C82F}"/>
          </ac:spMkLst>
        </pc:spChg>
        <pc:spChg chg="add del mod">
          <ac:chgData name="Aurelien Domont" userId="6da7715ce44349b3" providerId="LiveId" clId="{29D6A56D-AB0D-41B6-B017-3803A210466B}" dt="2022-11-29T03:49:15.683" v="4003" actId="478"/>
          <ac:spMkLst>
            <pc:docMk/>
            <pc:sldMk cId="62308209" sldId="2161"/>
            <ac:spMk id="23" creationId="{FE7A27EA-0604-CAC3-7BBB-B9C93DCFBA6F}"/>
          </ac:spMkLst>
        </pc:spChg>
        <pc:spChg chg="add del mod">
          <ac:chgData name="Aurelien Domont" userId="6da7715ce44349b3" providerId="LiveId" clId="{29D6A56D-AB0D-41B6-B017-3803A210466B}" dt="2022-11-29T03:49:15.683" v="4003" actId="478"/>
          <ac:spMkLst>
            <pc:docMk/>
            <pc:sldMk cId="62308209" sldId="2161"/>
            <ac:spMk id="24" creationId="{CDBD92EB-EDFF-D257-7856-324A95EF1667}"/>
          </ac:spMkLst>
        </pc:spChg>
        <pc:spChg chg="add del mod">
          <ac:chgData name="Aurelien Domont" userId="6da7715ce44349b3" providerId="LiveId" clId="{29D6A56D-AB0D-41B6-B017-3803A210466B}" dt="2022-11-29T03:49:15.683" v="4003" actId="478"/>
          <ac:spMkLst>
            <pc:docMk/>
            <pc:sldMk cId="62308209" sldId="2161"/>
            <ac:spMk id="25" creationId="{95F6EACB-8789-3C37-EFF2-11EF015E9F52}"/>
          </ac:spMkLst>
        </pc:spChg>
        <pc:spChg chg="add del mod">
          <ac:chgData name="Aurelien Domont" userId="6da7715ce44349b3" providerId="LiveId" clId="{29D6A56D-AB0D-41B6-B017-3803A210466B}" dt="2022-11-29T03:49:15.683" v="4003" actId="478"/>
          <ac:spMkLst>
            <pc:docMk/>
            <pc:sldMk cId="62308209" sldId="2161"/>
            <ac:spMk id="26" creationId="{684C933A-2E41-F646-9FDA-487EBF98716C}"/>
          </ac:spMkLst>
        </pc:spChg>
        <pc:spChg chg="add del mod">
          <ac:chgData name="Aurelien Domont" userId="6da7715ce44349b3" providerId="LiveId" clId="{29D6A56D-AB0D-41B6-B017-3803A210466B}" dt="2022-11-29T03:49:15.683" v="4003" actId="478"/>
          <ac:spMkLst>
            <pc:docMk/>
            <pc:sldMk cId="62308209" sldId="2161"/>
            <ac:spMk id="27" creationId="{60F64642-2B02-EA7F-F6F4-A95EE39AB343}"/>
          </ac:spMkLst>
        </pc:spChg>
        <pc:spChg chg="add del mod">
          <ac:chgData name="Aurelien Domont" userId="6da7715ce44349b3" providerId="LiveId" clId="{29D6A56D-AB0D-41B6-B017-3803A210466B}" dt="2022-11-29T03:49:15.683" v="4003" actId="478"/>
          <ac:spMkLst>
            <pc:docMk/>
            <pc:sldMk cId="62308209" sldId="2161"/>
            <ac:spMk id="28" creationId="{E7E304D2-C332-7A0F-68BA-882D8BB64007}"/>
          </ac:spMkLst>
        </pc:spChg>
        <pc:spChg chg="del mod">
          <ac:chgData name="Aurelien Domont" userId="6da7715ce44349b3" providerId="LiveId" clId="{29D6A56D-AB0D-41B6-B017-3803A210466B}" dt="2022-11-29T03:12:10.869" v="3768" actId="478"/>
          <ac:spMkLst>
            <pc:docMk/>
            <pc:sldMk cId="62308209" sldId="2161"/>
            <ac:spMk id="31" creationId="{80DB5C2A-CB4E-438A-8801-EB0869040D7B}"/>
          </ac:spMkLst>
        </pc:spChg>
        <pc:spChg chg="del">
          <ac:chgData name="Aurelien Domont" userId="6da7715ce44349b3" providerId="LiveId" clId="{29D6A56D-AB0D-41B6-B017-3803A210466B}" dt="2022-11-29T03:12:06.598" v="3766" actId="478"/>
          <ac:spMkLst>
            <pc:docMk/>
            <pc:sldMk cId="62308209" sldId="2161"/>
            <ac:spMk id="34" creationId="{E1B2FFE3-DBA5-416B-9DB3-3731D3B7B0A4}"/>
          </ac:spMkLst>
        </pc:spChg>
        <pc:spChg chg="del">
          <ac:chgData name="Aurelien Domont" userId="6da7715ce44349b3" providerId="LiveId" clId="{29D6A56D-AB0D-41B6-B017-3803A210466B}" dt="2022-11-29T03:12:06.598" v="3766" actId="478"/>
          <ac:spMkLst>
            <pc:docMk/>
            <pc:sldMk cId="62308209" sldId="2161"/>
            <ac:spMk id="35" creationId="{4D42CE75-EBD5-4944-A919-A414AA408861}"/>
          </ac:spMkLst>
        </pc:spChg>
        <pc:spChg chg="del">
          <ac:chgData name="Aurelien Domont" userId="6da7715ce44349b3" providerId="LiveId" clId="{29D6A56D-AB0D-41B6-B017-3803A210466B}" dt="2022-11-29T03:12:06.598" v="3766" actId="478"/>
          <ac:spMkLst>
            <pc:docMk/>
            <pc:sldMk cId="62308209" sldId="2161"/>
            <ac:spMk id="36" creationId="{374D2436-4DE9-43A4-9BB8-B23AA8701B3A}"/>
          </ac:spMkLst>
        </pc:spChg>
        <pc:spChg chg="del">
          <ac:chgData name="Aurelien Domont" userId="6da7715ce44349b3" providerId="LiveId" clId="{29D6A56D-AB0D-41B6-B017-3803A210466B}" dt="2022-11-29T03:12:06.598" v="3766" actId="478"/>
          <ac:spMkLst>
            <pc:docMk/>
            <pc:sldMk cId="62308209" sldId="2161"/>
            <ac:spMk id="37" creationId="{3C2FA24C-C27B-41CE-B094-2513F027D3A8}"/>
          </ac:spMkLst>
        </pc:spChg>
        <pc:spChg chg="del">
          <ac:chgData name="Aurelien Domont" userId="6da7715ce44349b3" providerId="LiveId" clId="{29D6A56D-AB0D-41B6-B017-3803A210466B}" dt="2022-11-29T03:12:06.598" v="3766" actId="478"/>
          <ac:spMkLst>
            <pc:docMk/>
            <pc:sldMk cId="62308209" sldId="2161"/>
            <ac:spMk id="38" creationId="{B6F8B35C-55F2-4C82-90F4-14AA1AB67BFC}"/>
          </ac:spMkLst>
        </pc:spChg>
        <pc:spChg chg="del">
          <ac:chgData name="Aurelien Domont" userId="6da7715ce44349b3" providerId="LiveId" clId="{29D6A56D-AB0D-41B6-B017-3803A210466B}" dt="2022-11-29T03:12:06.598" v="3766" actId="478"/>
          <ac:spMkLst>
            <pc:docMk/>
            <pc:sldMk cId="62308209" sldId="2161"/>
            <ac:spMk id="39" creationId="{519C9AE0-754E-4933-AD30-219E481A0051}"/>
          </ac:spMkLst>
        </pc:spChg>
        <pc:spChg chg="del">
          <ac:chgData name="Aurelien Domont" userId="6da7715ce44349b3" providerId="LiveId" clId="{29D6A56D-AB0D-41B6-B017-3803A210466B}" dt="2022-11-29T03:12:06.598" v="3766" actId="478"/>
          <ac:spMkLst>
            <pc:docMk/>
            <pc:sldMk cId="62308209" sldId="2161"/>
            <ac:spMk id="40" creationId="{89F4B0CF-9378-4A72-B65B-CA382567820F}"/>
          </ac:spMkLst>
        </pc:spChg>
        <pc:spChg chg="del">
          <ac:chgData name="Aurelien Domont" userId="6da7715ce44349b3" providerId="LiveId" clId="{29D6A56D-AB0D-41B6-B017-3803A210466B}" dt="2022-11-29T03:12:06.598" v="3766" actId="478"/>
          <ac:spMkLst>
            <pc:docMk/>
            <pc:sldMk cId="62308209" sldId="2161"/>
            <ac:spMk id="48" creationId="{19B26507-7537-48B2-A522-7220639B33CC}"/>
          </ac:spMkLst>
        </pc:spChg>
        <pc:spChg chg="del">
          <ac:chgData name="Aurelien Domont" userId="6da7715ce44349b3" providerId="LiveId" clId="{29D6A56D-AB0D-41B6-B017-3803A210466B}" dt="2022-11-29T03:12:06.598" v="3766" actId="478"/>
          <ac:spMkLst>
            <pc:docMk/>
            <pc:sldMk cId="62308209" sldId="2161"/>
            <ac:spMk id="49" creationId="{48639D28-B55E-4ADC-ACFB-B92978A605C1}"/>
          </ac:spMkLst>
        </pc:spChg>
        <pc:spChg chg="del">
          <ac:chgData name="Aurelien Domont" userId="6da7715ce44349b3" providerId="LiveId" clId="{29D6A56D-AB0D-41B6-B017-3803A210466B}" dt="2022-11-29T03:12:06.598" v="3766" actId="478"/>
          <ac:spMkLst>
            <pc:docMk/>
            <pc:sldMk cId="62308209" sldId="2161"/>
            <ac:spMk id="50" creationId="{EAC42D61-C273-4449-982C-A24D5A5FBED7}"/>
          </ac:spMkLst>
        </pc:spChg>
        <pc:spChg chg="del">
          <ac:chgData name="Aurelien Domont" userId="6da7715ce44349b3" providerId="LiveId" clId="{29D6A56D-AB0D-41B6-B017-3803A210466B}" dt="2022-11-29T03:12:06.598" v="3766" actId="478"/>
          <ac:spMkLst>
            <pc:docMk/>
            <pc:sldMk cId="62308209" sldId="2161"/>
            <ac:spMk id="51" creationId="{3A45E5FA-0069-45C4-B7A6-2A52D8054710}"/>
          </ac:spMkLst>
        </pc:spChg>
        <pc:spChg chg="mod">
          <ac:chgData name="Aurelien Domont" userId="6da7715ce44349b3" providerId="LiveId" clId="{29D6A56D-AB0D-41B6-B017-3803A210466B}" dt="2022-11-29T03:12:07.549" v="3767"/>
          <ac:spMkLst>
            <pc:docMk/>
            <pc:sldMk cId="62308209" sldId="2161"/>
            <ac:spMk id="56" creationId="{C9F4AC25-7EF7-76C9-9500-017CEBD263CB}"/>
          </ac:spMkLst>
        </pc:spChg>
        <pc:spChg chg="mod">
          <ac:chgData name="Aurelien Domont" userId="6da7715ce44349b3" providerId="LiveId" clId="{29D6A56D-AB0D-41B6-B017-3803A210466B}" dt="2022-11-29T03:12:07.549" v="3767"/>
          <ac:spMkLst>
            <pc:docMk/>
            <pc:sldMk cId="62308209" sldId="2161"/>
            <ac:spMk id="57" creationId="{D5DC4C97-1FE8-D372-219C-B5583F2A63C6}"/>
          </ac:spMkLst>
        </pc:spChg>
        <pc:spChg chg="mod">
          <ac:chgData name="Aurelien Domont" userId="6da7715ce44349b3" providerId="LiveId" clId="{29D6A56D-AB0D-41B6-B017-3803A210466B}" dt="2022-11-29T03:12:07.549" v="3767"/>
          <ac:spMkLst>
            <pc:docMk/>
            <pc:sldMk cId="62308209" sldId="2161"/>
            <ac:spMk id="58" creationId="{B95F2970-98A7-6C71-29AD-999028A2EC69}"/>
          </ac:spMkLst>
        </pc:spChg>
        <pc:spChg chg="mod">
          <ac:chgData name="Aurelien Domont" userId="6da7715ce44349b3" providerId="LiveId" clId="{29D6A56D-AB0D-41B6-B017-3803A210466B}" dt="2022-11-29T03:12:07.549" v="3767"/>
          <ac:spMkLst>
            <pc:docMk/>
            <pc:sldMk cId="62308209" sldId="2161"/>
            <ac:spMk id="59" creationId="{2281EC12-7418-D02F-B507-389997900D41}"/>
          </ac:spMkLst>
        </pc:spChg>
        <pc:spChg chg="add mod">
          <ac:chgData name="Aurelien Domont" userId="6da7715ce44349b3" providerId="LiveId" clId="{29D6A56D-AB0D-41B6-B017-3803A210466B}" dt="2022-11-29T03:49:01.765" v="4001"/>
          <ac:spMkLst>
            <pc:docMk/>
            <pc:sldMk cId="62308209" sldId="2161"/>
            <ac:spMk id="60" creationId="{3AF2310B-6B19-D70C-7ABD-78D9F88199B7}"/>
          </ac:spMkLst>
        </pc:spChg>
        <pc:spChg chg="add mod">
          <ac:chgData name="Aurelien Domont" userId="6da7715ce44349b3" providerId="LiveId" clId="{29D6A56D-AB0D-41B6-B017-3803A210466B}" dt="2022-11-29T04:15:59.675" v="4814" actId="20577"/>
          <ac:spMkLst>
            <pc:docMk/>
            <pc:sldMk cId="62308209" sldId="2161"/>
            <ac:spMk id="61" creationId="{B9D03F71-77E6-BF1F-EAF3-F547C5059954}"/>
          </ac:spMkLst>
        </pc:spChg>
        <pc:spChg chg="del">
          <ac:chgData name="Aurelien Domont" userId="6da7715ce44349b3" providerId="LiveId" clId="{29D6A56D-AB0D-41B6-B017-3803A210466B}" dt="2022-11-29T03:12:06.598" v="3766" actId="478"/>
          <ac:spMkLst>
            <pc:docMk/>
            <pc:sldMk cId="62308209" sldId="2161"/>
            <ac:spMk id="73" creationId="{C668EDCD-6B28-442F-B7C3-2B0D4897B6F9}"/>
          </ac:spMkLst>
        </pc:spChg>
        <pc:spChg chg="del">
          <ac:chgData name="Aurelien Domont" userId="6da7715ce44349b3" providerId="LiveId" clId="{29D6A56D-AB0D-41B6-B017-3803A210466B}" dt="2022-11-29T03:12:06.598" v="3766" actId="478"/>
          <ac:spMkLst>
            <pc:docMk/>
            <pc:sldMk cId="62308209" sldId="2161"/>
            <ac:spMk id="74" creationId="{03F6514F-3D02-4564-ADC8-DC0817BCC948}"/>
          </ac:spMkLst>
        </pc:spChg>
        <pc:spChg chg="del">
          <ac:chgData name="Aurelien Domont" userId="6da7715ce44349b3" providerId="LiveId" clId="{29D6A56D-AB0D-41B6-B017-3803A210466B}" dt="2022-11-29T03:12:06.598" v="3766" actId="478"/>
          <ac:spMkLst>
            <pc:docMk/>
            <pc:sldMk cId="62308209" sldId="2161"/>
            <ac:spMk id="75" creationId="{6C561391-988C-4874-A798-F591CEF046D9}"/>
          </ac:spMkLst>
        </pc:spChg>
        <pc:spChg chg="del">
          <ac:chgData name="Aurelien Domont" userId="6da7715ce44349b3" providerId="LiveId" clId="{29D6A56D-AB0D-41B6-B017-3803A210466B}" dt="2022-11-29T03:12:06.598" v="3766" actId="478"/>
          <ac:spMkLst>
            <pc:docMk/>
            <pc:sldMk cId="62308209" sldId="2161"/>
            <ac:spMk id="76" creationId="{B4DAE029-E3D6-430E-8906-A24ABCE60AF7}"/>
          </ac:spMkLst>
        </pc:spChg>
        <pc:spChg chg="del">
          <ac:chgData name="Aurelien Domont" userId="6da7715ce44349b3" providerId="LiveId" clId="{29D6A56D-AB0D-41B6-B017-3803A210466B}" dt="2022-11-29T03:12:06.598" v="3766" actId="478"/>
          <ac:spMkLst>
            <pc:docMk/>
            <pc:sldMk cId="62308209" sldId="2161"/>
            <ac:spMk id="77" creationId="{7BA855D7-CC73-483D-8655-83DEC862FF66}"/>
          </ac:spMkLst>
        </pc:spChg>
        <pc:spChg chg="del">
          <ac:chgData name="Aurelien Domont" userId="6da7715ce44349b3" providerId="LiveId" clId="{29D6A56D-AB0D-41B6-B017-3803A210466B}" dt="2022-11-29T03:12:06.598" v="3766" actId="478"/>
          <ac:spMkLst>
            <pc:docMk/>
            <pc:sldMk cId="62308209" sldId="2161"/>
            <ac:spMk id="78" creationId="{FA1091B8-4DD8-4C8D-8CBD-A2E2CEE60B1F}"/>
          </ac:spMkLst>
        </pc:spChg>
        <pc:grpChg chg="add del mod">
          <ac:chgData name="Aurelien Domont" userId="6da7715ce44349b3" providerId="LiveId" clId="{29D6A56D-AB0D-41B6-B017-3803A210466B}" dt="2022-11-29T03:49:15.683" v="4003" actId="478"/>
          <ac:grpSpMkLst>
            <pc:docMk/>
            <pc:sldMk cId="62308209" sldId="2161"/>
            <ac:grpSpMk id="54" creationId="{0A43C14D-180F-A44D-D60E-6823DB1887ED}"/>
          </ac:grpSpMkLst>
        </pc:grpChg>
        <pc:grpChg chg="mod">
          <ac:chgData name="Aurelien Domont" userId="6da7715ce44349b3" providerId="LiveId" clId="{29D6A56D-AB0D-41B6-B017-3803A210466B}" dt="2022-11-29T03:12:07.549" v="3767"/>
          <ac:grpSpMkLst>
            <pc:docMk/>
            <pc:sldMk cId="62308209" sldId="2161"/>
            <ac:grpSpMk id="55" creationId="{5812630E-59D4-F135-B1EC-D8E3D2462612}"/>
          </ac:grpSpMkLst>
        </pc:grpChg>
        <pc:grpChg chg="del">
          <ac:chgData name="Aurelien Domont" userId="6da7715ce44349b3" providerId="LiveId" clId="{29D6A56D-AB0D-41B6-B017-3803A210466B}" dt="2022-11-29T03:12:06.598" v="3766" actId="478"/>
          <ac:grpSpMkLst>
            <pc:docMk/>
            <pc:sldMk cId="62308209" sldId="2161"/>
            <ac:grpSpMk id="85" creationId="{29E32D0B-A58E-4E75-B2E7-01A6CE79C7F0}"/>
          </ac:grpSpMkLst>
        </pc:grpChg>
        <pc:picChg chg="add del mod">
          <ac:chgData name="Aurelien Domont" userId="6da7715ce44349b3" providerId="LiveId" clId="{29D6A56D-AB0D-41B6-B017-3803A210466B}" dt="2022-11-29T03:49:15.683" v="4003" actId="478"/>
          <ac:picMkLst>
            <pc:docMk/>
            <pc:sldMk cId="62308209" sldId="2161"/>
            <ac:picMk id="29" creationId="{21E5706E-F901-E221-DE07-2FE9C787109E}"/>
          </ac:picMkLst>
        </pc:picChg>
        <pc:picChg chg="add del mod">
          <ac:chgData name="Aurelien Domont" userId="6da7715ce44349b3" providerId="LiveId" clId="{29D6A56D-AB0D-41B6-B017-3803A210466B}" dt="2022-11-29T03:49:15.683" v="4003" actId="478"/>
          <ac:picMkLst>
            <pc:docMk/>
            <pc:sldMk cId="62308209" sldId="2161"/>
            <ac:picMk id="30" creationId="{0FA2C915-8460-B095-3F8E-8F1EA977C32A}"/>
          </ac:picMkLst>
        </pc:picChg>
        <pc:picChg chg="add del mod">
          <ac:chgData name="Aurelien Domont" userId="6da7715ce44349b3" providerId="LiveId" clId="{29D6A56D-AB0D-41B6-B017-3803A210466B}" dt="2022-11-29T03:49:15.683" v="4003" actId="478"/>
          <ac:picMkLst>
            <pc:docMk/>
            <pc:sldMk cId="62308209" sldId="2161"/>
            <ac:picMk id="32" creationId="{F3C3BCEF-82D4-8700-FC0B-F36A35AAA22F}"/>
          </ac:picMkLst>
        </pc:picChg>
        <pc:picChg chg="add del mod">
          <ac:chgData name="Aurelien Domont" userId="6da7715ce44349b3" providerId="LiveId" clId="{29D6A56D-AB0D-41B6-B017-3803A210466B}" dt="2022-11-29T03:49:15.683" v="4003" actId="478"/>
          <ac:picMkLst>
            <pc:docMk/>
            <pc:sldMk cId="62308209" sldId="2161"/>
            <ac:picMk id="33" creationId="{95F3D5DD-67C8-8F85-6A01-E891316F075E}"/>
          </ac:picMkLst>
        </pc:picChg>
        <pc:picChg chg="add del mod">
          <ac:chgData name="Aurelien Domont" userId="6da7715ce44349b3" providerId="LiveId" clId="{29D6A56D-AB0D-41B6-B017-3803A210466B}" dt="2022-11-29T03:49:15.683" v="4003" actId="478"/>
          <ac:picMkLst>
            <pc:docMk/>
            <pc:sldMk cId="62308209" sldId="2161"/>
            <ac:picMk id="52" creationId="{0B29405B-C1F4-91C0-08B4-295E9BC6B0BE}"/>
          </ac:picMkLst>
        </pc:picChg>
        <pc:picChg chg="add del mod">
          <ac:chgData name="Aurelien Domont" userId="6da7715ce44349b3" providerId="LiveId" clId="{29D6A56D-AB0D-41B6-B017-3803A210466B}" dt="2022-11-29T03:49:15.683" v="4003" actId="478"/>
          <ac:picMkLst>
            <pc:docMk/>
            <pc:sldMk cId="62308209" sldId="2161"/>
            <ac:picMk id="53" creationId="{1A6BA872-1A66-B82B-8BB2-A145A75EBA53}"/>
          </ac:picMkLst>
        </pc:picChg>
        <pc:picChg chg="del">
          <ac:chgData name="Aurelien Domont" userId="6da7715ce44349b3" providerId="LiveId" clId="{29D6A56D-AB0D-41B6-B017-3803A210466B}" dt="2022-11-29T03:12:06.598" v="3766" actId="478"/>
          <ac:picMkLst>
            <pc:docMk/>
            <pc:sldMk cId="62308209" sldId="2161"/>
            <ac:picMk id="79" creationId="{8323D500-379C-42EB-829B-5CBA0C9BD11A}"/>
          </ac:picMkLst>
        </pc:picChg>
        <pc:picChg chg="del">
          <ac:chgData name="Aurelien Domont" userId="6da7715ce44349b3" providerId="LiveId" clId="{29D6A56D-AB0D-41B6-B017-3803A210466B}" dt="2022-11-29T03:12:06.598" v="3766" actId="478"/>
          <ac:picMkLst>
            <pc:docMk/>
            <pc:sldMk cId="62308209" sldId="2161"/>
            <ac:picMk id="80" creationId="{15E36AB3-1C2B-4419-BA3B-C76E995F1C2E}"/>
          </ac:picMkLst>
        </pc:picChg>
        <pc:picChg chg="del">
          <ac:chgData name="Aurelien Domont" userId="6da7715ce44349b3" providerId="LiveId" clId="{29D6A56D-AB0D-41B6-B017-3803A210466B}" dt="2022-11-29T03:12:06.598" v="3766" actId="478"/>
          <ac:picMkLst>
            <pc:docMk/>
            <pc:sldMk cId="62308209" sldId="2161"/>
            <ac:picMk id="81" creationId="{D6EFFCE4-6246-4DF3-ADA4-8908107C4126}"/>
          </ac:picMkLst>
        </pc:picChg>
        <pc:picChg chg="del">
          <ac:chgData name="Aurelien Domont" userId="6da7715ce44349b3" providerId="LiveId" clId="{29D6A56D-AB0D-41B6-B017-3803A210466B}" dt="2022-11-29T03:12:06.598" v="3766" actId="478"/>
          <ac:picMkLst>
            <pc:docMk/>
            <pc:sldMk cId="62308209" sldId="2161"/>
            <ac:picMk id="82" creationId="{CF628464-EBFE-42E9-962A-D71144AD423F}"/>
          </ac:picMkLst>
        </pc:picChg>
        <pc:picChg chg="del">
          <ac:chgData name="Aurelien Domont" userId="6da7715ce44349b3" providerId="LiveId" clId="{29D6A56D-AB0D-41B6-B017-3803A210466B}" dt="2022-11-29T03:12:06.598" v="3766" actId="478"/>
          <ac:picMkLst>
            <pc:docMk/>
            <pc:sldMk cId="62308209" sldId="2161"/>
            <ac:picMk id="83" creationId="{BA885BFE-89BB-4CC9-9B7E-B34C40B6D5D7}"/>
          </ac:picMkLst>
        </pc:picChg>
        <pc:picChg chg="del">
          <ac:chgData name="Aurelien Domont" userId="6da7715ce44349b3" providerId="LiveId" clId="{29D6A56D-AB0D-41B6-B017-3803A210466B}" dt="2022-11-29T03:12:06.598" v="3766" actId="478"/>
          <ac:picMkLst>
            <pc:docMk/>
            <pc:sldMk cId="62308209" sldId="2161"/>
            <ac:picMk id="84" creationId="{0BE82368-4F77-4BDE-ACE8-51420ECE202E}"/>
          </ac:picMkLst>
        </pc:picChg>
        <pc:cxnChg chg="add del mod">
          <ac:chgData name="Aurelien Domont" userId="6da7715ce44349b3" providerId="LiveId" clId="{29D6A56D-AB0D-41B6-B017-3803A210466B}" dt="2022-11-29T03:49:15.683" v="4003" actId="478"/>
          <ac:cxnSpMkLst>
            <pc:docMk/>
            <pc:sldMk cId="62308209" sldId="2161"/>
            <ac:cxnSpMk id="10" creationId="{C90FF42E-85FC-B14D-5BC1-6358739A2227}"/>
          </ac:cxnSpMkLst>
        </pc:cxnChg>
        <pc:cxnChg chg="add del mod">
          <ac:chgData name="Aurelien Domont" userId="6da7715ce44349b3" providerId="LiveId" clId="{29D6A56D-AB0D-41B6-B017-3803A210466B}" dt="2022-11-29T03:49:15.683" v="4003" actId="478"/>
          <ac:cxnSpMkLst>
            <pc:docMk/>
            <pc:sldMk cId="62308209" sldId="2161"/>
            <ac:cxnSpMk id="11" creationId="{AA75F6A0-5594-7AE5-06FE-E4B554345D1D}"/>
          </ac:cxnSpMkLst>
        </pc:cxnChg>
        <pc:cxnChg chg="add del mod">
          <ac:chgData name="Aurelien Domont" userId="6da7715ce44349b3" providerId="LiveId" clId="{29D6A56D-AB0D-41B6-B017-3803A210466B}" dt="2022-11-29T03:49:15.683" v="4003" actId="478"/>
          <ac:cxnSpMkLst>
            <pc:docMk/>
            <pc:sldMk cId="62308209" sldId="2161"/>
            <ac:cxnSpMk id="12" creationId="{FF1A3A0D-E6F5-B612-1307-4479B8694F4C}"/>
          </ac:cxnSpMkLst>
        </pc:cxnChg>
        <pc:cxnChg chg="add del mod">
          <ac:chgData name="Aurelien Domont" userId="6da7715ce44349b3" providerId="LiveId" clId="{29D6A56D-AB0D-41B6-B017-3803A210466B}" dt="2022-11-29T03:49:15.683" v="4003" actId="478"/>
          <ac:cxnSpMkLst>
            <pc:docMk/>
            <pc:sldMk cId="62308209" sldId="2161"/>
            <ac:cxnSpMk id="14" creationId="{D9B47FF6-2607-F356-B91A-F6F6D72021A8}"/>
          </ac:cxnSpMkLst>
        </pc:cxnChg>
        <pc:cxnChg chg="add del mod">
          <ac:chgData name="Aurelien Domont" userId="6da7715ce44349b3" providerId="LiveId" clId="{29D6A56D-AB0D-41B6-B017-3803A210466B}" dt="2022-11-29T03:49:15.683" v="4003" actId="478"/>
          <ac:cxnSpMkLst>
            <pc:docMk/>
            <pc:sldMk cId="62308209" sldId="2161"/>
            <ac:cxnSpMk id="15" creationId="{A3F34614-2EDD-70D7-B55A-5F8322A70152}"/>
          </ac:cxnSpMkLst>
        </pc:cxnChg>
        <pc:cxnChg chg="add del mod">
          <ac:chgData name="Aurelien Domont" userId="6da7715ce44349b3" providerId="LiveId" clId="{29D6A56D-AB0D-41B6-B017-3803A210466B}" dt="2022-11-29T03:49:15.683" v="4003" actId="478"/>
          <ac:cxnSpMkLst>
            <pc:docMk/>
            <pc:sldMk cId="62308209" sldId="2161"/>
            <ac:cxnSpMk id="17" creationId="{DA6085AF-6033-B59E-227F-FC441BCCEFF7}"/>
          </ac:cxnSpMkLst>
        </pc:cxnChg>
        <pc:cxnChg chg="add del mod">
          <ac:chgData name="Aurelien Domont" userId="6da7715ce44349b3" providerId="LiveId" clId="{29D6A56D-AB0D-41B6-B017-3803A210466B}" dt="2022-11-29T03:49:15.683" v="4003" actId="478"/>
          <ac:cxnSpMkLst>
            <pc:docMk/>
            <pc:sldMk cId="62308209" sldId="2161"/>
            <ac:cxnSpMk id="18" creationId="{5AA74F4F-2F44-7079-4649-24D3860EA521}"/>
          </ac:cxnSpMkLst>
        </pc:cxnChg>
        <pc:cxnChg chg="del">
          <ac:chgData name="Aurelien Domont" userId="6da7715ce44349b3" providerId="LiveId" clId="{29D6A56D-AB0D-41B6-B017-3803A210466B}" dt="2022-11-29T03:12:06.598" v="3766" actId="478"/>
          <ac:cxnSpMkLst>
            <pc:docMk/>
            <pc:sldMk cId="62308209" sldId="2161"/>
            <ac:cxnSpMk id="41" creationId="{8C5AD82E-AB23-4089-AA37-932F239A2C62}"/>
          </ac:cxnSpMkLst>
        </pc:cxnChg>
        <pc:cxnChg chg="del mod">
          <ac:chgData name="Aurelien Domont" userId="6da7715ce44349b3" providerId="LiveId" clId="{29D6A56D-AB0D-41B6-B017-3803A210466B}" dt="2022-11-29T03:12:06.598" v="3766" actId="478"/>
          <ac:cxnSpMkLst>
            <pc:docMk/>
            <pc:sldMk cId="62308209" sldId="2161"/>
            <ac:cxnSpMk id="42" creationId="{9453C508-ECBC-4AF0-B3F0-207099046C59}"/>
          </ac:cxnSpMkLst>
        </pc:cxnChg>
        <pc:cxnChg chg="del">
          <ac:chgData name="Aurelien Domont" userId="6da7715ce44349b3" providerId="LiveId" clId="{29D6A56D-AB0D-41B6-B017-3803A210466B}" dt="2022-11-29T03:12:06.598" v="3766" actId="478"/>
          <ac:cxnSpMkLst>
            <pc:docMk/>
            <pc:sldMk cId="62308209" sldId="2161"/>
            <ac:cxnSpMk id="43" creationId="{ECB40045-54EE-48A2-9963-3DAA40D26B70}"/>
          </ac:cxnSpMkLst>
        </pc:cxnChg>
        <pc:cxnChg chg="del">
          <ac:chgData name="Aurelien Domont" userId="6da7715ce44349b3" providerId="LiveId" clId="{29D6A56D-AB0D-41B6-B017-3803A210466B}" dt="2022-11-29T03:12:06.598" v="3766" actId="478"/>
          <ac:cxnSpMkLst>
            <pc:docMk/>
            <pc:sldMk cId="62308209" sldId="2161"/>
            <ac:cxnSpMk id="44" creationId="{328F4FA4-D5AC-41D7-A610-C71E56353ABA}"/>
          </ac:cxnSpMkLst>
        </pc:cxnChg>
        <pc:cxnChg chg="del">
          <ac:chgData name="Aurelien Domont" userId="6da7715ce44349b3" providerId="LiveId" clId="{29D6A56D-AB0D-41B6-B017-3803A210466B}" dt="2022-11-29T03:12:06.598" v="3766" actId="478"/>
          <ac:cxnSpMkLst>
            <pc:docMk/>
            <pc:sldMk cId="62308209" sldId="2161"/>
            <ac:cxnSpMk id="45" creationId="{5A00F544-B637-4AE0-9456-DEADC19170B4}"/>
          </ac:cxnSpMkLst>
        </pc:cxnChg>
        <pc:cxnChg chg="del">
          <ac:chgData name="Aurelien Domont" userId="6da7715ce44349b3" providerId="LiveId" clId="{29D6A56D-AB0D-41B6-B017-3803A210466B}" dt="2022-11-29T03:12:06.598" v="3766" actId="478"/>
          <ac:cxnSpMkLst>
            <pc:docMk/>
            <pc:sldMk cId="62308209" sldId="2161"/>
            <ac:cxnSpMk id="46" creationId="{89563420-A8F1-4B09-BC0F-B0F2CBFDEA49}"/>
          </ac:cxnSpMkLst>
        </pc:cxnChg>
        <pc:cxnChg chg="del">
          <ac:chgData name="Aurelien Domont" userId="6da7715ce44349b3" providerId="LiveId" clId="{29D6A56D-AB0D-41B6-B017-3803A210466B}" dt="2022-11-29T03:12:06.598" v="3766" actId="478"/>
          <ac:cxnSpMkLst>
            <pc:docMk/>
            <pc:sldMk cId="62308209" sldId="2161"/>
            <ac:cxnSpMk id="47" creationId="{15F6E258-DA49-4678-AA7D-F999C6AE98B0}"/>
          </ac:cxnSpMkLst>
        </pc:cxnChg>
      </pc:sldChg>
      <pc:sldChg chg="modSp del mod ord">
        <pc:chgData name="Aurelien Domont" userId="6da7715ce44349b3" providerId="LiveId" clId="{29D6A56D-AB0D-41B6-B017-3803A210466B}" dt="2021-08-05T05:54:33.690" v="1377" actId="47"/>
        <pc:sldMkLst>
          <pc:docMk/>
          <pc:sldMk cId="3272444503" sldId="2162"/>
        </pc:sldMkLst>
        <pc:spChg chg="mod">
          <ac:chgData name="Aurelien Domont" userId="6da7715ce44349b3" providerId="LiveId" clId="{29D6A56D-AB0D-41B6-B017-3803A210466B}" dt="2021-08-03T07:30:24.545" v="1269" actId="20577"/>
          <ac:spMkLst>
            <pc:docMk/>
            <pc:sldMk cId="3272444503" sldId="2162"/>
            <ac:spMk id="6" creationId="{22D27BA3-CC85-4DD2-AEDB-C22AC367D60A}"/>
          </ac:spMkLst>
        </pc:spChg>
        <pc:spChg chg="mod">
          <ac:chgData name="Aurelien Domont" userId="6da7715ce44349b3" providerId="LiveId" clId="{29D6A56D-AB0D-41B6-B017-3803A210466B}" dt="2021-08-03T07:30:47.176" v="1271" actId="20577"/>
          <ac:spMkLst>
            <pc:docMk/>
            <pc:sldMk cId="3272444503" sldId="2162"/>
            <ac:spMk id="16" creationId="{6C2BB713-9637-4B9B-938F-E9768876782A}"/>
          </ac:spMkLst>
        </pc:spChg>
      </pc:sldChg>
      <pc:sldChg chg="del">
        <pc:chgData name="Aurelien Domont" userId="6da7715ce44349b3" providerId="LiveId" clId="{29D6A56D-AB0D-41B6-B017-3803A210466B}" dt="2021-08-05T07:00:57.610" v="1625" actId="47"/>
        <pc:sldMkLst>
          <pc:docMk/>
          <pc:sldMk cId="4178836903" sldId="2169"/>
        </pc:sldMkLst>
      </pc:sldChg>
      <pc:sldChg chg="del">
        <pc:chgData name="Aurelien Domont" userId="6da7715ce44349b3" providerId="LiveId" clId="{29D6A56D-AB0D-41B6-B017-3803A210466B}" dt="2021-08-05T07:00:57.610" v="1625" actId="47"/>
        <pc:sldMkLst>
          <pc:docMk/>
          <pc:sldMk cId="2678382071" sldId="2170"/>
        </pc:sldMkLst>
      </pc:sldChg>
      <pc:sldChg chg="del">
        <pc:chgData name="Aurelien Domont" userId="6da7715ce44349b3" providerId="LiveId" clId="{29D6A56D-AB0D-41B6-B017-3803A210466B}" dt="2021-08-05T07:00:57.610" v="1625" actId="47"/>
        <pc:sldMkLst>
          <pc:docMk/>
          <pc:sldMk cId="4258618140" sldId="2187"/>
        </pc:sldMkLst>
      </pc:sldChg>
      <pc:sldChg chg="del">
        <pc:chgData name="Aurelien Domont" userId="6da7715ce44349b3" providerId="LiveId" clId="{29D6A56D-AB0D-41B6-B017-3803A210466B}" dt="2021-08-05T07:00:57.610" v="1625" actId="47"/>
        <pc:sldMkLst>
          <pc:docMk/>
          <pc:sldMk cId="2349979947" sldId="2190"/>
        </pc:sldMkLst>
      </pc:sldChg>
      <pc:sldChg chg="del">
        <pc:chgData name="Aurelien Domont" userId="6da7715ce44349b3" providerId="LiveId" clId="{29D6A56D-AB0D-41B6-B017-3803A210466B}" dt="2021-08-05T07:00:57.610" v="1625" actId="47"/>
        <pc:sldMkLst>
          <pc:docMk/>
          <pc:sldMk cId="3340324934" sldId="2191"/>
        </pc:sldMkLst>
      </pc:sldChg>
      <pc:sldChg chg="addSp delSp modSp mod ord">
        <pc:chgData name="Aurelien Domont" userId="6da7715ce44349b3" providerId="LiveId" clId="{29D6A56D-AB0D-41B6-B017-3803A210466B}" dt="2023-02-16T03:47:42.259" v="8371" actId="20577"/>
        <pc:sldMkLst>
          <pc:docMk/>
          <pc:sldMk cId="1209091634" sldId="2192"/>
        </pc:sldMkLst>
        <pc:spChg chg="add del mod">
          <ac:chgData name="Aurelien Domont" userId="6da7715ce44349b3" providerId="LiveId" clId="{29D6A56D-AB0D-41B6-B017-3803A210466B}" dt="2023-02-16T03:41:48.395" v="8209" actId="478"/>
          <ac:spMkLst>
            <pc:docMk/>
            <pc:sldMk cId="1209091634" sldId="2192"/>
            <ac:spMk id="2" creationId="{22F184F3-7800-49B9-9809-C6E29F0E77A3}"/>
          </ac:spMkLst>
        </pc:spChg>
        <pc:spChg chg="add del mod">
          <ac:chgData name="Aurelien Domont" userId="6da7715ce44349b3" providerId="LiveId" clId="{29D6A56D-AB0D-41B6-B017-3803A210466B}" dt="2023-02-16T03:41:52.290" v="8211" actId="478"/>
          <ac:spMkLst>
            <pc:docMk/>
            <pc:sldMk cId="1209091634" sldId="2192"/>
            <ac:spMk id="3" creationId="{89871E1D-85DF-4A1A-B6B2-A8DDC4C5192D}"/>
          </ac:spMkLst>
        </pc:spChg>
        <pc:spChg chg="mod">
          <ac:chgData name="Aurelien Domont" userId="6da7715ce44349b3" providerId="LiveId" clId="{29D6A56D-AB0D-41B6-B017-3803A210466B}" dt="2022-11-29T03:10:19.794" v="3765"/>
          <ac:spMkLst>
            <pc:docMk/>
            <pc:sldMk cId="1209091634" sldId="2192"/>
            <ac:spMk id="5" creationId="{3AA7B8AD-E6F9-4E25-A3A4-71D021032612}"/>
          </ac:spMkLst>
        </pc:spChg>
        <pc:spChg chg="add del mod">
          <ac:chgData name="Aurelien Domont" userId="6da7715ce44349b3" providerId="LiveId" clId="{29D6A56D-AB0D-41B6-B017-3803A210466B}" dt="2023-02-16T03:47:37.584" v="8368" actId="478"/>
          <ac:spMkLst>
            <pc:docMk/>
            <pc:sldMk cId="1209091634" sldId="2192"/>
            <ac:spMk id="7" creationId="{CC1E6177-3FF8-E597-12F0-F519240BD4AE}"/>
          </ac:spMkLst>
        </pc:spChg>
        <pc:spChg chg="add del mod">
          <ac:chgData name="Aurelien Domont" userId="6da7715ce44349b3" providerId="LiveId" clId="{29D6A56D-AB0D-41B6-B017-3803A210466B}" dt="2023-02-16T03:47:37.584" v="8368" actId="478"/>
          <ac:spMkLst>
            <pc:docMk/>
            <pc:sldMk cId="1209091634" sldId="2192"/>
            <ac:spMk id="8" creationId="{5E1610DD-DADF-86B7-C8A3-85F38B0AEB85}"/>
          </ac:spMkLst>
        </pc:spChg>
        <pc:spChg chg="add del mod">
          <ac:chgData name="Aurelien Domont" userId="6da7715ce44349b3" providerId="LiveId" clId="{29D6A56D-AB0D-41B6-B017-3803A210466B}" dt="2023-02-16T03:47:37.584" v="8368" actId="478"/>
          <ac:spMkLst>
            <pc:docMk/>
            <pc:sldMk cId="1209091634" sldId="2192"/>
            <ac:spMk id="10" creationId="{0D760463-AD46-21CD-2360-3095A3A68E15}"/>
          </ac:spMkLst>
        </pc:spChg>
        <pc:spChg chg="add mod">
          <ac:chgData name="Aurelien Domont" userId="6da7715ce44349b3" providerId="LiveId" clId="{29D6A56D-AB0D-41B6-B017-3803A210466B}" dt="2023-01-12T23:34:49.415" v="7683" actId="571"/>
          <ac:spMkLst>
            <pc:docMk/>
            <pc:sldMk cId="1209091634" sldId="2192"/>
            <ac:spMk id="10" creationId="{464B29F5-F03F-4A79-467C-D3F2125A95EA}"/>
          </ac:spMkLst>
        </pc:spChg>
        <pc:spChg chg="add del mod">
          <ac:chgData name="Aurelien Domont" userId="6da7715ce44349b3" providerId="LiveId" clId="{29D6A56D-AB0D-41B6-B017-3803A210466B}" dt="2023-02-16T03:42:29.089" v="8233" actId="478"/>
          <ac:spMkLst>
            <pc:docMk/>
            <pc:sldMk cId="1209091634" sldId="2192"/>
            <ac:spMk id="14" creationId="{1F627FB2-3D72-BD50-3D88-248CA7CFCB54}"/>
          </ac:spMkLst>
        </pc:spChg>
        <pc:spChg chg="add del mod">
          <ac:chgData name="Aurelien Domont" userId="6da7715ce44349b3" providerId="LiveId" clId="{29D6A56D-AB0D-41B6-B017-3803A210466B}" dt="2023-01-12T23:38:15.573" v="7910" actId="478"/>
          <ac:spMkLst>
            <pc:docMk/>
            <pc:sldMk cId="1209091634" sldId="2192"/>
            <ac:spMk id="14" creationId="{24E2B304-60AB-94D0-E3D4-53F121C86B1E}"/>
          </ac:spMkLst>
        </pc:spChg>
        <pc:spChg chg="add del mod">
          <ac:chgData name="Aurelien Domont" userId="6da7715ce44349b3" providerId="LiveId" clId="{29D6A56D-AB0D-41B6-B017-3803A210466B}" dt="2023-02-16T03:45:12.354" v="8364"/>
          <ac:spMkLst>
            <pc:docMk/>
            <pc:sldMk cId="1209091634" sldId="2192"/>
            <ac:spMk id="15" creationId="{A2389004-6E65-2103-D1F2-4C83D7D75705}"/>
          </ac:spMkLst>
        </pc:spChg>
        <pc:spChg chg="mod">
          <ac:chgData name="Aurelien Domont" userId="6da7715ce44349b3" providerId="LiveId" clId="{29D6A56D-AB0D-41B6-B017-3803A210466B}" dt="2023-02-16T03:47:42.259" v="8371" actId="20577"/>
          <ac:spMkLst>
            <pc:docMk/>
            <pc:sldMk cId="1209091634" sldId="2192"/>
            <ac:spMk id="16" creationId="{6C2BB713-9637-4B9B-938F-E9768876782A}"/>
          </ac:spMkLst>
        </pc:spChg>
        <pc:spChg chg="add del mod">
          <ac:chgData name="Aurelien Domont" userId="6da7715ce44349b3" providerId="LiveId" clId="{29D6A56D-AB0D-41B6-B017-3803A210466B}" dt="2023-01-12T23:38:18.562" v="7912" actId="478"/>
          <ac:spMkLst>
            <pc:docMk/>
            <pc:sldMk cId="1209091634" sldId="2192"/>
            <ac:spMk id="17" creationId="{82661A46-D950-1B9E-20F4-0A98B0E3B176}"/>
          </ac:spMkLst>
        </pc:spChg>
        <pc:spChg chg="add del mod">
          <ac:chgData name="Aurelien Domont" userId="6da7715ce44349b3" providerId="LiveId" clId="{29D6A56D-AB0D-41B6-B017-3803A210466B}" dt="2023-02-16T03:45:12.354" v="8364"/>
          <ac:spMkLst>
            <pc:docMk/>
            <pc:sldMk cId="1209091634" sldId="2192"/>
            <ac:spMk id="18" creationId="{EF1010B4-8DB3-660B-10D7-BAF831051606}"/>
          </ac:spMkLst>
        </pc:spChg>
        <pc:spChg chg="add del mod">
          <ac:chgData name="Aurelien Domont" userId="6da7715ce44349b3" providerId="LiveId" clId="{29D6A56D-AB0D-41B6-B017-3803A210466B}" dt="2023-01-12T23:38:20.572" v="7913" actId="478"/>
          <ac:spMkLst>
            <pc:docMk/>
            <pc:sldMk cId="1209091634" sldId="2192"/>
            <ac:spMk id="19" creationId="{462645C2-9C34-FE89-C7F8-D52BF1FD94D3}"/>
          </ac:spMkLst>
        </pc:spChg>
        <pc:spChg chg="add del mod">
          <ac:chgData name="Aurelien Domont" userId="6da7715ce44349b3" providerId="LiveId" clId="{29D6A56D-AB0D-41B6-B017-3803A210466B}" dt="2023-02-16T03:41:50.084" v="8210" actId="478"/>
          <ac:spMkLst>
            <pc:docMk/>
            <pc:sldMk cId="1209091634" sldId="2192"/>
            <ac:spMk id="20" creationId="{551E37A9-8517-586E-523C-4E320698FF3F}"/>
          </ac:spMkLst>
        </pc:spChg>
        <pc:spChg chg="add del mod">
          <ac:chgData name="Aurelien Domont" userId="6da7715ce44349b3" providerId="LiveId" clId="{29D6A56D-AB0D-41B6-B017-3803A210466B}" dt="2023-02-16T03:41:48.395" v="8209" actId="478"/>
          <ac:spMkLst>
            <pc:docMk/>
            <pc:sldMk cId="1209091634" sldId="2192"/>
            <ac:spMk id="21" creationId="{79477008-AD07-7007-6E51-2C094AF68717}"/>
          </ac:spMkLst>
        </pc:spChg>
        <pc:spChg chg="add del mod">
          <ac:chgData name="Aurelien Domont" userId="6da7715ce44349b3" providerId="LiveId" clId="{29D6A56D-AB0D-41B6-B017-3803A210466B}" dt="2023-01-12T23:38:56.710" v="7937"/>
          <ac:spMkLst>
            <pc:docMk/>
            <pc:sldMk cId="1209091634" sldId="2192"/>
            <ac:spMk id="22" creationId="{AF622B2C-F5E0-C432-56F5-F1C3BDF3E7CC}"/>
          </ac:spMkLst>
        </pc:spChg>
        <pc:spChg chg="add del mod">
          <ac:chgData name="Aurelien Domont" userId="6da7715ce44349b3" providerId="LiveId" clId="{29D6A56D-AB0D-41B6-B017-3803A210466B}" dt="2023-02-16T03:45:12.354" v="8364"/>
          <ac:spMkLst>
            <pc:docMk/>
            <pc:sldMk cId="1209091634" sldId="2192"/>
            <ac:spMk id="23" creationId="{7B1C20B1-7BD7-6C6A-B925-F38E8AD51508}"/>
          </ac:spMkLst>
        </pc:spChg>
        <pc:spChg chg="add del mod">
          <ac:chgData name="Aurelien Domont" userId="6da7715ce44349b3" providerId="LiveId" clId="{29D6A56D-AB0D-41B6-B017-3803A210466B}" dt="2023-01-12T23:39:53.963" v="7978"/>
          <ac:spMkLst>
            <pc:docMk/>
            <pc:sldMk cId="1209091634" sldId="2192"/>
            <ac:spMk id="23" creationId="{DAF3199B-B48E-5289-2896-E7789135B33C}"/>
          </ac:spMkLst>
        </pc:spChg>
        <pc:spChg chg="add del mod">
          <ac:chgData name="Aurelien Domont" userId="6da7715ce44349b3" providerId="LiveId" clId="{29D6A56D-AB0D-41B6-B017-3803A210466B}" dt="2023-02-16T03:41:59.062" v="8215" actId="478"/>
          <ac:spMkLst>
            <pc:docMk/>
            <pc:sldMk cId="1209091634" sldId="2192"/>
            <ac:spMk id="24" creationId="{11649953-F81A-7EEC-2114-836218E7ADFC}"/>
          </ac:spMkLst>
        </pc:spChg>
        <pc:spChg chg="add del mod">
          <ac:chgData name="Aurelien Domont" userId="6da7715ce44349b3" providerId="LiveId" clId="{29D6A56D-AB0D-41B6-B017-3803A210466B}" dt="2023-02-16T03:45:12.354" v="8364"/>
          <ac:spMkLst>
            <pc:docMk/>
            <pc:sldMk cId="1209091634" sldId="2192"/>
            <ac:spMk id="25" creationId="{8FB513B8-3800-E384-3587-E052AD52935C}"/>
          </ac:spMkLst>
        </pc:spChg>
        <pc:spChg chg="add del mod">
          <ac:chgData name="Aurelien Domont" userId="6da7715ce44349b3" providerId="LiveId" clId="{29D6A56D-AB0D-41B6-B017-3803A210466B}" dt="2023-02-16T03:47:37.584" v="8368" actId="478"/>
          <ac:spMkLst>
            <pc:docMk/>
            <pc:sldMk cId="1209091634" sldId="2192"/>
            <ac:spMk id="27" creationId="{022F9676-1CDA-4501-AB55-94D67867C319}"/>
          </ac:spMkLst>
        </pc:spChg>
        <pc:spChg chg="add del mod">
          <ac:chgData name="Aurelien Domont" userId="6da7715ce44349b3" providerId="LiveId" clId="{29D6A56D-AB0D-41B6-B017-3803A210466B}" dt="2023-02-16T03:45:12.354" v="8364"/>
          <ac:spMkLst>
            <pc:docMk/>
            <pc:sldMk cId="1209091634" sldId="2192"/>
            <ac:spMk id="28" creationId="{CD8C0CDC-A23C-9CDF-7976-473444071023}"/>
          </ac:spMkLst>
        </pc:spChg>
        <pc:spChg chg="del">
          <ac:chgData name="Aurelien Domont" userId="6da7715ce44349b3" providerId="LiveId" clId="{29D6A56D-AB0D-41B6-B017-3803A210466B}" dt="2021-08-05T07:24:30.668" v="1922" actId="478"/>
          <ac:spMkLst>
            <pc:docMk/>
            <pc:sldMk cId="1209091634" sldId="2192"/>
            <ac:spMk id="30" creationId="{923C41CF-5B83-4495-A8B0-44FF4D6FA348}"/>
          </ac:spMkLst>
        </pc:spChg>
        <pc:spChg chg="add del mod">
          <ac:chgData name="Aurelien Domont" userId="6da7715ce44349b3" providerId="LiveId" clId="{29D6A56D-AB0D-41B6-B017-3803A210466B}" dt="2023-02-16T03:45:12.354" v="8364"/>
          <ac:spMkLst>
            <pc:docMk/>
            <pc:sldMk cId="1209091634" sldId="2192"/>
            <ac:spMk id="32" creationId="{3C58911F-BA0F-3DE4-446B-2FDED23CD762}"/>
          </ac:spMkLst>
        </pc:spChg>
        <pc:spChg chg="del mod">
          <ac:chgData name="Aurelien Domont" userId="6da7715ce44349b3" providerId="LiveId" clId="{29D6A56D-AB0D-41B6-B017-3803A210466B}" dt="2021-08-05T07:26:48.188" v="2055" actId="478"/>
          <ac:spMkLst>
            <pc:docMk/>
            <pc:sldMk cId="1209091634" sldId="2192"/>
            <ac:spMk id="34" creationId="{7E571953-6197-4747-BD0F-640FF96CDD1D}"/>
          </ac:spMkLst>
        </pc:spChg>
        <pc:spChg chg="add del mod">
          <ac:chgData name="Aurelien Domont" userId="6da7715ce44349b3" providerId="LiveId" clId="{29D6A56D-AB0D-41B6-B017-3803A210466B}" dt="2023-02-16T03:45:12.354" v="8364"/>
          <ac:spMkLst>
            <pc:docMk/>
            <pc:sldMk cId="1209091634" sldId="2192"/>
            <ac:spMk id="35" creationId="{47BF6DB0-B482-C667-F470-89C4DD4563F4}"/>
          </ac:spMkLst>
        </pc:spChg>
        <pc:spChg chg="del mod">
          <ac:chgData name="Aurelien Domont" userId="6da7715ce44349b3" providerId="LiveId" clId="{29D6A56D-AB0D-41B6-B017-3803A210466B}" dt="2021-08-05T07:26:48.188" v="2055" actId="478"/>
          <ac:spMkLst>
            <pc:docMk/>
            <pc:sldMk cId="1209091634" sldId="2192"/>
            <ac:spMk id="35" creationId="{4A99C3F6-A408-4486-A9F9-59002C595D07}"/>
          </ac:spMkLst>
        </pc:spChg>
        <pc:spChg chg="del mod">
          <ac:chgData name="Aurelien Domont" userId="6da7715ce44349b3" providerId="LiveId" clId="{29D6A56D-AB0D-41B6-B017-3803A210466B}" dt="2021-08-05T07:26:48.188" v="2055" actId="478"/>
          <ac:spMkLst>
            <pc:docMk/>
            <pc:sldMk cId="1209091634" sldId="2192"/>
            <ac:spMk id="36" creationId="{5D53319E-0468-4B4B-98E5-3E07127703C8}"/>
          </ac:spMkLst>
        </pc:spChg>
        <pc:spChg chg="del">
          <ac:chgData name="Aurelien Domont" userId="6da7715ce44349b3" providerId="LiveId" clId="{29D6A56D-AB0D-41B6-B017-3803A210466B}" dt="2021-08-05T07:24:30.668" v="1922" actId="478"/>
          <ac:spMkLst>
            <pc:docMk/>
            <pc:sldMk cId="1209091634" sldId="2192"/>
            <ac:spMk id="37" creationId="{3C81E9F3-DC0D-4D6D-A856-00CCD9A8A24C}"/>
          </ac:spMkLst>
        </pc:spChg>
        <pc:spChg chg="add del mod">
          <ac:chgData name="Aurelien Domont" userId="6da7715ce44349b3" providerId="LiveId" clId="{29D6A56D-AB0D-41B6-B017-3803A210466B}" dt="2023-02-16T03:45:12.354" v="8364"/>
          <ac:spMkLst>
            <pc:docMk/>
            <pc:sldMk cId="1209091634" sldId="2192"/>
            <ac:spMk id="37" creationId="{72C975E9-615D-DD55-A2B7-44231BD36454}"/>
          </ac:spMkLst>
        </pc:spChg>
        <pc:spChg chg="del">
          <ac:chgData name="Aurelien Domont" userId="6da7715ce44349b3" providerId="LiveId" clId="{29D6A56D-AB0D-41B6-B017-3803A210466B}" dt="2021-08-05T07:24:30.668" v="1922" actId="478"/>
          <ac:spMkLst>
            <pc:docMk/>
            <pc:sldMk cId="1209091634" sldId="2192"/>
            <ac:spMk id="38" creationId="{B6B72380-C6BC-4134-9D0C-56D5EA500C68}"/>
          </ac:spMkLst>
        </pc:spChg>
        <pc:spChg chg="add del mod">
          <ac:chgData name="Aurelien Domont" userId="6da7715ce44349b3" providerId="LiveId" clId="{29D6A56D-AB0D-41B6-B017-3803A210466B}" dt="2023-02-16T03:45:12.354" v="8364"/>
          <ac:spMkLst>
            <pc:docMk/>
            <pc:sldMk cId="1209091634" sldId="2192"/>
            <ac:spMk id="39" creationId="{0D9F786F-43CE-91A6-0629-94D06FE28FA9}"/>
          </ac:spMkLst>
        </pc:spChg>
        <pc:spChg chg="del mod">
          <ac:chgData name="Aurelien Domont" userId="6da7715ce44349b3" providerId="LiveId" clId="{29D6A56D-AB0D-41B6-B017-3803A210466B}" dt="2021-08-05T07:27:51.846" v="2209" actId="478"/>
          <ac:spMkLst>
            <pc:docMk/>
            <pc:sldMk cId="1209091634" sldId="2192"/>
            <ac:spMk id="39" creationId="{2D9D59B7-B461-45F8-BF85-083779934B0A}"/>
          </ac:spMkLst>
        </pc:spChg>
        <pc:spChg chg="add del mod">
          <ac:chgData name="Aurelien Domont" userId="6da7715ce44349b3" providerId="LiveId" clId="{29D6A56D-AB0D-41B6-B017-3803A210466B}" dt="2023-02-16T03:47:37.584" v="8368" actId="478"/>
          <ac:spMkLst>
            <pc:docMk/>
            <pc:sldMk cId="1209091634" sldId="2192"/>
            <ac:spMk id="40" creationId="{FEDB459F-A4B8-4765-B92A-8FA0C8E5F993}"/>
          </ac:spMkLst>
        </pc:spChg>
        <pc:spChg chg="del mod">
          <ac:chgData name="Aurelien Domont" userId="6da7715ce44349b3" providerId="LiveId" clId="{29D6A56D-AB0D-41B6-B017-3803A210466B}" dt="2021-08-05T07:28:41.816" v="2291" actId="478"/>
          <ac:spMkLst>
            <pc:docMk/>
            <pc:sldMk cId="1209091634" sldId="2192"/>
            <ac:spMk id="41" creationId="{728AF1DC-F738-487E-B414-3D2103CF27C5}"/>
          </ac:spMkLst>
        </pc:spChg>
        <pc:spChg chg="add del mod">
          <ac:chgData name="Aurelien Domont" userId="6da7715ce44349b3" providerId="LiveId" clId="{29D6A56D-AB0D-41B6-B017-3803A210466B}" dt="2023-02-16T03:45:12.354" v="8364"/>
          <ac:spMkLst>
            <pc:docMk/>
            <pc:sldMk cId="1209091634" sldId="2192"/>
            <ac:spMk id="41" creationId="{9A5B23A2-9F0A-6E29-16B9-F2389082E4DA}"/>
          </ac:spMkLst>
        </pc:spChg>
        <pc:spChg chg="del">
          <ac:chgData name="Aurelien Domont" userId="6da7715ce44349b3" providerId="LiveId" clId="{29D6A56D-AB0D-41B6-B017-3803A210466B}" dt="2021-08-05T07:24:33.769" v="1923" actId="478"/>
          <ac:spMkLst>
            <pc:docMk/>
            <pc:sldMk cId="1209091634" sldId="2192"/>
            <ac:spMk id="42" creationId="{144BC78D-497F-4A02-8EDB-65B763F21D95}"/>
          </ac:spMkLst>
        </pc:spChg>
        <pc:spChg chg="add del mod">
          <ac:chgData name="Aurelien Domont" userId="6da7715ce44349b3" providerId="LiveId" clId="{29D6A56D-AB0D-41B6-B017-3803A210466B}" dt="2023-02-16T03:45:12.354" v="8364"/>
          <ac:spMkLst>
            <pc:docMk/>
            <pc:sldMk cId="1209091634" sldId="2192"/>
            <ac:spMk id="42" creationId="{1AE543F7-1DEB-3AEA-CEA6-6A4A16A96771}"/>
          </ac:spMkLst>
        </pc:spChg>
        <pc:spChg chg="add del mod">
          <ac:chgData name="Aurelien Domont" userId="6da7715ce44349b3" providerId="LiveId" clId="{29D6A56D-AB0D-41B6-B017-3803A210466B}" dt="2023-02-16T03:47:37.584" v="8368" actId="478"/>
          <ac:spMkLst>
            <pc:docMk/>
            <pc:sldMk cId="1209091634" sldId="2192"/>
            <ac:spMk id="45" creationId="{66C5F612-5A89-4C48-BDA9-92B6DBF678F8}"/>
          </ac:spMkLst>
        </pc:spChg>
        <pc:spChg chg="add del mod">
          <ac:chgData name="Aurelien Domont" userId="6da7715ce44349b3" providerId="LiveId" clId="{29D6A56D-AB0D-41B6-B017-3803A210466B}" dt="2023-02-16T03:47:37.584" v="8368" actId="478"/>
          <ac:spMkLst>
            <pc:docMk/>
            <pc:sldMk cId="1209091634" sldId="2192"/>
            <ac:spMk id="46" creationId="{5EDAE2A3-62C3-43E6-BBF2-1A1A1EBD0B6E}"/>
          </ac:spMkLst>
        </pc:spChg>
        <pc:spChg chg="add del mod">
          <ac:chgData name="Aurelien Domont" userId="6da7715ce44349b3" providerId="LiveId" clId="{29D6A56D-AB0D-41B6-B017-3803A210466B}" dt="2023-02-16T03:45:12.354" v="8364"/>
          <ac:spMkLst>
            <pc:docMk/>
            <pc:sldMk cId="1209091634" sldId="2192"/>
            <ac:spMk id="47" creationId="{51F66929-7CA8-419D-874A-B5808E8025B8}"/>
          </ac:spMkLst>
        </pc:spChg>
        <pc:spChg chg="del mod">
          <ac:chgData name="Aurelien Domont" userId="6da7715ce44349b3" providerId="LiveId" clId="{29D6A56D-AB0D-41B6-B017-3803A210466B}" dt="2021-08-05T07:24:12.461" v="1909" actId="478"/>
          <ac:spMkLst>
            <pc:docMk/>
            <pc:sldMk cId="1209091634" sldId="2192"/>
            <ac:spMk id="47" creationId="{8CD051DA-5632-4D12-9C75-ED64000E9143}"/>
          </ac:spMkLst>
        </pc:spChg>
        <pc:spChg chg="add del mod">
          <ac:chgData name="Aurelien Domont" userId="6da7715ce44349b3" providerId="LiveId" clId="{29D6A56D-AB0D-41B6-B017-3803A210466B}" dt="2023-02-16T03:45:12.354" v="8364"/>
          <ac:spMkLst>
            <pc:docMk/>
            <pc:sldMk cId="1209091634" sldId="2192"/>
            <ac:spMk id="48" creationId="{578A43DF-DE23-9D6D-3365-D95AA2A38399}"/>
          </ac:spMkLst>
        </pc:spChg>
        <pc:spChg chg="del mod">
          <ac:chgData name="Aurelien Domont" userId="6da7715ce44349b3" providerId="LiveId" clId="{29D6A56D-AB0D-41B6-B017-3803A210466B}" dt="2021-08-05T07:27:51.846" v="2209" actId="478"/>
          <ac:spMkLst>
            <pc:docMk/>
            <pc:sldMk cId="1209091634" sldId="2192"/>
            <ac:spMk id="48" creationId="{76C9DD00-67A5-4365-A8E4-8BE79F30DFD3}"/>
          </ac:spMkLst>
        </pc:spChg>
        <pc:spChg chg="del mod">
          <ac:chgData name="Aurelien Domont" userId="6da7715ce44349b3" providerId="LiveId" clId="{29D6A56D-AB0D-41B6-B017-3803A210466B}" dt="2021-08-05T07:29:45.133" v="2297" actId="478"/>
          <ac:spMkLst>
            <pc:docMk/>
            <pc:sldMk cId="1209091634" sldId="2192"/>
            <ac:spMk id="49" creationId="{357A4FF3-34B5-4549-BAFF-E8D4357C8F42}"/>
          </ac:spMkLst>
        </pc:spChg>
        <pc:spChg chg="add del mod">
          <ac:chgData name="Aurelien Domont" userId="6da7715ce44349b3" providerId="LiveId" clId="{29D6A56D-AB0D-41B6-B017-3803A210466B}" dt="2023-02-16T03:45:12.354" v="8364"/>
          <ac:spMkLst>
            <pc:docMk/>
            <pc:sldMk cId="1209091634" sldId="2192"/>
            <ac:spMk id="49" creationId="{D45B9B62-D6D8-2843-83F1-C100DC714814}"/>
          </ac:spMkLst>
        </pc:spChg>
        <pc:spChg chg="del mod">
          <ac:chgData name="Aurelien Domont" userId="6da7715ce44349b3" providerId="LiveId" clId="{29D6A56D-AB0D-41B6-B017-3803A210466B}" dt="2021-08-05T07:28:41.816" v="2291" actId="478"/>
          <ac:spMkLst>
            <pc:docMk/>
            <pc:sldMk cId="1209091634" sldId="2192"/>
            <ac:spMk id="50" creationId="{9F7306CF-551A-43F0-88F1-076DA251C3BE}"/>
          </ac:spMkLst>
        </pc:spChg>
        <pc:spChg chg="add del mod">
          <ac:chgData name="Aurelien Domont" userId="6da7715ce44349b3" providerId="LiveId" clId="{29D6A56D-AB0D-41B6-B017-3803A210466B}" dt="2023-02-16T03:45:12.354" v="8364"/>
          <ac:spMkLst>
            <pc:docMk/>
            <pc:sldMk cId="1209091634" sldId="2192"/>
            <ac:spMk id="50" creationId="{F7630E1D-1023-4DFD-F141-37CA15CCF07C}"/>
          </ac:spMkLst>
        </pc:spChg>
        <pc:spChg chg="del">
          <ac:chgData name="Aurelien Domont" userId="6da7715ce44349b3" providerId="LiveId" clId="{29D6A56D-AB0D-41B6-B017-3803A210466B}" dt="2021-08-05T07:24:30.668" v="1922" actId="478"/>
          <ac:spMkLst>
            <pc:docMk/>
            <pc:sldMk cId="1209091634" sldId="2192"/>
            <ac:spMk id="51" creationId="{F7737196-7906-4B97-80EC-7AD0065DD5D6}"/>
          </ac:spMkLst>
        </pc:spChg>
        <pc:spChg chg="del">
          <ac:chgData name="Aurelien Domont" userId="6da7715ce44349b3" providerId="LiveId" clId="{29D6A56D-AB0D-41B6-B017-3803A210466B}" dt="2021-08-05T07:24:30.668" v="1922" actId="478"/>
          <ac:spMkLst>
            <pc:docMk/>
            <pc:sldMk cId="1209091634" sldId="2192"/>
            <ac:spMk id="52" creationId="{82F73540-0B81-4EC5-9FE2-004B8ABC7144}"/>
          </ac:spMkLst>
        </pc:spChg>
        <pc:spChg chg="add del mod">
          <ac:chgData name="Aurelien Domont" userId="6da7715ce44349b3" providerId="LiveId" clId="{29D6A56D-AB0D-41B6-B017-3803A210466B}" dt="2023-02-16T03:45:12.354" v="8364"/>
          <ac:spMkLst>
            <pc:docMk/>
            <pc:sldMk cId="1209091634" sldId="2192"/>
            <ac:spMk id="52" creationId="{9A0BAB49-544E-903A-DFED-314B407D11BC}"/>
          </ac:spMkLst>
        </pc:spChg>
        <pc:spChg chg="del mod">
          <ac:chgData name="Aurelien Domont" userId="6da7715ce44349b3" providerId="LiveId" clId="{29D6A56D-AB0D-41B6-B017-3803A210466B}" dt="2023-02-16T03:47:37.584" v="8368" actId="478"/>
          <ac:spMkLst>
            <pc:docMk/>
            <pc:sldMk cId="1209091634" sldId="2192"/>
            <ac:spMk id="53" creationId="{CED486D3-E0D9-4427-96B3-325C56C98857}"/>
          </ac:spMkLst>
        </pc:spChg>
        <pc:spChg chg="add del mod">
          <ac:chgData name="Aurelien Domont" userId="6da7715ce44349b3" providerId="LiveId" clId="{29D6A56D-AB0D-41B6-B017-3803A210466B}" dt="2023-02-16T03:47:37.584" v="8368" actId="478"/>
          <ac:spMkLst>
            <pc:docMk/>
            <pc:sldMk cId="1209091634" sldId="2192"/>
            <ac:spMk id="55" creationId="{B19C6AB8-50EC-438D-A446-EAEE49B517D5}"/>
          </ac:spMkLst>
        </pc:spChg>
        <pc:spChg chg="add del mod">
          <ac:chgData name="Aurelien Domont" userId="6da7715ce44349b3" providerId="LiveId" clId="{29D6A56D-AB0D-41B6-B017-3803A210466B}" dt="2021-08-05T07:29:45.133" v="2297" actId="478"/>
          <ac:spMkLst>
            <pc:docMk/>
            <pc:sldMk cId="1209091634" sldId="2192"/>
            <ac:spMk id="56" creationId="{A49B985E-CADF-4C19-9F9A-6A9CC980C59F}"/>
          </ac:spMkLst>
        </pc:spChg>
        <pc:spChg chg="add del mod">
          <ac:chgData name="Aurelien Domont" userId="6da7715ce44349b3" providerId="LiveId" clId="{29D6A56D-AB0D-41B6-B017-3803A210466B}" dt="2023-02-16T03:41:55.911" v="8212" actId="478"/>
          <ac:spMkLst>
            <pc:docMk/>
            <pc:sldMk cId="1209091634" sldId="2192"/>
            <ac:spMk id="59" creationId="{6C7DF474-2CC1-4311-83D5-C3FE3CC1E30D}"/>
          </ac:spMkLst>
        </pc:spChg>
        <pc:spChg chg="add del mod">
          <ac:chgData name="Aurelien Domont" userId="6da7715ce44349b3" providerId="LiveId" clId="{29D6A56D-AB0D-41B6-B017-3803A210466B}" dt="2021-08-05T07:29:45.133" v="2297" actId="478"/>
          <ac:spMkLst>
            <pc:docMk/>
            <pc:sldMk cId="1209091634" sldId="2192"/>
            <ac:spMk id="60" creationId="{85FF2AC3-870A-4FCA-A845-415E823C0875}"/>
          </ac:spMkLst>
        </pc:spChg>
        <pc:spChg chg="add del mod">
          <ac:chgData name="Aurelien Domont" userId="6da7715ce44349b3" providerId="LiveId" clId="{29D6A56D-AB0D-41B6-B017-3803A210466B}" dt="2023-02-16T03:45:12.354" v="8364"/>
          <ac:spMkLst>
            <pc:docMk/>
            <pc:sldMk cId="1209091634" sldId="2192"/>
            <ac:spMk id="60" creationId="{F1F6F89C-66C5-12E4-645B-C329290E7BE0}"/>
          </ac:spMkLst>
        </pc:spChg>
        <pc:spChg chg="add del mod">
          <ac:chgData name="Aurelien Domont" userId="6da7715ce44349b3" providerId="LiveId" clId="{29D6A56D-AB0D-41B6-B017-3803A210466B}" dt="2023-02-16T03:42:00.187" v="8216" actId="478"/>
          <ac:spMkLst>
            <pc:docMk/>
            <pc:sldMk cId="1209091634" sldId="2192"/>
            <ac:spMk id="62" creationId="{9EE9DB63-ED4C-4127-B36A-76101EB9CFAD}"/>
          </ac:spMkLst>
        </pc:spChg>
        <pc:spChg chg="add del mod">
          <ac:chgData name="Aurelien Domont" userId="6da7715ce44349b3" providerId="LiveId" clId="{29D6A56D-AB0D-41B6-B017-3803A210466B}" dt="2021-08-05T07:29:45.133" v="2297" actId="478"/>
          <ac:spMkLst>
            <pc:docMk/>
            <pc:sldMk cId="1209091634" sldId="2192"/>
            <ac:spMk id="63" creationId="{4220F19B-189F-4BE1-9978-34487D7A64AA}"/>
          </ac:spMkLst>
        </pc:spChg>
        <pc:spChg chg="add del mod">
          <ac:chgData name="Aurelien Domont" userId="6da7715ce44349b3" providerId="LiveId" clId="{29D6A56D-AB0D-41B6-B017-3803A210466B}" dt="2023-02-16T03:45:12.354" v="8364"/>
          <ac:spMkLst>
            <pc:docMk/>
            <pc:sldMk cId="1209091634" sldId="2192"/>
            <ac:spMk id="63" creationId="{603F0708-1E45-57EE-3B1D-8E178413F808}"/>
          </ac:spMkLst>
        </pc:spChg>
        <pc:spChg chg="add del mod">
          <ac:chgData name="Aurelien Domont" userId="6da7715ce44349b3" providerId="LiveId" clId="{29D6A56D-AB0D-41B6-B017-3803A210466B}" dt="2023-02-16T03:42:00.914" v="8217" actId="478"/>
          <ac:spMkLst>
            <pc:docMk/>
            <pc:sldMk cId="1209091634" sldId="2192"/>
            <ac:spMk id="65" creationId="{4A3771A8-C5B6-42BD-82C3-A9E412040BEE}"/>
          </ac:spMkLst>
        </pc:spChg>
        <pc:spChg chg="add mod">
          <ac:chgData name="Aurelien Domont" userId="6da7715ce44349b3" providerId="LiveId" clId="{29D6A56D-AB0D-41B6-B017-3803A210466B}" dt="2023-02-16T03:47:37.998" v="8369"/>
          <ac:spMkLst>
            <pc:docMk/>
            <pc:sldMk cId="1209091634" sldId="2192"/>
            <ac:spMk id="66" creationId="{B0AD58EA-FD3A-A370-E400-7C5719B22661}"/>
          </ac:spMkLst>
        </pc:spChg>
        <pc:spChg chg="add del mod">
          <ac:chgData name="Aurelien Domont" userId="6da7715ce44349b3" providerId="LiveId" clId="{29D6A56D-AB0D-41B6-B017-3803A210466B}" dt="2021-08-05T07:29:45.133" v="2297" actId="478"/>
          <ac:spMkLst>
            <pc:docMk/>
            <pc:sldMk cId="1209091634" sldId="2192"/>
            <ac:spMk id="66" creationId="{E9FBAE3F-EF7F-4E86-8559-BA4EF6F1B2B8}"/>
          </ac:spMkLst>
        </pc:spChg>
        <pc:spChg chg="add del mod">
          <ac:chgData name="Aurelien Domont" userId="6da7715ce44349b3" providerId="LiveId" clId="{29D6A56D-AB0D-41B6-B017-3803A210466B}" dt="2023-02-16T03:42:00.187" v="8216" actId="478"/>
          <ac:spMkLst>
            <pc:docMk/>
            <pc:sldMk cId="1209091634" sldId="2192"/>
            <ac:spMk id="68" creationId="{7B449ECB-2C8B-40FC-93B7-726F4E3E1EE3}"/>
          </ac:spMkLst>
        </pc:spChg>
        <pc:spChg chg="add del mod">
          <ac:chgData name="Aurelien Domont" userId="6da7715ce44349b3" providerId="LiveId" clId="{29D6A56D-AB0D-41B6-B017-3803A210466B}" dt="2021-08-05T07:29:45.133" v="2297" actId="478"/>
          <ac:spMkLst>
            <pc:docMk/>
            <pc:sldMk cId="1209091634" sldId="2192"/>
            <ac:spMk id="69" creationId="{C5960020-7BF3-428A-AE21-F5BE8C3FE59E}"/>
          </ac:spMkLst>
        </pc:spChg>
        <pc:spChg chg="add del mod">
          <ac:chgData name="Aurelien Domont" userId="6da7715ce44349b3" providerId="LiveId" clId="{29D6A56D-AB0D-41B6-B017-3803A210466B}" dt="2023-02-16T03:41:55.911" v="8212" actId="478"/>
          <ac:spMkLst>
            <pc:docMk/>
            <pc:sldMk cId="1209091634" sldId="2192"/>
            <ac:spMk id="71" creationId="{7A5919BC-6626-464B-B363-D94E4AFEE7B8}"/>
          </ac:spMkLst>
        </pc:spChg>
        <pc:spChg chg="add del mod">
          <ac:chgData name="Aurelien Domont" userId="6da7715ce44349b3" providerId="LiveId" clId="{29D6A56D-AB0D-41B6-B017-3803A210466B}" dt="2023-02-16T03:41:57.016" v="8213" actId="478"/>
          <ac:spMkLst>
            <pc:docMk/>
            <pc:sldMk cId="1209091634" sldId="2192"/>
            <ac:spMk id="72" creationId="{A5FA095C-E1F2-4060-9576-F3C584F5ED56}"/>
          </ac:spMkLst>
        </pc:spChg>
        <pc:spChg chg="add del mod">
          <ac:chgData name="Aurelien Domont" userId="6da7715ce44349b3" providerId="LiveId" clId="{29D6A56D-AB0D-41B6-B017-3803A210466B}" dt="2023-02-16T03:41:48.395" v="8209" actId="478"/>
          <ac:spMkLst>
            <pc:docMk/>
            <pc:sldMk cId="1209091634" sldId="2192"/>
            <ac:spMk id="73" creationId="{2B2C1992-D3CE-429D-B1A0-8D95D7D035BF}"/>
          </ac:spMkLst>
        </pc:spChg>
        <pc:spChg chg="add mod">
          <ac:chgData name="Aurelien Domont" userId="6da7715ce44349b3" providerId="LiveId" clId="{29D6A56D-AB0D-41B6-B017-3803A210466B}" dt="2023-02-16T03:47:37.998" v="8369"/>
          <ac:spMkLst>
            <pc:docMk/>
            <pc:sldMk cId="1209091634" sldId="2192"/>
            <ac:spMk id="74" creationId="{D24D2894-6654-357C-184E-5C9A3611CCCB}"/>
          </ac:spMkLst>
        </pc:spChg>
        <pc:spChg chg="add mod">
          <ac:chgData name="Aurelien Domont" userId="6da7715ce44349b3" providerId="LiveId" clId="{29D6A56D-AB0D-41B6-B017-3803A210466B}" dt="2023-02-16T03:47:37.998" v="8369"/>
          <ac:spMkLst>
            <pc:docMk/>
            <pc:sldMk cId="1209091634" sldId="2192"/>
            <ac:spMk id="77" creationId="{848BB116-5235-AB55-D427-2000FB194B49}"/>
          </ac:spMkLst>
        </pc:spChg>
        <pc:spChg chg="add mod">
          <ac:chgData name="Aurelien Domont" userId="6da7715ce44349b3" providerId="LiveId" clId="{29D6A56D-AB0D-41B6-B017-3803A210466B}" dt="2023-02-16T03:47:37.998" v="8369"/>
          <ac:spMkLst>
            <pc:docMk/>
            <pc:sldMk cId="1209091634" sldId="2192"/>
            <ac:spMk id="78" creationId="{AF03C07E-8951-0824-5652-A07C4C3678E0}"/>
          </ac:spMkLst>
        </pc:spChg>
        <pc:spChg chg="add mod">
          <ac:chgData name="Aurelien Domont" userId="6da7715ce44349b3" providerId="LiveId" clId="{29D6A56D-AB0D-41B6-B017-3803A210466B}" dt="2023-02-16T03:47:37.998" v="8369"/>
          <ac:spMkLst>
            <pc:docMk/>
            <pc:sldMk cId="1209091634" sldId="2192"/>
            <ac:spMk id="79" creationId="{49F7E9D9-4706-C3BE-28FC-3F1453940719}"/>
          </ac:spMkLst>
        </pc:spChg>
        <pc:spChg chg="add mod">
          <ac:chgData name="Aurelien Domont" userId="6da7715ce44349b3" providerId="LiveId" clId="{29D6A56D-AB0D-41B6-B017-3803A210466B}" dt="2023-02-16T03:47:37.998" v="8369"/>
          <ac:spMkLst>
            <pc:docMk/>
            <pc:sldMk cId="1209091634" sldId="2192"/>
            <ac:spMk id="82" creationId="{D7933DC1-6B45-3B6E-59A7-DF3C33A4AF8B}"/>
          </ac:spMkLst>
        </pc:spChg>
        <pc:spChg chg="add mod">
          <ac:chgData name="Aurelien Domont" userId="6da7715ce44349b3" providerId="LiveId" clId="{29D6A56D-AB0D-41B6-B017-3803A210466B}" dt="2023-02-16T03:47:37.998" v="8369"/>
          <ac:spMkLst>
            <pc:docMk/>
            <pc:sldMk cId="1209091634" sldId="2192"/>
            <ac:spMk id="84" creationId="{754B5B70-AA99-B681-3046-EE8EFC029842}"/>
          </ac:spMkLst>
        </pc:spChg>
        <pc:spChg chg="add mod">
          <ac:chgData name="Aurelien Domont" userId="6da7715ce44349b3" providerId="LiveId" clId="{29D6A56D-AB0D-41B6-B017-3803A210466B}" dt="2023-02-16T03:47:37.998" v="8369"/>
          <ac:spMkLst>
            <pc:docMk/>
            <pc:sldMk cId="1209091634" sldId="2192"/>
            <ac:spMk id="86" creationId="{2BE1B4C0-772C-66EA-3E74-FA5224FECFC9}"/>
          </ac:spMkLst>
        </pc:spChg>
        <pc:spChg chg="add mod">
          <ac:chgData name="Aurelien Domont" userId="6da7715ce44349b3" providerId="LiveId" clId="{29D6A56D-AB0D-41B6-B017-3803A210466B}" dt="2023-02-16T03:47:37.998" v="8369"/>
          <ac:spMkLst>
            <pc:docMk/>
            <pc:sldMk cId="1209091634" sldId="2192"/>
            <ac:spMk id="88" creationId="{6CD4F18D-397C-E48A-6206-2D7142D82B04}"/>
          </ac:spMkLst>
        </pc:spChg>
        <pc:spChg chg="add mod">
          <ac:chgData name="Aurelien Domont" userId="6da7715ce44349b3" providerId="LiveId" clId="{29D6A56D-AB0D-41B6-B017-3803A210466B}" dt="2023-02-16T03:47:37.998" v="8369"/>
          <ac:spMkLst>
            <pc:docMk/>
            <pc:sldMk cId="1209091634" sldId="2192"/>
            <ac:spMk id="90" creationId="{5C1D8660-89DB-A243-EAB5-14944C4263DF}"/>
          </ac:spMkLst>
        </pc:spChg>
        <pc:spChg chg="add mod">
          <ac:chgData name="Aurelien Domont" userId="6da7715ce44349b3" providerId="LiveId" clId="{29D6A56D-AB0D-41B6-B017-3803A210466B}" dt="2023-02-16T03:47:37.998" v="8369"/>
          <ac:spMkLst>
            <pc:docMk/>
            <pc:sldMk cId="1209091634" sldId="2192"/>
            <ac:spMk id="92" creationId="{7A5DE673-3587-F897-86C6-64F1CE746AC0}"/>
          </ac:spMkLst>
        </pc:spChg>
        <pc:spChg chg="add mod">
          <ac:chgData name="Aurelien Domont" userId="6da7715ce44349b3" providerId="LiveId" clId="{29D6A56D-AB0D-41B6-B017-3803A210466B}" dt="2023-02-16T03:47:37.998" v="8369"/>
          <ac:spMkLst>
            <pc:docMk/>
            <pc:sldMk cId="1209091634" sldId="2192"/>
            <ac:spMk id="93" creationId="{B62DC772-3050-098D-81B2-BFA4DADF4C9E}"/>
          </ac:spMkLst>
        </pc:spChg>
        <pc:spChg chg="add mod">
          <ac:chgData name="Aurelien Domont" userId="6da7715ce44349b3" providerId="LiveId" clId="{29D6A56D-AB0D-41B6-B017-3803A210466B}" dt="2023-02-16T03:47:37.998" v="8369"/>
          <ac:spMkLst>
            <pc:docMk/>
            <pc:sldMk cId="1209091634" sldId="2192"/>
            <ac:spMk id="94" creationId="{F0C9BD53-0CA6-BD08-5F55-D157A3ABCB0C}"/>
          </ac:spMkLst>
        </pc:spChg>
        <pc:spChg chg="add mod">
          <ac:chgData name="Aurelien Domont" userId="6da7715ce44349b3" providerId="LiveId" clId="{29D6A56D-AB0D-41B6-B017-3803A210466B}" dt="2023-02-16T03:47:37.998" v="8369"/>
          <ac:spMkLst>
            <pc:docMk/>
            <pc:sldMk cId="1209091634" sldId="2192"/>
            <ac:spMk id="95" creationId="{2B4B63C6-B945-B2AF-7AA7-30C5D20F52D2}"/>
          </ac:spMkLst>
        </pc:spChg>
        <pc:spChg chg="add mod">
          <ac:chgData name="Aurelien Domont" userId="6da7715ce44349b3" providerId="LiveId" clId="{29D6A56D-AB0D-41B6-B017-3803A210466B}" dt="2023-02-16T03:47:37.998" v="8369"/>
          <ac:spMkLst>
            <pc:docMk/>
            <pc:sldMk cId="1209091634" sldId="2192"/>
            <ac:spMk id="96" creationId="{0D2EC94A-66AB-66E4-291F-2F7DE204A217}"/>
          </ac:spMkLst>
        </pc:spChg>
        <pc:spChg chg="add mod">
          <ac:chgData name="Aurelien Domont" userId="6da7715ce44349b3" providerId="LiveId" clId="{29D6A56D-AB0D-41B6-B017-3803A210466B}" dt="2023-02-16T03:47:37.998" v="8369"/>
          <ac:spMkLst>
            <pc:docMk/>
            <pc:sldMk cId="1209091634" sldId="2192"/>
            <ac:spMk id="98" creationId="{8E8AD2A8-9309-BF73-1693-2A239AB5E7D3}"/>
          </ac:spMkLst>
        </pc:spChg>
        <pc:spChg chg="add mod">
          <ac:chgData name="Aurelien Domont" userId="6da7715ce44349b3" providerId="LiveId" clId="{29D6A56D-AB0D-41B6-B017-3803A210466B}" dt="2023-02-16T03:47:37.998" v="8369"/>
          <ac:spMkLst>
            <pc:docMk/>
            <pc:sldMk cId="1209091634" sldId="2192"/>
            <ac:spMk id="100" creationId="{3ADF4999-BD8E-8793-0953-343BEE2608A3}"/>
          </ac:spMkLst>
        </pc:spChg>
        <pc:spChg chg="add mod">
          <ac:chgData name="Aurelien Domont" userId="6da7715ce44349b3" providerId="LiveId" clId="{29D6A56D-AB0D-41B6-B017-3803A210466B}" dt="2023-02-16T03:47:37.998" v="8369"/>
          <ac:spMkLst>
            <pc:docMk/>
            <pc:sldMk cId="1209091634" sldId="2192"/>
            <ac:spMk id="101" creationId="{BD14372A-2B68-3214-21A7-D593CFF738C0}"/>
          </ac:spMkLst>
        </pc:spChg>
        <pc:spChg chg="add mod">
          <ac:chgData name="Aurelien Domont" userId="6da7715ce44349b3" providerId="LiveId" clId="{29D6A56D-AB0D-41B6-B017-3803A210466B}" dt="2023-02-16T03:47:37.998" v="8369"/>
          <ac:spMkLst>
            <pc:docMk/>
            <pc:sldMk cId="1209091634" sldId="2192"/>
            <ac:spMk id="102" creationId="{B941411B-2B41-36C1-8726-85516D4D7E92}"/>
          </ac:spMkLst>
        </pc:spChg>
        <pc:picChg chg="add del mod">
          <ac:chgData name="Aurelien Domont" userId="6da7715ce44349b3" providerId="LiveId" clId="{29D6A56D-AB0D-41B6-B017-3803A210466B}" dt="2023-02-16T03:47:37.584" v="8368" actId="478"/>
          <ac:picMkLst>
            <pc:docMk/>
            <pc:sldMk cId="1209091634" sldId="2192"/>
            <ac:picMk id="4" creationId="{3BDE9E0A-6F80-10ED-BEA3-717668C072C9}"/>
          </ac:picMkLst>
        </pc:picChg>
        <pc:picChg chg="add del mod">
          <ac:chgData name="Aurelien Domont" userId="6da7715ce44349b3" providerId="LiveId" clId="{29D6A56D-AB0D-41B6-B017-3803A210466B}" dt="2023-02-16T03:47:37.584" v="8368" actId="478"/>
          <ac:picMkLst>
            <pc:docMk/>
            <pc:sldMk cId="1209091634" sldId="2192"/>
            <ac:picMk id="6" creationId="{92189BA0-06D3-32E1-6DD5-1EB7BD99A373}"/>
          </ac:picMkLst>
        </pc:picChg>
        <pc:picChg chg="add del mod">
          <ac:chgData name="Aurelien Domont" userId="6da7715ce44349b3" providerId="LiveId" clId="{29D6A56D-AB0D-41B6-B017-3803A210466B}" dt="2023-02-16T03:47:37.584" v="8368" actId="478"/>
          <ac:picMkLst>
            <pc:docMk/>
            <pc:sldMk cId="1209091634" sldId="2192"/>
            <ac:picMk id="9" creationId="{6D3740A5-AD8B-A895-ECF1-022B5A2E3B57}"/>
          </ac:picMkLst>
        </pc:picChg>
        <pc:picChg chg="add mod">
          <ac:chgData name="Aurelien Domont" userId="6da7715ce44349b3" providerId="LiveId" clId="{29D6A56D-AB0D-41B6-B017-3803A210466B}" dt="2023-01-12T23:34:49.415" v="7683" actId="571"/>
          <ac:picMkLst>
            <pc:docMk/>
            <pc:sldMk cId="1209091634" sldId="2192"/>
            <ac:picMk id="9" creationId="{FE1D5CA7-E25A-D1E6-E86B-F083FD67D78A}"/>
          </ac:picMkLst>
        </pc:picChg>
        <pc:picChg chg="add del mod">
          <ac:chgData name="Aurelien Domont" userId="6da7715ce44349b3" providerId="LiveId" clId="{29D6A56D-AB0D-41B6-B017-3803A210466B}" dt="2023-02-16T03:42:29.089" v="8233" actId="478"/>
          <ac:picMkLst>
            <pc:docMk/>
            <pc:sldMk cId="1209091634" sldId="2192"/>
            <ac:picMk id="11" creationId="{D119A6CE-7D59-E494-C9A2-9621CFCC6A37}"/>
          </ac:picMkLst>
        </pc:picChg>
        <pc:picChg chg="add del mod">
          <ac:chgData name="Aurelien Domont" userId="6da7715ce44349b3" providerId="LiveId" clId="{29D6A56D-AB0D-41B6-B017-3803A210466B}" dt="2023-02-16T03:41:57.560" v="8214" actId="478"/>
          <ac:picMkLst>
            <pc:docMk/>
            <pc:sldMk cId="1209091634" sldId="2192"/>
            <ac:picMk id="12" creationId="{70AA443A-7C27-58E2-5500-F47658FD329D}"/>
          </ac:picMkLst>
        </pc:picChg>
        <pc:picChg chg="add del mod">
          <ac:chgData name="Aurelien Domont" userId="6da7715ce44349b3" providerId="LiveId" clId="{29D6A56D-AB0D-41B6-B017-3803A210466B}" dt="2023-01-12T23:38:16.644" v="7911" actId="478"/>
          <ac:picMkLst>
            <pc:docMk/>
            <pc:sldMk cId="1209091634" sldId="2192"/>
            <ac:picMk id="15" creationId="{6EDC2F87-4FE0-9BA1-6D5E-9963F68172E0}"/>
          </ac:picMkLst>
        </pc:picChg>
        <pc:picChg chg="add del mod">
          <ac:chgData name="Aurelien Domont" userId="6da7715ce44349b3" providerId="LiveId" clId="{29D6A56D-AB0D-41B6-B017-3803A210466B}" dt="2023-02-16T03:45:12.354" v="8364"/>
          <ac:picMkLst>
            <pc:docMk/>
            <pc:sldMk cId="1209091634" sldId="2192"/>
            <ac:picMk id="17" creationId="{990C95E9-1470-EA18-BD7C-53DE09965D54}"/>
          </ac:picMkLst>
        </pc:picChg>
        <pc:picChg chg="add del mod">
          <ac:chgData name="Aurelien Domont" userId="6da7715ce44349b3" providerId="LiveId" clId="{29D6A56D-AB0D-41B6-B017-3803A210466B}" dt="2023-01-12T23:38:21.256" v="7914" actId="478"/>
          <ac:picMkLst>
            <pc:docMk/>
            <pc:sldMk cId="1209091634" sldId="2192"/>
            <ac:picMk id="18" creationId="{2B481B5D-1226-9DA8-D0D8-75784DBDC6EE}"/>
          </ac:picMkLst>
        </pc:picChg>
        <pc:picChg chg="add del mod">
          <ac:chgData name="Aurelien Domont" userId="6da7715ce44349b3" providerId="LiveId" clId="{29D6A56D-AB0D-41B6-B017-3803A210466B}" dt="2023-02-16T03:45:12.354" v="8364"/>
          <ac:picMkLst>
            <pc:docMk/>
            <pc:sldMk cId="1209091634" sldId="2192"/>
            <ac:picMk id="19" creationId="{516E5202-D6A5-D66B-EFFD-CFE8B7D230E5}"/>
          </ac:picMkLst>
        </pc:picChg>
        <pc:picChg chg="add del mod">
          <ac:chgData name="Aurelien Domont" userId="6da7715ce44349b3" providerId="LiveId" clId="{29D6A56D-AB0D-41B6-B017-3803A210466B}" dt="2023-02-16T03:45:12.354" v="8364"/>
          <ac:picMkLst>
            <pc:docMk/>
            <pc:sldMk cId="1209091634" sldId="2192"/>
            <ac:picMk id="22" creationId="{078E5D0D-28EF-CE01-56E9-1ECD65E721C7}"/>
          </ac:picMkLst>
        </pc:picChg>
        <pc:picChg chg="del mod">
          <ac:chgData name="Aurelien Domont" userId="6da7715ce44349b3" providerId="LiveId" clId="{29D6A56D-AB0D-41B6-B017-3803A210466B}" dt="2021-08-05T07:27:51.846" v="2209" actId="478"/>
          <ac:picMkLst>
            <pc:docMk/>
            <pc:sldMk cId="1209091634" sldId="2192"/>
            <ac:picMk id="28" creationId="{FF355F01-F007-4C24-AA95-9E4FE7DF0ACD}"/>
          </ac:picMkLst>
        </pc:picChg>
        <pc:picChg chg="del">
          <ac:chgData name="Aurelien Domont" userId="6da7715ce44349b3" providerId="LiveId" clId="{29D6A56D-AB0D-41B6-B017-3803A210466B}" dt="2021-08-05T07:24:30.668" v="1922" actId="478"/>
          <ac:picMkLst>
            <pc:docMk/>
            <pc:sldMk cId="1209091634" sldId="2192"/>
            <ac:picMk id="29" creationId="{CACEE143-239B-4F4D-A484-117591EBDFAE}"/>
          </ac:picMkLst>
        </pc:picChg>
        <pc:picChg chg="add del mod">
          <ac:chgData name="Aurelien Domont" userId="6da7715ce44349b3" providerId="LiveId" clId="{29D6A56D-AB0D-41B6-B017-3803A210466B}" dt="2023-02-16T03:45:12.354" v="8364"/>
          <ac:picMkLst>
            <pc:docMk/>
            <pc:sldMk cId="1209091634" sldId="2192"/>
            <ac:picMk id="30" creationId="{DC5BDF0F-C68D-F77B-7E23-300F63C35448}"/>
          </ac:picMkLst>
        </pc:picChg>
        <pc:picChg chg="add del mod">
          <ac:chgData name="Aurelien Domont" userId="6da7715ce44349b3" providerId="LiveId" clId="{29D6A56D-AB0D-41B6-B017-3803A210466B}" dt="2023-02-16T03:47:37.584" v="8368" actId="478"/>
          <ac:picMkLst>
            <pc:docMk/>
            <pc:sldMk cId="1209091634" sldId="2192"/>
            <ac:picMk id="31" creationId="{89979A0A-C018-44ED-8A86-BF1A8BB599EB}"/>
          </ac:picMkLst>
        </pc:picChg>
        <pc:picChg chg="del mod">
          <ac:chgData name="Aurelien Domont" userId="6da7715ce44349b3" providerId="LiveId" clId="{29D6A56D-AB0D-41B6-B017-3803A210466B}" dt="2021-08-05T07:28:41.816" v="2291" actId="478"/>
          <ac:picMkLst>
            <pc:docMk/>
            <pc:sldMk cId="1209091634" sldId="2192"/>
            <ac:picMk id="32" creationId="{1E632C31-E784-4327-B032-5A1C8A2B01A8}"/>
          </ac:picMkLst>
        </pc:picChg>
        <pc:picChg chg="add del mod">
          <ac:chgData name="Aurelien Domont" userId="6da7715ce44349b3" providerId="LiveId" clId="{29D6A56D-AB0D-41B6-B017-3803A210466B}" dt="2023-02-16T03:45:12.354" v="8364"/>
          <ac:picMkLst>
            <pc:docMk/>
            <pc:sldMk cId="1209091634" sldId="2192"/>
            <ac:picMk id="33" creationId="{03129C11-BBEF-6445-6994-1F714958ED6B}"/>
          </ac:picMkLst>
        </pc:picChg>
        <pc:picChg chg="del">
          <ac:chgData name="Aurelien Domont" userId="6da7715ce44349b3" providerId="LiveId" clId="{29D6A56D-AB0D-41B6-B017-3803A210466B}" dt="2021-08-05T07:24:30.668" v="1922" actId="478"/>
          <ac:picMkLst>
            <pc:docMk/>
            <pc:sldMk cId="1209091634" sldId="2192"/>
            <ac:picMk id="33" creationId="{E020A810-A41E-42A1-9544-5550D5B20660}"/>
          </ac:picMkLst>
        </pc:picChg>
        <pc:picChg chg="add del mod">
          <ac:chgData name="Aurelien Domont" userId="6da7715ce44349b3" providerId="LiveId" clId="{29D6A56D-AB0D-41B6-B017-3803A210466B}" dt="2023-02-16T03:45:12.354" v="8364"/>
          <ac:picMkLst>
            <pc:docMk/>
            <pc:sldMk cId="1209091634" sldId="2192"/>
            <ac:picMk id="36" creationId="{8DF388D1-640E-966A-BADC-7AF2F6FBAB76}"/>
          </ac:picMkLst>
        </pc:picChg>
        <pc:picChg chg="add del mod">
          <ac:chgData name="Aurelien Domont" userId="6da7715ce44349b3" providerId="LiveId" clId="{29D6A56D-AB0D-41B6-B017-3803A210466B}" dt="2023-02-16T03:45:12.354" v="8364"/>
          <ac:picMkLst>
            <pc:docMk/>
            <pc:sldMk cId="1209091634" sldId="2192"/>
            <ac:picMk id="38" creationId="{233A85FD-6001-B48F-5CFF-63F582C977B3}"/>
          </ac:picMkLst>
        </pc:picChg>
        <pc:picChg chg="add del mod">
          <ac:chgData name="Aurelien Domont" userId="6da7715ce44349b3" providerId="LiveId" clId="{29D6A56D-AB0D-41B6-B017-3803A210466B}" dt="2023-02-16T03:47:37.584" v="8368" actId="478"/>
          <ac:picMkLst>
            <pc:docMk/>
            <pc:sldMk cId="1209091634" sldId="2192"/>
            <ac:picMk id="43" creationId="{250E8DD8-D2B2-4AA9-8FCB-518B8D2D5850}"/>
          </ac:picMkLst>
        </pc:picChg>
        <pc:picChg chg="add del mod">
          <ac:chgData name="Aurelien Domont" userId="6da7715ce44349b3" providerId="LiveId" clId="{29D6A56D-AB0D-41B6-B017-3803A210466B}" dt="2023-02-16T03:47:37.584" v="8368" actId="478"/>
          <ac:picMkLst>
            <pc:docMk/>
            <pc:sldMk cId="1209091634" sldId="2192"/>
            <ac:picMk id="44" creationId="{713EEF7A-E025-4053-86B3-ABF91302CF16}"/>
          </ac:picMkLst>
        </pc:picChg>
        <pc:picChg chg="add del mod">
          <ac:chgData name="Aurelien Domont" userId="6da7715ce44349b3" providerId="LiveId" clId="{29D6A56D-AB0D-41B6-B017-3803A210466B}" dt="2023-02-16T03:45:12.354" v="8364"/>
          <ac:picMkLst>
            <pc:docMk/>
            <pc:sldMk cId="1209091634" sldId="2192"/>
            <ac:picMk id="51" creationId="{71054861-61C4-EBBC-05BB-AE04538678CE}"/>
          </ac:picMkLst>
        </pc:picChg>
        <pc:picChg chg="add del mod">
          <ac:chgData name="Aurelien Domont" userId="6da7715ce44349b3" providerId="LiveId" clId="{29D6A56D-AB0D-41B6-B017-3803A210466B}" dt="2023-02-16T03:47:37.584" v="8368" actId="478"/>
          <ac:picMkLst>
            <pc:docMk/>
            <pc:sldMk cId="1209091634" sldId="2192"/>
            <ac:picMk id="54" creationId="{B481BBB9-8897-4D23-AD98-D58A03A0AB85}"/>
          </ac:picMkLst>
        </pc:picChg>
        <pc:picChg chg="add del mod">
          <ac:chgData name="Aurelien Domont" userId="6da7715ce44349b3" providerId="LiveId" clId="{29D6A56D-AB0D-41B6-B017-3803A210466B}" dt="2023-02-16T03:45:12.354" v="8364"/>
          <ac:picMkLst>
            <pc:docMk/>
            <pc:sldMk cId="1209091634" sldId="2192"/>
            <ac:picMk id="56" creationId="{64FDFC4C-B3A7-7B41-F29C-713DDEF1941C}"/>
          </ac:picMkLst>
        </pc:picChg>
        <pc:picChg chg="add del mod">
          <ac:chgData name="Aurelien Domont" userId="6da7715ce44349b3" providerId="LiveId" clId="{29D6A56D-AB0D-41B6-B017-3803A210466B}" dt="2023-02-16T03:41:55.911" v="8212" actId="478"/>
          <ac:picMkLst>
            <pc:docMk/>
            <pc:sldMk cId="1209091634" sldId="2192"/>
            <ac:picMk id="57" creationId="{4F72DDFE-F77B-4791-B57A-7D67C16E5603}"/>
          </ac:picMkLst>
        </pc:picChg>
        <pc:picChg chg="del mod">
          <ac:chgData name="Aurelien Domont" userId="6da7715ce44349b3" providerId="LiveId" clId="{29D6A56D-AB0D-41B6-B017-3803A210466B}" dt="2023-02-16T03:47:37.584" v="8368" actId="478"/>
          <ac:picMkLst>
            <pc:docMk/>
            <pc:sldMk cId="1209091634" sldId="2192"/>
            <ac:picMk id="58" creationId="{CCE5CC6E-6411-4A67-AF69-17311BDEEB5E}"/>
          </ac:picMkLst>
        </pc:picChg>
        <pc:picChg chg="add del mod">
          <ac:chgData name="Aurelien Domont" userId="6da7715ce44349b3" providerId="LiveId" clId="{29D6A56D-AB0D-41B6-B017-3803A210466B}" dt="2023-02-16T03:42:00.187" v="8216" actId="478"/>
          <ac:picMkLst>
            <pc:docMk/>
            <pc:sldMk cId="1209091634" sldId="2192"/>
            <ac:picMk id="61" creationId="{D3CC5F63-F5D1-4C2F-8D3B-EC726B94E68B}"/>
          </ac:picMkLst>
        </pc:picChg>
        <pc:picChg chg="add del mod">
          <ac:chgData name="Aurelien Domont" userId="6da7715ce44349b3" providerId="LiveId" clId="{29D6A56D-AB0D-41B6-B017-3803A210466B}" dt="2023-02-16T03:41:55.911" v="8212" actId="478"/>
          <ac:picMkLst>
            <pc:docMk/>
            <pc:sldMk cId="1209091634" sldId="2192"/>
            <ac:picMk id="64" creationId="{5DCDAA2C-7647-447E-9FC0-509979E3A263}"/>
          </ac:picMkLst>
        </pc:picChg>
        <pc:picChg chg="add del mod">
          <ac:chgData name="Aurelien Domont" userId="6da7715ce44349b3" providerId="LiveId" clId="{29D6A56D-AB0D-41B6-B017-3803A210466B}" dt="2023-02-16T03:42:00.187" v="8216" actId="478"/>
          <ac:picMkLst>
            <pc:docMk/>
            <pc:sldMk cId="1209091634" sldId="2192"/>
            <ac:picMk id="67" creationId="{18B30E08-8105-4C53-B0F0-9D3EC6D4051C}"/>
          </ac:picMkLst>
        </pc:picChg>
        <pc:picChg chg="add mod">
          <ac:chgData name="Aurelien Domont" userId="6da7715ce44349b3" providerId="LiveId" clId="{29D6A56D-AB0D-41B6-B017-3803A210466B}" dt="2023-02-16T03:47:37.998" v="8369"/>
          <ac:picMkLst>
            <pc:docMk/>
            <pc:sldMk cId="1209091634" sldId="2192"/>
            <ac:picMk id="69" creationId="{09F93F30-7EC5-7B7E-B37D-12DE64E1DFDD}"/>
          </ac:picMkLst>
        </pc:picChg>
        <pc:picChg chg="add del mod">
          <ac:chgData name="Aurelien Domont" userId="6da7715ce44349b3" providerId="LiveId" clId="{29D6A56D-AB0D-41B6-B017-3803A210466B}" dt="2023-02-16T03:41:55.911" v="8212" actId="478"/>
          <ac:picMkLst>
            <pc:docMk/>
            <pc:sldMk cId="1209091634" sldId="2192"/>
            <ac:picMk id="70" creationId="{66735B97-84A1-43FD-8AC2-9AEADD11D750}"/>
          </ac:picMkLst>
        </pc:picChg>
        <pc:picChg chg="add mod">
          <ac:chgData name="Aurelien Domont" userId="6da7715ce44349b3" providerId="LiveId" clId="{29D6A56D-AB0D-41B6-B017-3803A210466B}" dt="2023-02-16T03:47:37.998" v="8369"/>
          <ac:picMkLst>
            <pc:docMk/>
            <pc:sldMk cId="1209091634" sldId="2192"/>
            <ac:picMk id="75" creationId="{7E810397-3567-61E9-FA0F-6933EE027C79}"/>
          </ac:picMkLst>
        </pc:picChg>
        <pc:picChg chg="add mod">
          <ac:chgData name="Aurelien Domont" userId="6da7715ce44349b3" providerId="LiveId" clId="{29D6A56D-AB0D-41B6-B017-3803A210466B}" dt="2023-02-16T03:47:37.998" v="8369"/>
          <ac:picMkLst>
            <pc:docMk/>
            <pc:sldMk cId="1209091634" sldId="2192"/>
            <ac:picMk id="76" creationId="{F1B3D902-5F61-9099-19C5-E10B22C8914F}"/>
          </ac:picMkLst>
        </pc:picChg>
        <pc:picChg chg="add mod">
          <ac:chgData name="Aurelien Domont" userId="6da7715ce44349b3" providerId="LiveId" clId="{29D6A56D-AB0D-41B6-B017-3803A210466B}" dt="2023-02-16T03:47:37.998" v="8369"/>
          <ac:picMkLst>
            <pc:docMk/>
            <pc:sldMk cId="1209091634" sldId="2192"/>
            <ac:picMk id="80" creationId="{FD882E24-E6DD-AB32-4A7F-9392867878D1}"/>
          </ac:picMkLst>
        </pc:picChg>
        <pc:picChg chg="add mod">
          <ac:chgData name="Aurelien Domont" userId="6da7715ce44349b3" providerId="LiveId" clId="{29D6A56D-AB0D-41B6-B017-3803A210466B}" dt="2023-02-16T03:47:37.998" v="8369"/>
          <ac:picMkLst>
            <pc:docMk/>
            <pc:sldMk cId="1209091634" sldId="2192"/>
            <ac:picMk id="81" creationId="{C29B3D54-F2FD-1899-2A45-1E01B1DEB37C}"/>
          </ac:picMkLst>
        </pc:picChg>
        <pc:picChg chg="add mod">
          <ac:chgData name="Aurelien Domont" userId="6da7715ce44349b3" providerId="LiveId" clId="{29D6A56D-AB0D-41B6-B017-3803A210466B}" dt="2023-02-16T03:47:37.998" v="8369"/>
          <ac:picMkLst>
            <pc:docMk/>
            <pc:sldMk cId="1209091634" sldId="2192"/>
            <ac:picMk id="83" creationId="{42FBB591-EA53-9DA5-3B5D-769AF9220A7D}"/>
          </ac:picMkLst>
        </pc:picChg>
        <pc:picChg chg="add mod">
          <ac:chgData name="Aurelien Domont" userId="6da7715ce44349b3" providerId="LiveId" clId="{29D6A56D-AB0D-41B6-B017-3803A210466B}" dt="2023-02-16T03:47:37.998" v="8369"/>
          <ac:picMkLst>
            <pc:docMk/>
            <pc:sldMk cId="1209091634" sldId="2192"/>
            <ac:picMk id="85" creationId="{292363F4-47F6-5B8F-66C0-D9CAB760D940}"/>
          </ac:picMkLst>
        </pc:picChg>
        <pc:picChg chg="add mod">
          <ac:chgData name="Aurelien Domont" userId="6da7715ce44349b3" providerId="LiveId" clId="{29D6A56D-AB0D-41B6-B017-3803A210466B}" dt="2023-02-16T03:47:37.998" v="8369"/>
          <ac:picMkLst>
            <pc:docMk/>
            <pc:sldMk cId="1209091634" sldId="2192"/>
            <ac:picMk id="87" creationId="{06EF2B42-6D29-B915-8853-D1A0764A896B}"/>
          </ac:picMkLst>
        </pc:picChg>
        <pc:picChg chg="add mod">
          <ac:chgData name="Aurelien Domont" userId="6da7715ce44349b3" providerId="LiveId" clId="{29D6A56D-AB0D-41B6-B017-3803A210466B}" dt="2023-02-16T03:47:37.998" v="8369"/>
          <ac:picMkLst>
            <pc:docMk/>
            <pc:sldMk cId="1209091634" sldId="2192"/>
            <ac:picMk id="89" creationId="{CC88E2C7-1140-095A-60DD-07ADFDF8DCE6}"/>
          </ac:picMkLst>
        </pc:picChg>
        <pc:picChg chg="add mod">
          <ac:chgData name="Aurelien Domont" userId="6da7715ce44349b3" providerId="LiveId" clId="{29D6A56D-AB0D-41B6-B017-3803A210466B}" dt="2023-02-16T03:47:37.998" v="8369"/>
          <ac:picMkLst>
            <pc:docMk/>
            <pc:sldMk cId="1209091634" sldId="2192"/>
            <ac:picMk id="91" creationId="{09712587-8BBA-3869-DC80-31981FFE6060}"/>
          </ac:picMkLst>
        </pc:picChg>
        <pc:picChg chg="add mod">
          <ac:chgData name="Aurelien Domont" userId="6da7715ce44349b3" providerId="LiveId" clId="{29D6A56D-AB0D-41B6-B017-3803A210466B}" dt="2023-02-16T03:47:37.998" v="8369"/>
          <ac:picMkLst>
            <pc:docMk/>
            <pc:sldMk cId="1209091634" sldId="2192"/>
            <ac:picMk id="97" creationId="{8E324EE0-800C-3DC4-D532-33C79450E0C2}"/>
          </ac:picMkLst>
        </pc:picChg>
        <pc:picChg chg="add mod">
          <ac:chgData name="Aurelien Domont" userId="6da7715ce44349b3" providerId="LiveId" clId="{29D6A56D-AB0D-41B6-B017-3803A210466B}" dt="2023-02-16T03:47:37.998" v="8369"/>
          <ac:picMkLst>
            <pc:docMk/>
            <pc:sldMk cId="1209091634" sldId="2192"/>
            <ac:picMk id="99" creationId="{826969F6-A0E2-E19C-9A11-91C5C3382C60}"/>
          </ac:picMkLst>
        </pc:picChg>
        <pc:cxnChg chg="add del mod">
          <ac:chgData name="Aurelien Domont" userId="6da7715ce44349b3" providerId="LiveId" clId="{29D6A56D-AB0D-41B6-B017-3803A210466B}" dt="2023-01-12T23:37:45.597" v="7903" actId="478"/>
          <ac:cxnSpMkLst>
            <pc:docMk/>
            <pc:sldMk cId="1209091634" sldId="2192"/>
            <ac:cxnSpMk id="6" creationId="{D0E1728F-18DD-46D3-A3C3-6F882C447301}"/>
          </ac:cxnSpMkLst>
        </pc:cxnChg>
        <pc:cxnChg chg="add del mod">
          <ac:chgData name="Aurelien Domont" userId="6da7715ce44349b3" providerId="LiveId" clId="{29D6A56D-AB0D-41B6-B017-3803A210466B}" dt="2023-01-12T23:37:44.510" v="7902" actId="478"/>
          <ac:cxnSpMkLst>
            <pc:docMk/>
            <pc:sldMk cId="1209091634" sldId="2192"/>
            <ac:cxnSpMk id="8" creationId="{94FBC43C-68EA-417D-B7B2-BB148B173388}"/>
          </ac:cxnSpMkLst>
        </pc:cxnChg>
        <pc:cxnChg chg="add del mod">
          <ac:chgData name="Aurelien Domont" userId="6da7715ce44349b3" providerId="LiveId" clId="{29D6A56D-AB0D-41B6-B017-3803A210466B}" dt="2023-02-16T03:41:52.290" v="8211" actId="478"/>
          <ac:cxnSpMkLst>
            <pc:docMk/>
            <pc:sldMk cId="1209091634" sldId="2192"/>
            <ac:cxnSpMk id="26" creationId="{797E83DD-3321-C793-6A15-22AA5FB19F72}"/>
          </ac:cxnSpMkLst>
        </pc:cxnChg>
        <pc:cxnChg chg="add del mod">
          <ac:chgData name="Aurelien Domont" userId="6da7715ce44349b3" providerId="LiveId" clId="{29D6A56D-AB0D-41B6-B017-3803A210466B}" dt="2023-02-16T03:41:52.290" v="8211" actId="478"/>
          <ac:cxnSpMkLst>
            <pc:docMk/>
            <pc:sldMk cId="1209091634" sldId="2192"/>
            <ac:cxnSpMk id="29" creationId="{6D77DCCD-0FBF-CA3A-27A2-D0A2FD392F1B}"/>
          </ac:cxnSpMkLst>
        </pc:cxnChg>
        <pc:cxnChg chg="add del mod">
          <ac:chgData name="Aurelien Domont" userId="6da7715ce44349b3" providerId="LiveId" clId="{29D6A56D-AB0D-41B6-B017-3803A210466B}" dt="2023-01-12T23:49:32.332" v="8159" actId="11529"/>
          <ac:cxnSpMkLst>
            <pc:docMk/>
            <pc:sldMk cId="1209091634" sldId="2192"/>
            <ac:cxnSpMk id="32" creationId="{9EEAF167-BEA3-BB6A-A26C-215C6836C70E}"/>
          </ac:cxnSpMkLst>
        </pc:cxnChg>
        <pc:cxnChg chg="add del mod">
          <ac:chgData name="Aurelien Domont" userId="6da7715ce44349b3" providerId="LiveId" clId="{29D6A56D-AB0D-41B6-B017-3803A210466B}" dt="2023-02-16T03:41:52.290" v="8211" actId="478"/>
          <ac:cxnSpMkLst>
            <pc:docMk/>
            <pc:sldMk cId="1209091634" sldId="2192"/>
            <ac:cxnSpMk id="34" creationId="{4F96BCEB-A32F-AABB-BB36-A8F630022008}"/>
          </ac:cxnSpMkLst>
        </pc:cxnChg>
        <pc:cxnChg chg="add mod">
          <ac:chgData name="Aurelien Domont" userId="6da7715ce44349b3" providerId="LiveId" clId="{29D6A56D-AB0D-41B6-B017-3803A210466B}" dt="2023-02-16T03:47:37.998" v="8369"/>
          <ac:cxnSpMkLst>
            <pc:docMk/>
            <pc:sldMk cId="1209091634" sldId="2192"/>
            <ac:cxnSpMk id="103" creationId="{DF859517-2C55-8170-BF27-BDC478B3B59C}"/>
          </ac:cxnSpMkLst>
        </pc:cxnChg>
        <pc:cxnChg chg="add mod">
          <ac:chgData name="Aurelien Domont" userId="6da7715ce44349b3" providerId="LiveId" clId="{29D6A56D-AB0D-41B6-B017-3803A210466B}" dt="2023-02-16T03:47:37.998" v="8369"/>
          <ac:cxnSpMkLst>
            <pc:docMk/>
            <pc:sldMk cId="1209091634" sldId="2192"/>
            <ac:cxnSpMk id="104" creationId="{CEE361BD-22E4-6CA0-28E6-6C1D170BD1B4}"/>
          </ac:cxnSpMkLst>
        </pc:cxnChg>
        <pc:cxnChg chg="add mod">
          <ac:chgData name="Aurelien Domont" userId="6da7715ce44349b3" providerId="LiveId" clId="{29D6A56D-AB0D-41B6-B017-3803A210466B}" dt="2023-02-16T03:47:37.998" v="8369"/>
          <ac:cxnSpMkLst>
            <pc:docMk/>
            <pc:sldMk cId="1209091634" sldId="2192"/>
            <ac:cxnSpMk id="105" creationId="{3213E55B-7E4D-B85E-9300-340AE486DB0C}"/>
          </ac:cxnSpMkLst>
        </pc:cxnChg>
      </pc:sldChg>
      <pc:sldChg chg="del">
        <pc:chgData name="Aurelien Domont" userId="6da7715ce44349b3" providerId="LiveId" clId="{29D6A56D-AB0D-41B6-B017-3803A210466B}" dt="2021-08-03T07:27:50.645" v="1151" actId="47"/>
        <pc:sldMkLst>
          <pc:docMk/>
          <pc:sldMk cId="1270591852" sldId="2200"/>
        </pc:sldMkLst>
      </pc:sldChg>
      <pc:sldChg chg="del">
        <pc:chgData name="Aurelien Domont" userId="6da7715ce44349b3" providerId="LiveId" clId="{29D6A56D-AB0D-41B6-B017-3803A210466B}" dt="2021-08-03T07:27:51.639" v="1152" actId="47"/>
        <pc:sldMkLst>
          <pc:docMk/>
          <pc:sldMk cId="526020649" sldId="2201"/>
        </pc:sldMkLst>
      </pc:sldChg>
      <pc:sldChg chg="addSp delSp modSp mod ord">
        <pc:chgData name="Aurelien Domont" userId="6da7715ce44349b3" providerId="LiveId" clId="{29D6A56D-AB0D-41B6-B017-3803A210466B}" dt="2023-01-12T05:04:36.910" v="7577"/>
        <pc:sldMkLst>
          <pc:docMk/>
          <pc:sldMk cId="750087135" sldId="2202"/>
        </pc:sldMkLst>
        <pc:spChg chg="del">
          <ac:chgData name="Aurelien Domont" userId="6da7715ce44349b3" providerId="LiveId" clId="{29D6A56D-AB0D-41B6-B017-3803A210466B}" dt="2021-08-05T06:29:52.993" v="1425" actId="478"/>
          <ac:spMkLst>
            <pc:docMk/>
            <pc:sldMk cId="750087135" sldId="2202"/>
            <ac:spMk id="2" creationId="{49C9F90D-3606-495B-9201-34A27BF7A42D}"/>
          </ac:spMkLst>
        </pc:spChg>
        <pc:spChg chg="add mod">
          <ac:chgData name="Aurelien Domont" userId="6da7715ce44349b3" providerId="LiveId" clId="{29D6A56D-AB0D-41B6-B017-3803A210466B}" dt="2023-01-12T04:53:19.234" v="7492" actId="207"/>
          <ac:spMkLst>
            <pc:docMk/>
            <pc:sldMk cId="750087135" sldId="2202"/>
            <ac:spMk id="2" creationId="{EA372256-4CD5-2346-918C-5388C53B0312}"/>
          </ac:spMkLst>
        </pc:spChg>
        <pc:spChg chg="del">
          <ac:chgData name="Aurelien Domont" userId="6da7715ce44349b3" providerId="LiveId" clId="{29D6A56D-AB0D-41B6-B017-3803A210466B}" dt="2021-08-05T06:29:52.993" v="1425" actId="478"/>
          <ac:spMkLst>
            <pc:docMk/>
            <pc:sldMk cId="750087135" sldId="2202"/>
            <ac:spMk id="3" creationId="{99E3DBA2-B4B6-4ECE-8106-2DABAA5319D4}"/>
          </ac:spMkLst>
        </pc:spChg>
        <pc:spChg chg="add mod">
          <ac:chgData name="Aurelien Domont" userId="6da7715ce44349b3" providerId="LiveId" clId="{29D6A56D-AB0D-41B6-B017-3803A210466B}" dt="2023-01-12T04:53:15.286" v="7491"/>
          <ac:spMkLst>
            <pc:docMk/>
            <pc:sldMk cId="750087135" sldId="2202"/>
            <ac:spMk id="3" creationId="{CCBDA38E-60A0-5C90-7734-91ACC355B47C}"/>
          </ac:spMkLst>
        </pc:spChg>
        <pc:spChg chg="add mod">
          <ac:chgData name="Aurelien Domont" userId="6da7715ce44349b3" providerId="LiveId" clId="{29D6A56D-AB0D-41B6-B017-3803A210466B}" dt="2023-01-12T04:53:15.286" v="7491"/>
          <ac:spMkLst>
            <pc:docMk/>
            <pc:sldMk cId="750087135" sldId="2202"/>
            <ac:spMk id="4" creationId="{A68EA1FF-45E4-32E1-A20B-8F946F778A23}"/>
          </ac:spMkLst>
        </pc:spChg>
        <pc:spChg chg="mod">
          <ac:chgData name="Aurelien Domont" userId="6da7715ce44349b3" providerId="LiveId" clId="{29D6A56D-AB0D-41B6-B017-3803A210466B}" dt="2022-11-29T03:10:19.794" v="3765"/>
          <ac:spMkLst>
            <pc:docMk/>
            <pc:sldMk cId="750087135" sldId="2202"/>
            <ac:spMk id="5" creationId="{3AA7B8AD-E6F9-4E25-A3A4-71D021032612}"/>
          </ac:spMkLst>
        </pc:spChg>
        <pc:spChg chg="add mod">
          <ac:chgData name="Aurelien Domont" userId="6da7715ce44349b3" providerId="LiveId" clId="{29D6A56D-AB0D-41B6-B017-3803A210466B}" dt="2023-01-12T04:53:15.286" v="7491"/>
          <ac:spMkLst>
            <pc:docMk/>
            <pc:sldMk cId="750087135" sldId="2202"/>
            <ac:spMk id="6" creationId="{6B5D0C30-1D05-4AC7-75F6-E983E47BA10E}"/>
          </ac:spMkLst>
        </pc:spChg>
        <pc:spChg chg="del">
          <ac:chgData name="Aurelien Domont" userId="6da7715ce44349b3" providerId="LiveId" clId="{29D6A56D-AB0D-41B6-B017-3803A210466B}" dt="2021-08-05T06:29:52.993" v="1425" actId="478"/>
          <ac:spMkLst>
            <pc:docMk/>
            <pc:sldMk cId="750087135" sldId="2202"/>
            <ac:spMk id="6" creationId="{80C2FA24-C3FF-4F99-8694-BA262AB8070A}"/>
          </ac:spMkLst>
        </pc:spChg>
        <pc:spChg chg="del">
          <ac:chgData name="Aurelien Domont" userId="6da7715ce44349b3" providerId="LiveId" clId="{29D6A56D-AB0D-41B6-B017-3803A210466B}" dt="2021-08-05T06:29:52.993" v="1425" actId="478"/>
          <ac:spMkLst>
            <pc:docMk/>
            <pc:sldMk cId="750087135" sldId="2202"/>
            <ac:spMk id="7" creationId="{AA474FA7-23F8-48D3-A4A1-46C7E7EF8CBF}"/>
          </ac:spMkLst>
        </pc:spChg>
        <pc:spChg chg="add mod">
          <ac:chgData name="Aurelien Domont" userId="6da7715ce44349b3" providerId="LiveId" clId="{29D6A56D-AB0D-41B6-B017-3803A210466B}" dt="2023-01-12T04:53:15.286" v="7491"/>
          <ac:spMkLst>
            <pc:docMk/>
            <pc:sldMk cId="750087135" sldId="2202"/>
            <ac:spMk id="7" creationId="{D22588F6-1419-FED5-7801-1A0E13102D20}"/>
          </ac:spMkLst>
        </pc:spChg>
        <pc:spChg chg="del">
          <ac:chgData name="Aurelien Domont" userId="6da7715ce44349b3" providerId="LiveId" clId="{29D6A56D-AB0D-41B6-B017-3803A210466B}" dt="2021-08-05T06:29:52.993" v="1425" actId="478"/>
          <ac:spMkLst>
            <pc:docMk/>
            <pc:sldMk cId="750087135" sldId="2202"/>
            <ac:spMk id="8" creationId="{44D82846-5412-4854-9CE9-6BD4A4D3F201}"/>
          </ac:spMkLst>
        </pc:spChg>
        <pc:spChg chg="add mod">
          <ac:chgData name="Aurelien Domont" userId="6da7715ce44349b3" providerId="LiveId" clId="{29D6A56D-AB0D-41B6-B017-3803A210466B}" dt="2023-01-12T04:53:15.286" v="7491"/>
          <ac:spMkLst>
            <pc:docMk/>
            <pc:sldMk cId="750087135" sldId="2202"/>
            <ac:spMk id="9" creationId="{DA4E9622-B718-54CD-E9BC-A6DC03D2080F}"/>
          </ac:spMkLst>
        </pc:spChg>
        <pc:spChg chg="del">
          <ac:chgData name="Aurelien Domont" userId="6da7715ce44349b3" providerId="LiveId" clId="{29D6A56D-AB0D-41B6-B017-3803A210466B}" dt="2021-08-05T06:29:52.993" v="1425" actId="478"/>
          <ac:spMkLst>
            <pc:docMk/>
            <pc:sldMk cId="750087135" sldId="2202"/>
            <ac:spMk id="10" creationId="{F6F130AE-016B-49E7-B056-02422308B35C}"/>
          </ac:spMkLst>
        </pc:spChg>
        <pc:spChg chg="del">
          <ac:chgData name="Aurelien Domont" userId="6da7715ce44349b3" providerId="LiveId" clId="{29D6A56D-AB0D-41B6-B017-3803A210466B}" dt="2021-08-05T06:30:18.506" v="1426" actId="478"/>
          <ac:spMkLst>
            <pc:docMk/>
            <pc:sldMk cId="750087135" sldId="2202"/>
            <ac:spMk id="11" creationId="{381FC75F-03AC-4E06-95A5-77AA464D139B}"/>
          </ac:spMkLst>
        </pc:spChg>
        <pc:spChg chg="add mod">
          <ac:chgData name="Aurelien Domont" userId="6da7715ce44349b3" providerId="LiveId" clId="{29D6A56D-AB0D-41B6-B017-3803A210466B}" dt="2023-01-12T04:53:15.286" v="7491"/>
          <ac:spMkLst>
            <pc:docMk/>
            <pc:sldMk cId="750087135" sldId="2202"/>
            <ac:spMk id="11" creationId="{8FF1E004-3F64-42DA-6C63-D65A84E88D46}"/>
          </ac:spMkLst>
        </pc:spChg>
        <pc:spChg chg="add mod">
          <ac:chgData name="Aurelien Domont" userId="6da7715ce44349b3" providerId="LiveId" clId="{29D6A56D-AB0D-41B6-B017-3803A210466B}" dt="2023-01-12T04:53:15.286" v="7491"/>
          <ac:spMkLst>
            <pc:docMk/>
            <pc:sldMk cId="750087135" sldId="2202"/>
            <ac:spMk id="12" creationId="{D0DA8314-72A5-B45F-22C2-F0A47A6EC233}"/>
          </ac:spMkLst>
        </pc:spChg>
        <pc:spChg chg="del">
          <ac:chgData name="Aurelien Domont" userId="6da7715ce44349b3" providerId="LiveId" clId="{29D6A56D-AB0D-41B6-B017-3803A210466B}" dt="2021-08-05T06:29:52.993" v="1425" actId="478"/>
          <ac:spMkLst>
            <pc:docMk/>
            <pc:sldMk cId="750087135" sldId="2202"/>
            <ac:spMk id="12" creationId="{F22BF9F2-93B5-4D57-85D0-BA4BB3074ECE}"/>
          </ac:spMkLst>
        </pc:spChg>
        <pc:spChg chg="add mod">
          <ac:chgData name="Aurelien Domont" userId="6da7715ce44349b3" providerId="LiveId" clId="{29D6A56D-AB0D-41B6-B017-3803A210466B}" dt="2023-01-12T04:53:15.286" v="7491"/>
          <ac:spMkLst>
            <pc:docMk/>
            <pc:sldMk cId="750087135" sldId="2202"/>
            <ac:spMk id="14" creationId="{388256E9-96B5-C63B-9E23-512131381DD4}"/>
          </ac:spMkLst>
        </pc:spChg>
        <pc:spChg chg="add mod">
          <ac:chgData name="Aurelien Domont" userId="6da7715ce44349b3" providerId="LiveId" clId="{29D6A56D-AB0D-41B6-B017-3803A210466B}" dt="2023-01-12T04:53:15.286" v="7491"/>
          <ac:spMkLst>
            <pc:docMk/>
            <pc:sldMk cId="750087135" sldId="2202"/>
            <ac:spMk id="15" creationId="{4706150A-1402-6EF9-E6F2-33938197B2F6}"/>
          </ac:spMkLst>
        </pc:spChg>
        <pc:spChg chg="mod">
          <ac:chgData name="Aurelien Domont" userId="6da7715ce44349b3" providerId="LiveId" clId="{29D6A56D-AB0D-41B6-B017-3803A210466B}" dt="2023-01-12T04:52:36.521" v="7485" actId="20577"/>
          <ac:spMkLst>
            <pc:docMk/>
            <pc:sldMk cId="750087135" sldId="2202"/>
            <ac:spMk id="16" creationId="{6C2BB713-9637-4B9B-938F-E9768876782A}"/>
          </ac:spMkLst>
        </pc:spChg>
        <pc:spChg chg="add mod">
          <ac:chgData name="Aurelien Domont" userId="6da7715ce44349b3" providerId="LiveId" clId="{29D6A56D-AB0D-41B6-B017-3803A210466B}" dt="2023-01-12T04:53:15.286" v="7491"/>
          <ac:spMkLst>
            <pc:docMk/>
            <pc:sldMk cId="750087135" sldId="2202"/>
            <ac:spMk id="17" creationId="{D42823B9-4006-D710-68B0-7BC047D52755}"/>
          </ac:spMkLst>
        </pc:spChg>
        <pc:spChg chg="add mod">
          <ac:chgData name="Aurelien Domont" userId="6da7715ce44349b3" providerId="LiveId" clId="{29D6A56D-AB0D-41B6-B017-3803A210466B}" dt="2023-01-12T04:53:15.286" v="7491"/>
          <ac:spMkLst>
            <pc:docMk/>
            <pc:sldMk cId="750087135" sldId="2202"/>
            <ac:spMk id="18" creationId="{50C9D806-C2F4-199D-8694-A7E603CE9F60}"/>
          </ac:spMkLst>
        </pc:spChg>
        <pc:spChg chg="del">
          <ac:chgData name="Aurelien Domont" userId="6da7715ce44349b3" providerId="LiveId" clId="{29D6A56D-AB0D-41B6-B017-3803A210466B}" dt="2021-08-05T06:29:52.993" v="1425" actId="478"/>
          <ac:spMkLst>
            <pc:docMk/>
            <pc:sldMk cId="750087135" sldId="2202"/>
            <ac:spMk id="18" creationId="{EE925BBA-D2EB-4000-BDB6-05D95DDF45F3}"/>
          </ac:spMkLst>
        </pc:spChg>
        <pc:spChg chg="add mod">
          <ac:chgData name="Aurelien Domont" userId="6da7715ce44349b3" providerId="LiveId" clId="{29D6A56D-AB0D-41B6-B017-3803A210466B}" dt="2023-01-12T04:53:15.286" v="7491"/>
          <ac:spMkLst>
            <pc:docMk/>
            <pc:sldMk cId="750087135" sldId="2202"/>
            <ac:spMk id="19" creationId="{B6FC0B36-45A8-D04A-8FE8-4E10F542BD83}"/>
          </ac:spMkLst>
        </pc:spChg>
        <pc:spChg chg="del">
          <ac:chgData name="Aurelien Domont" userId="6da7715ce44349b3" providerId="LiveId" clId="{29D6A56D-AB0D-41B6-B017-3803A210466B}" dt="2021-08-05T06:29:52.993" v="1425" actId="478"/>
          <ac:spMkLst>
            <pc:docMk/>
            <pc:sldMk cId="750087135" sldId="2202"/>
            <ac:spMk id="19" creationId="{D5B94190-586B-4762-8F62-7C91D7F01CE4}"/>
          </ac:spMkLst>
        </pc:spChg>
        <pc:spChg chg="add mod">
          <ac:chgData name="Aurelien Domont" userId="6da7715ce44349b3" providerId="LiveId" clId="{29D6A56D-AB0D-41B6-B017-3803A210466B}" dt="2023-01-12T04:53:15.286" v="7491"/>
          <ac:spMkLst>
            <pc:docMk/>
            <pc:sldMk cId="750087135" sldId="2202"/>
            <ac:spMk id="20" creationId="{64F8BED4-7F2D-54F2-6817-BDE365C940CF}"/>
          </ac:spMkLst>
        </pc:spChg>
        <pc:spChg chg="del">
          <ac:chgData name="Aurelien Domont" userId="6da7715ce44349b3" providerId="LiveId" clId="{29D6A56D-AB0D-41B6-B017-3803A210466B}" dt="2021-08-05T06:29:52.993" v="1425" actId="478"/>
          <ac:spMkLst>
            <pc:docMk/>
            <pc:sldMk cId="750087135" sldId="2202"/>
            <ac:spMk id="20" creationId="{8FB4C652-E152-4F9D-88FB-38C464AB1EF2}"/>
          </ac:spMkLst>
        </pc:spChg>
        <pc:spChg chg="add mod">
          <ac:chgData name="Aurelien Domont" userId="6da7715ce44349b3" providerId="LiveId" clId="{29D6A56D-AB0D-41B6-B017-3803A210466B}" dt="2023-01-12T04:53:15.286" v="7491"/>
          <ac:spMkLst>
            <pc:docMk/>
            <pc:sldMk cId="750087135" sldId="2202"/>
            <ac:spMk id="21" creationId="{84AB36C2-5AF2-F66F-2B42-80E630721555}"/>
          </ac:spMkLst>
        </pc:spChg>
        <pc:spChg chg="add mod">
          <ac:chgData name="Aurelien Domont" userId="6da7715ce44349b3" providerId="LiveId" clId="{29D6A56D-AB0D-41B6-B017-3803A210466B}" dt="2023-01-12T04:53:15.286" v="7491"/>
          <ac:spMkLst>
            <pc:docMk/>
            <pc:sldMk cId="750087135" sldId="2202"/>
            <ac:spMk id="22" creationId="{35D5B6F9-83EE-973B-3903-77F27F0DEC20}"/>
          </ac:spMkLst>
        </pc:spChg>
        <pc:spChg chg="add mod">
          <ac:chgData name="Aurelien Domont" userId="6da7715ce44349b3" providerId="LiveId" clId="{29D6A56D-AB0D-41B6-B017-3803A210466B}" dt="2023-01-12T04:53:15.286" v="7491"/>
          <ac:spMkLst>
            <pc:docMk/>
            <pc:sldMk cId="750087135" sldId="2202"/>
            <ac:spMk id="23" creationId="{057109E9-69FA-BE2C-898C-6802C18DE49F}"/>
          </ac:spMkLst>
        </pc:spChg>
        <pc:spChg chg="del">
          <ac:chgData name="Aurelien Domont" userId="6da7715ce44349b3" providerId="LiveId" clId="{29D6A56D-AB0D-41B6-B017-3803A210466B}" dt="2021-08-05T06:29:52.993" v="1425" actId="478"/>
          <ac:spMkLst>
            <pc:docMk/>
            <pc:sldMk cId="750087135" sldId="2202"/>
            <ac:spMk id="24" creationId="{267A9F5F-6FAE-4790-85DC-D47AE16B0E9F}"/>
          </ac:spMkLst>
        </pc:spChg>
        <pc:spChg chg="add mod">
          <ac:chgData name="Aurelien Domont" userId="6da7715ce44349b3" providerId="LiveId" clId="{29D6A56D-AB0D-41B6-B017-3803A210466B}" dt="2023-01-12T04:53:15.286" v="7491"/>
          <ac:spMkLst>
            <pc:docMk/>
            <pc:sldMk cId="750087135" sldId="2202"/>
            <ac:spMk id="24" creationId="{81AB403B-B532-F2F4-F9DD-D751FCC5D622}"/>
          </ac:spMkLst>
        </pc:spChg>
        <pc:spChg chg="add mod">
          <ac:chgData name="Aurelien Domont" userId="6da7715ce44349b3" providerId="LiveId" clId="{29D6A56D-AB0D-41B6-B017-3803A210466B}" dt="2023-01-12T04:53:15.286" v="7491"/>
          <ac:spMkLst>
            <pc:docMk/>
            <pc:sldMk cId="750087135" sldId="2202"/>
            <ac:spMk id="25" creationId="{CBCE1A8B-0CAE-DFCC-945C-1EEB482B7A3B}"/>
          </ac:spMkLst>
        </pc:spChg>
        <pc:spChg chg="del">
          <ac:chgData name="Aurelien Domont" userId="6da7715ce44349b3" providerId="LiveId" clId="{29D6A56D-AB0D-41B6-B017-3803A210466B}" dt="2021-08-05T06:29:52.993" v="1425" actId="478"/>
          <ac:spMkLst>
            <pc:docMk/>
            <pc:sldMk cId="750087135" sldId="2202"/>
            <ac:spMk id="25" creationId="{CC7E98FA-3E5D-4DCC-9070-63922C461F93}"/>
          </ac:spMkLst>
        </pc:spChg>
        <pc:spChg chg="del">
          <ac:chgData name="Aurelien Domont" userId="6da7715ce44349b3" providerId="LiveId" clId="{29D6A56D-AB0D-41B6-B017-3803A210466B}" dt="2021-08-05T06:29:52.993" v="1425" actId="478"/>
          <ac:spMkLst>
            <pc:docMk/>
            <pc:sldMk cId="750087135" sldId="2202"/>
            <ac:spMk id="26" creationId="{C7991C61-A51D-4A0F-91E9-FC63D6829799}"/>
          </ac:spMkLst>
        </pc:spChg>
        <pc:spChg chg="del">
          <ac:chgData name="Aurelien Domont" userId="6da7715ce44349b3" providerId="LiveId" clId="{29D6A56D-AB0D-41B6-B017-3803A210466B}" dt="2021-08-05T06:29:52.993" v="1425" actId="478"/>
          <ac:spMkLst>
            <pc:docMk/>
            <pc:sldMk cId="750087135" sldId="2202"/>
            <ac:spMk id="27" creationId="{69E83687-111F-4C8F-82F8-1100A830A799}"/>
          </ac:spMkLst>
        </pc:spChg>
        <pc:spChg chg="del">
          <ac:chgData name="Aurelien Domont" userId="6da7715ce44349b3" providerId="LiveId" clId="{29D6A56D-AB0D-41B6-B017-3803A210466B}" dt="2021-08-05T06:29:52.993" v="1425" actId="478"/>
          <ac:spMkLst>
            <pc:docMk/>
            <pc:sldMk cId="750087135" sldId="2202"/>
            <ac:spMk id="34" creationId="{13F1F2DD-4116-4862-8881-78AA3F95608B}"/>
          </ac:spMkLst>
        </pc:spChg>
        <pc:spChg chg="del">
          <ac:chgData name="Aurelien Domont" userId="6da7715ce44349b3" providerId="LiveId" clId="{29D6A56D-AB0D-41B6-B017-3803A210466B}" dt="2021-08-05T06:29:52.993" v="1425" actId="478"/>
          <ac:spMkLst>
            <pc:docMk/>
            <pc:sldMk cId="750087135" sldId="2202"/>
            <ac:spMk id="35" creationId="{F9F4BBF8-73BF-4F2E-AF32-69593639E058}"/>
          </ac:spMkLst>
        </pc:spChg>
        <pc:spChg chg="del">
          <ac:chgData name="Aurelien Domont" userId="6da7715ce44349b3" providerId="LiveId" clId="{29D6A56D-AB0D-41B6-B017-3803A210466B}" dt="2021-08-05T06:29:52.993" v="1425" actId="478"/>
          <ac:spMkLst>
            <pc:docMk/>
            <pc:sldMk cId="750087135" sldId="2202"/>
            <ac:spMk id="36" creationId="{BB85C512-FA88-4677-B0BC-9D00764DE8C6}"/>
          </ac:spMkLst>
        </pc:spChg>
        <pc:spChg chg="del">
          <ac:chgData name="Aurelien Domont" userId="6da7715ce44349b3" providerId="LiveId" clId="{29D6A56D-AB0D-41B6-B017-3803A210466B}" dt="2021-08-05T06:29:52.993" v="1425" actId="478"/>
          <ac:spMkLst>
            <pc:docMk/>
            <pc:sldMk cId="750087135" sldId="2202"/>
            <ac:spMk id="37" creationId="{228E0722-FA6E-48B5-9F62-549DFD0E5B38}"/>
          </ac:spMkLst>
        </pc:spChg>
        <pc:spChg chg="add del mod">
          <ac:chgData name="Aurelien Domont" userId="6da7715ce44349b3" providerId="LiveId" clId="{29D6A56D-AB0D-41B6-B017-3803A210466B}" dt="2023-01-12T04:52:43.517" v="7486" actId="478"/>
          <ac:spMkLst>
            <pc:docMk/>
            <pc:sldMk cId="750087135" sldId="2202"/>
            <ac:spMk id="38" creationId="{4E62B729-6759-49CE-98AC-19D319E67273}"/>
          </ac:spMkLst>
        </pc:spChg>
        <pc:spChg chg="add del mod">
          <ac:chgData name="Aurelien Domont" userId="6da7715ce44349b3" providerId="LiveId" clId="{29D6A56D-AB0D-41B6-B017-3803A210466B}" dt="2023-01-12T04:52:43.517" v="7486" actId="478"/>
          <ac:spMkLst>
            <pc:docMk/>
            <pc:sldMk cId="750087135" sldId="2202"/>
            <ac:spMk id="39" creationId="{2E3AF6D6-0EAA-46F7-B834-6D34869BC9A0}"/>
          </ac:spMkLst>
        </pc:spChg>
        <pc:spChg chg="add del mod">
          <ac:chgData name="Aurelien Domont" userId="6da7715ce44349b3" providerId="LiveId" clId="{29D6A56D-AB0D-41B6-B017-3803A210466B}" dt="2023-01-12T04:52:43.517" v="7486" actId="478"/>
          <ac:spMkLst>
            <pc:docMk/>
            <pc:sldMk cId="750087135" sldId="2202"/>
            <ac:spMk id="40" creationId="{7937A946-13CF-48ED-BC27-678716B5C734}"/>
          </ac:spMkLst>
        </pc:spChg>
        <pc:spChg chg="del">
          <ac:chgData name="Aurelien Domont" userId="6da7715ce44349b3" providerId="LiveId" clId="{29D6A56D-AB0D-41B6-B017-3803A210466B}" dt="2021-08-05T06:29:52.993" v="1425" actId="478"/>
          <ac:spMkLst>
            <pc:docMk/>
            <pc:sldMk cId="750087135" sldId="2202"/>
            <ac:spMk id="41" creationId="{69FAB97F-DE5B-4C2D-8A9F-25E48FA01F20}"/>
          </ac:spMkLst>
        </pc:spChg>
        <pc:spChg chg="del">
          <ac:chgData name="Aurelien Domont" userId="6da7715ce44349b3" providerId="LiveId" clId="{29D6A56D-AB0D-41B6-B017-3803A210466B}" dt="2021-08-05T06:29:52.993" v="1425" actId="478"/>
          <ac:spMkLst>
            <pc:docMk/>
            <pc:sldMk cId="750087135" sldId="2202"/>
            <ac:spMk id="42" creationId="{35AEA703-0695-4FA6-B377-89F0AA47F780}"/>
          </ac:spMkLst>
        </pc:spChg>
        <pc:spChg chg="del">
          <ac:chgData name="Aurelien Domont" userId="6da7715ce44349b3" providerId="LiveId" clId="{29D6A56D-AB0D-41B6-B017-3803A210466B}" dt="2021-08-05T06:29:52.993" v="1425" actId="478"/>
          <ac:spMkLst>
            <pc:docMk/>
            <pc:sldMk cId="750087135" sldId="2202"/>
            <ac:spMk id="43" creationId="{DE906AFB-951A-469E-B0E1-74784B47250C}"/>
          </ac:spMkLst>
        </pc:spChg>
        <pc:spChg chg="del">
          <ac:chgData name="Aurelien Domont" userId="6da7715ce44349b3" providerId="LiveId" clId="{29D6A56D-AB0D-41B6-B017-3803A210466B}" dt="2021-08-05T06:29:52.993" v="1425" actId="478"/>
          <ac:spMkLst>
            <pc:docMk/>
            <pc:sldMk cId="750087135" sldId="2202"/>
            <ac:spMk id="44" creationId="{727AABA0-49DD-4275-AA00-F9FADC082D5A}"/>
          </ac:spMkLst>
        </pc:spChg>
        <pc:spChg chg="del">
          <ac:chgData name="Aurelien Domont" userId="6da7715ce44349b3" providerId="LiveId" clId="{29D6A56D-AB0D-41B6-B017-3803A210466B}" dt="2021-08-05T06:29:52.993" v="1425" actId="478"/>
          <ac:spMkLst>
            <pc:docMk/>
            <pc:sldMk cId="750087135" sldId="2202"/>
            <ac:spMk id="45" creationId="{381C3961-C14F-44BD-9884-CFE86028E651}"/>
          </ac:spMkLst>
        </pc:spChg>
        <pc:spChg chg="del">
          <ac:chgData name="Aurelien Domont" userId="6da7715ce44349b3" providerId="LiveId" clId="{29D6A56D-AB0D-41B6-B017-3803A210466B}" dt="2021-08-05T06:29:52.993" v="1425" actId="478"/>
          <ac:spMkLst>
            <pc:docMk/>
            <pc:sldMk cId="750087135" sldId="2202"/>
            <ac:spMk id="46" creationId="{B351FE10-219E-4988-A70E-71535F6DC742}"/>
          </ac:spMkLst>
        </pc:spChg>
        <pc:spChg chg="del">
          <ac:chgData name="Aurelien Domont" userId="6da7715ce44349b3" providerId="LiveId" clId="{29D6A56D-AB0D-41B6-B017-3803A210466B}" dt="2021-08-05T06:29:52.993" v="1425" actId="478"/>
          <ac:spMkLst>
            <pc:docMk/>
            <pc:sldMk cId="750087135" sldId="2202"/>
            <ac:spMk id="47" creationId="{2104DCB7-D511-4A38-9390-268496914429}"/>
          </ac:spMkLst>
        </pc:spChg>
        <pc:spChg chg="del">
          <ac:chgData name="Aurelien Domont" userId="6da7715ce44349b3" providerId="LiveId" clId="{29D6A56D-AB0D-41B6-B017-3803A210466B}" dt="2021-08-05T06:29:52.993" v="1425" actId="478"/>
          <ac:spMkLst>
            <pc:docMk/>
            <pc:sldMk cId="750087135" sldId="2202"/>
            <ac:spMk id="48" creationId="{8D70FB0A-38E1-413F-891A-7341892C48C5}"/>
          </ac:spMkLst>
        </pc:spChg>
        <pc:spChg chg="del">
          <ac:chgData name="Aurelien Domont" userId="6da7715ce44349b3" providerId="LiveId" clId="{29D6A56D-AB0D-41B6-B017-3803A210466B}" dt="2021-08-05T06:29:52.993" v="1425" actId="478"/>
          <ac:spMkLst>
            <pc:docMk/>
            <pc:sldMk cId="750087135" sldId="2202"/>
            <ac:spMk id="49" creationId="{2ACFEC94-FA86-4D6E-B9AB-B38911366A4B}"/>
          </ac:spMkLst>
        </pc:spChg>
        <pc:spChg chg="add del mod">
          <ac:chgData name="Aurelien Domont" userId="6da7715ce44349b3" providerId="LiveId" clId="{29D6A56D-AB0D-41B6-B017-3803A210466B}" dt="2023-01-12T04:52:43.517" v="7486" actId="478"/>
          <ac:spMkLst>
            <pc:docMk/>
            <pc:sldMk cId="750087135" sldId="2202"/>
            <ac:spMk id="51" creationId="{31AD27A7-A6BB-48A8-BD67-3D7758A9BAFD}"/>
          </ac:spMkLst>
        </pc:spChg>
        <pc:spChg chg="add del mod">
          <ac:chgData name="Aurelien Domont" userId="6da7715ce44349b3" providerId="LiveId" clId="{29D6A56D-AB0D-41B6-B017-3803A210466B}" dt="2023-01-12T04:52:43.517" v="7486" actId="478"/>
          <ac:spMkLst>
            <pc:docMk/>
            <pc:sldMk cId="750087135" sldId="2202"/>
            <ac:spMk id="52" creationId="{2427035A-8881-4D27-8E30-66E94ED50FF0}"/>
          </ac:spMkLst>
        </pc:spChg>
        <pc:spChg chg="add del mod">
          <ac:chgData name="Aurelien Domont" userId="6da7715ce44349b3" providerId="LiveId" clId="{29D6A56D-AB0D-41B6-B017-3803A210466B}" dt="2023-01-12T04:52:43.517" v="7486" actId="478"/>
          <ac:spMkLst>
            <pc:docMk/>
            <pc:sldMk cId="750087135" sldId="2202"/>
            <ac:spMk id="53" creationId="{94F1DE6B-D2C4-47E7-8157-6291AA08263E}"/>
          </ac:spMkLst>
        </pc:spChg>
        <pc:spChg chg="add del mod">
          <ac:chgData name="Aurelien Domont" userId="6da7715ce44349b3" providerId="LiveId" clId="{29D6A56D-AB0D-41B6-B017-3803A210466B}" dt="2023-01-12T04:52:43.517" v="7486" actId="478"/>
          <ac:spMkLst>
            <pc:docMk/>
            <pc:sldMk cId="750087135" sldId="2202"/>
            <ac:spMk id="55" creationId="{D27BF30D-5581-4BEE-974A-61A3BD4C0EB4}"/>
          </ac:spMkLst>
        </pc:spChg>
        <pc:spChg chg="add del mod">
          <ac:chgData name="Aurelien Domont" userId="6da7715ce44349b3" providerId="LiveId" clId="{29D6A56D-AB0D-41B6-B017-3803A210466B}" dt="2023-01-12T04:52:43.517" v="7486" actId="478"/>
          <ac:spMkLst>
            <pc:docMk/>
            <pc:sldMk cId="750087135" sldId="2202"/>
            <ac:spMk id="57" creationId="{05BB488B-69C8-4124-A76A-4E48AD741568}"/>
          </ac:spMkLst>
        </pc:spChg>
        <pc:picChg chg="add mod">
          <ac:chgData name="Aurelien Domont" userId="6da7715ce44349b3" providerId="LiveId" clId="{29D6A56D-AB0D-41B6-B017-3803A210466B}" dt="2023-01-12T04:53:15.286" v="7491"/>
          <ac:picMkLst>
            <pc:docMk/>
            <pc:sldMk cId="750087135" sldId="2202"/>
            <ac:picMk id="26" creationId="{D3F45C01-36A9-E107-A7E8-88D2887218FD}"/>
          </ac:picMkLst>
        </pc:picChg>
        <pc:picChg chg="add mod">
          <ac:chgData name="Aurelien Domont" userId="6da7715ce44349b3" providerId="LiveId" clId="{29D6A56D-AB0D-41B6-B017-3803A210466B}" dt="2023-01-12T04:53:15.286" v="7491"/>
          <ac:picMkLst>
            <pc:docMk/>
            <pc:sldMk cId="750087135" sldId="2202"/>
            <ac:picMk id="27" creationId="{74E93B48-2377-9D9A-369E-AB75C98E4AB8}"/>
          </ac:picMkLst>
        </pc:picChg>
        <pc:picChg chg="add mod">
          <ac:chgData name="Aurelien Domont" userId="6da7715ce44349b3" providerId="LiveId" clId="{29D6A56D-AB0D-41B6-B017-3803A210466B}" dt="2023-01-12T05:04:36.910" v="7577"/>
          <ac:picMkLst>
            <pc:docMk/>
            <pc:sldMk cId="750087135" sldId="2202"/>
            <ac:picMk id="28" creationId="{7A5569FF-1FC0-8EFF-4867-B21687C837C0}"/>
          </ac:picMkLst>
        </pc:picChg>
        <pc:cxnChg chg="add mod">
          <ac:chgData name="Aurelien Domont" userId="6da7715ce44349b3" providerId="LiveId" clId="{29D6A56D-AB0D-41B6-B017-3803A210466B}" dt="2023-01-12T04:53:15.286" v="7491"/>
          <ac:cxnSpMkLst>
            <pc:docMk/>
            <pc:sldMk cId="750087135" sldId="2202"/>
            <ac:cxnSpMk id="8" creationId="{1E048066-FE4B-C65D-F490-A9AADF12C51E}"/>
          </ac:cxnSpMkLst>
        </pc:cxnChg>
        <pc:cxnChg chg="del">
          <ac:chgData name="Aurelien Domont" userId="6da7715ce44349b3" providerId="LiveId" clId="{29D6A56D-AB0D-41B6-B017-3803A210466B}" dt="2021-08-05T06:29:52.993" v="1425" actId="478"/>
          <ac:cxnSpMkLst>
            <pc:docMk/>
            <pc:sldMk cId="750087135" sldId="2202"/>
            <ac:cxnSpMk id="9" creationId="{938E2F11-EEE6-4CE3-AA18-0A0EFEAFC83C}"/>
          </ac:cxnSpMkLst>
        </pc:cxnChg>
        <pc:cxnChg chg="add mod">
          <ac:chgData name="Aurelien Domont" userId="6da7715ce44349b3" providerId="LiveId" clId="{29D6A56D-AB0D-41B6-B017-3803A210466B}" dt="2023-01-12T04:53:15.286" v="7491"/>
          <ac:cxnSpMkLst>
            <pc:docMk/>
            <pc:sldMk cId="750087135" sldId="2202"/>
            <ac:cxnSpMk id="10" creationId="{877E7BA9-9980-EE5E-B9C3-FEA390969B5B}"/>
          </ac:cxnSpMkLst>
        </pc:cxnChg>
        <pc:cxnChg chg="del">
          <ac:chgData name="Aurelien Domont" userId="6da7715ce44349b3" providerId="LiveId" clId="{29D6A56D-AB0D-41B6-B017-3803A210466B}" dt="2021-08-05T06:29:52.993" v="1425" actId="478"/>
          <ac:cxnSpMkLst>
            <pc:docMk/>
            <pc:sldMk cId="750087135" sldId="2202"/>
            <ac:cxnSpMk id="14" creationId="{BD538E77-947C-4FAE-B4B2-3DD1EF8F7624}"/>
          </ac:cxnSpMkLst>
        </pc:cxnChg>
        <pc:cxnChg chg="add del mod">
          <ac:chgData name="Aurelien Domont" userId="6da7715ce44349b3" providerId="LiveId" clId="{29D6A56D-AB0D-41B6-B017-3803A210466B}" dt="2023-01-12T04:52:43.517" v="7486" actId="478"/>
          <ac:cxnSpMkLst>
            <pc:docMk/>
            <pc:sldMk cId="750087135" sldId="2202"/>
            <ac:cxnSpMk id="50" creationId="{91A1714B-EC96-46FA-BC40-DBC8339E93EF}"/>
          </ac:cxnSpMkLst>
        </pc:cxnChg>
        <pc:cxnChg chg="add del mod">
          <ac:chgData name="Aurelien Domont" userId="6da7715ce44349b3" providerId="LiveId" clId="{29D6A56D-AB0D-41B6-B017-3803A210466B}" dt="2023-01-12T04:52:43.517" v="7486" actId="478"/>
          <ac:cxnSpMkLst>
            <pc:docMk/>
            <pc:sldMk cId="750087135" sldId="2202"/>
            <ac:cxnSpMk id="54" creationId="{F51C1F44-C286-460A-AF68-53BE53CCFBCE}"/>
          </ac:cxnSpMkLst>
        </pc:cxnChg>
        <pc:cxnChg chg="add del mod">
          <ac:chgData name="Aurelien Domont" userId="6da7715ce44349b3" providerId="LiveId" clId="{29D6A56D-AB0D-41B6-B017-3803A210466B}" dt="2023-01-12T04:52:43.517" v="7486" actId="478"/>
          <ac:cxnSpMkLst>
            <pc:docMk/>
            <pc:sldMk cId="750087135" sldId="2202"/>
            <ac:cxnSpMk id="56" creationId="{D918EE2E-6F5F-46AB-82BB-FC9983EAD88B}"/>
          </ac:cxnSpMkLst>
        </pc:cxnChg>
      </pc:sldChg>
      <pc:sldChg chg="del">
        <pc:chgData name="Aurelien Domont" userId="6da7715ce44349b3" providerId="LiveId" clId="{29D6A56D-AB0D-41B6-B017-3803A210466B}" dt="2021-08-05T07:00:57.610" v="1625" actId="47"/>
        <pc:sldMkLst>
          <pc:docMk/>
          <pc:sldMk cId="4234697142" sldId="2203"/>
        </pc:sldMkLst>
      </pc:sldChg>
      <pc:sldChg chg="del">
        <pc:chgData name="Aurelien Domont" userId="6da7715ce44349b3" providerId="LiveId" clId="{29D6A56D-AB0D-41B6-B017-3803A210466B}" dt="2021-08-05T07:00:57.610" v="1625" actId="47"/>
        <pc:sldMkLst>
          <pc:docMk/>
          <pc:sldMk cId="224053391" sldId="2204"/>
        </pc:sldMkLst>
      </pc:sldChg>
      <pc:sldChg chg="addSp delSp modSp del mod">
        <pc:chgData name="Aurelien Domont" userId="6da7715ce44349b3" providerId="LiveId" clId="{29D6A56D-AB0D-41B6-B017-3803A210466B}" dt="2021-08-03T07:02:03.369" v="751" actId="47"/>
        <pc:sldMkLst>
          <pc:docMk/>
          <pc:sldMk cId="1277979891" sldId="2205"/>
        </pc:sldMkLst>
        <pc:spChg chg="del mod">
          <ac:chgData name="Aurelien Domont" userId="6da7715ce44349b3" providerId="LiveId" clId="{29D6A56D-AB0D-41B6-B017-3803A210466B}" dt="2021-08-03T06:51:20.644" v="660" actId="478"/>
          <ac:spMkLst>
            <pc:docMk/>
            <pc:sldMk cId="1277979891" sldId="2205"/>
            <ac:spMk id="2" creationId="{49C9F90D-3606-495B-9201-34A27BF7A42D}"/>
          </ac:spMkLst>
        </pc:spChg>
        <pc:spChg chg="del mod">
          <ac:chgData name="Aurelien Domont" userId="6da7715ce44349b3" providerId="LiveId" clId="{29D6A56D-AB0D-41B6-B017-3803A210466B}" dt="2021-08-03T06:51:20.644" v="660" actId="478"/>
          <ac:spMkLst>
            <pc:docMk/>
            <pc:sldMk cId="1277979891" sldId="2205"/>
            <ac:spMk id="3" creationId="{99E3DBA2-B4B6-4ECE-8106-2DABAA5319D4}"/>
          </ac:spMkLst>
        </pc:spChg>
        <pc:spChg chg="del">
          <ac:chgData name="Aurelien Domont" userId="6da7715ce44349b3" providerId="LiveId" clId="{29D6A56D-AB0D-41B6-B017-3803A210466B}" dt="2021-08-03T03:53:46.258" v="44" actId="478"/>
          <ac:spMkLst>
            <pc:docMk/>
            <pc:sldMk cId="1277979891" sldId="2205"/>
            <ac:spMk id="4" creationId="{D43BFD60-78FD-465D-A50C-E952D9BE586A}"/>
          </ac:spMkLst>
        </pc:spChg>
        <pc:spChg chg="add del mod">
          <ac:chgData name="Aurelien Domont" userId="6da7715ce44349b3" providerId="LiveId" clId="{29D6A56D-AB0D-41B6-B017-3803A210466B}" dt="2021-08-03T06:50:37.059" v="656" actId="478"/>
          <ac:spMkLst>
            <pc:docMk/>
            <pc:sldMk cId="1277979891" sldId="2205"/>
            <ac:spMk id="4" creationId="{FCC3FC73-1872-48E9-A0EB-0ACFF838872C}"/>
          </ac:spMkLst>
        </pc:spChg>
        <pc:spChg chg="mod">
          <ac:chgData name="Aurelien Domont" userId="6da7715ce44349b3" providerId="LiveId" clId="{29D6A56D-AB0D-41B6-B017-3803A210466B}" dt="2021-08-03T07:01:23.625" v="734" actId="1036"/>
          <ac:spMkLst>
            <pc:docMk/>
            <pc:sldMk cId="1277979891" sldId="2205"/>
            <ac:spMk id="6" creationId="{80C2FA24-C3FF-4F99-8694-BA262AB8070A}"/>
          </ac:spMkLst>
        </pc:spChg>
        <pc:spChg chg="mod">
          <ac:chgData name="Aurelien Domont" userId="6da7715ce44349b3" providerId="LiveId" clId="{29D6A56D-AB0D-41B6-B017-3803A210466B}" dt="2021-08-03T07:01:23.625" v="734" actId="1036"/>
          <ac:spMkLst>
            <pc:docMk/>
            <pc:sldMk cId="1277979891" sldId="2205"/>
            <ac:spMk id="7" creationId="{AA474FA7-23F8-48D3-A4A1-46C7E7EF8CBF}"/>
          </ac:spMkLst>
        </pc:spChg>
        <pc:spChg chg="mod">
          <ac:chgData name="Aurelien Domont" userId="6da7715ce44349b3" providerId="LiveId" clId="{29D6A56D-AB0D-41B6-B017-3803A210466B}" dt="2021-08-03T07:01:23.625" v="734" actId="1036"/>
          <ac:spMkLst>
            <pc:docMk/>
            <pc:sldMk cId="1277979891" sldId="2205"/>
            <ac:spMk id="8" creationId="{44D82846-5412-4854-9CE9-6BD4A4D3F201}"/>
          </ac:spMkLst>
        </pc:spChg>
        <pc:spChg chg="mod">
          <ac:chgData name="Aurelien Domont" userId="6da7715ce44349b3" providerId="LiveId" clId="{29D6A56D-AB0D-41B6-B017-3803A210466B}" dt="2021-08-03T07:01:23.625" v="734" actId="1036"/>
          <ac:spMkLst>
            <pc:docMk/>
            <pc:sldMk cId="1277979891" sldId="2205"/>
            <ac:spMk id="10" creationId="{F6F130AE-016B-49E7-B056-02422308B35C}"/>
          </ac:spMkLst>
        </pc:spChg>
        <pc:spChg chg="mod">
          <ac:chgData name="Aurelien Domont" userId="6da7715ce44349b3" providerId="LiveId" clId="{29D6A56D-AB0D-41B6-B017-3803A210466B}" dt="2021-08-03T07:01:23.625" v="734" actId="1036"/>
          <ac:spMkLst>
            <pc:docMk/>
            <pc:sldMk cId="1277979891" sldId="2205"/>
            <ac:spMk id="11" creationId="{381FC75F-03AC-4E06-95A5-77AA464D139B}"/>
          </ac:spMkLst>
        </pc:spChg>
        <pc:spChg chg="mod">
          <ac:chgData name="Aurelien Domont" userId="6da7715ce44349b3" providerId="LiveId" clId="{29D6A56D-AB0D-41B6-B017-3803A210466B}" dt="2021-08-03T07:01:23.625" v="734" actId="1036"/>
          <ac:spMkLst>
            <pc:docMk/>
            <pc:sldMk cId="1277979891" sldId="2205"/>
            <ac:spMk id="12" creationId="{F22BF9F2-93B5-4D57-85D0-BA4BB3074ECE}"/>
          </ac:spMkLst>
        </pc:spChg>
        <pc:spChg chg="add mod">
          <ac:chgData name="Aurelien Domont" userId="6da7715ce44349b3" providerId="LiveId" clId="{29D6A56D-AB0D-41B6-B017-3803A210466B}" dt="2021-08-03T07:01:44.848" v="745" actId="1076"/>
          <ac:spMkLst>
            <pc:docMk/>
            <pc:sldMk cId="1277979891" sldId="2205"/>
            <ac:spMk id="15" creationId="{AA93C1A9-A84E-427B-8747-864BB0918056}"/>
          </ac:spMkLst>
        </pc:spChg>
        <pc:spChg chg="mod">
          <ac:chgData name="Aurelien Domont" userId="6da7715ce44349b3" providerId="LiveId" clId="{29D6A56D-AB0D-41B6-B017-3803A210466B}" dt="2021-08-03T06:51:14.442" v="659" actId="108"/>
          <ac:spMkLst>
            <pc:docMk/>
            <pc:sldMk cId="1277979891" sldId="2205"/>
            <ac:spMk id="16" creationId="{6C2BB713-9637-4B9B-938F-E9768876782A}"/>
          </ac:spMkLst>
        </pc:spChg>
        <pc:spChg chg="del">
          <ac:chgData name="Aurelien Domont" userId="6da7715ce44349b3" providerId="LiveId" clId="{29D6A56D-AB0D-41B6-B017-3803A210466B}" dt="2021-08-03T06:51:20.644" v="660" actId="478"/>
          <ac:spMkLst>
            <pc:docMk/>
            <pc:sldMk cId="1277979891" sldId="2205"/>
            <ac:spMk id="18" creationId="{EE925BBA-D2EB-4000-BDB6-05D95DDF45F3}"/>
          </ac:spMkLst>
        </pc:spChg>
        <pc:spChg chg="del">
          <ac:chgData name="Aurelien Domont" userId="6da7715ce44349b3" providerId="LiveId" clId="{29D6A56D-AB0D-41B6-B017-3803A210466B}" dt="2021-08-03T06:51:20.644" v="660" actId="478"/>
          <ac:spMkLst>
            <pc:docMk/>
            <pc:sldMk cId="1277979891" sldId="2205"/>
            <ac:spMk id="19" creationId="{D5B94190-586B-4762-8F62-7C91D7F01CE4}"/>
          </ac:spMkLst>
        </pc:spChg>
        <pc:spChg chg="del">
          <ac:chgData name="Aurelien Domont" userId="6da7715ce44349b3" providerId="LiveId" clId="{29D6A56D-AB0D-41B6-B017-3803A210466B}" dt="2021-08-03T06:51:20.644" v="660" actId="478"/>
          <ac:spMkLst>
            <pc:docMk/>
            <pc:sldMk cId="1277979891" sldId="2205"/>
            <ac:spMk id="20" creationId="{8FB4C652-E152-4F9D-88FB-38C464AB1EF2}"/>
          </ac:spMkLst>
        </pc:spChg>
        <pc:spChg chg="del">
          <ac:chgData name="Aurelien Domont" userId="6da7715ce44349b3" providerId="LiveId" clId="{29D6A56D-AB0D-41B6-B017-3803A210466B}" dt="2021-08-03T06:51:20.644" v="660" actId="478"/>
          <ac:spMkLst>
            <pc:docMk/>
            <pc:sldMk cId="1277979891" sldId="2205"/>
            <ac:spMk id="21" creationId="{F2437C52-010C-4EBF-BBCE-0E50591FB98A}"/>
          </ac:spMkLst>
        </pc:spChg>
        <pc:spChg chg="del">
          <ac:chgData name="Aurelien Domont" userId="6da7715ce44349b3" providerId="LiveId" clId="{29D6A56D-AB0D-41B6-B017-3803A210466B}" dt="2021-08-03T06:51:20.644" v="660" actId="478"/>
          <ac:spMkLst>
            <pc:docMk/>
            <pc:sldMk cId="1277979891" sldId="2205"/>
            <ac:spMk id="22" creationId="{56D41D08-58DE-4B01-AFB6-B3B5DA2F554F}"/>
          </ac:spMkLst>
        </pc:spChg>
        <pc:spChg chg="del">
          <ac:chgData name="Aurelien Domont" userId="6da7715ce44349b3" providerId="LiveId" clId="{29D6A56D-AB0D-41B6-B017-3803A210466B}" dt="2021-08-03T06:51:20.644" v="660" actId="478"/>
          <ac:spMkLst>
            <pc:docMk/>
            <pc:sldMk cId="1277979891" sldId="2205"/>
            <ac:spMk id="23" creationId="{EA6679B0-9960-4EF1-8A84-788EE5B4064E}"/>
          </ac:spMkLst>
        </pc:spChg>
        <pc:spChg chg="del">
          <ac:chgData name="Aurelien Domont" userId="6da7715ce44349b3" providerId="LiveId" clId="{29D6A56D-AB0D-41B6-B017-3803A210466B}" dt="2021-08-03T06:51:20.644" v="660" actId="478"/>
          <ac:spMkLst>
            <pc:docMk/>
            <pc:sldMk cId="1277979891" sldId="2205"/>
            <ac:spMk id="24" creationId="{267A9F5F-6FAE-4790-85DC-D47AE16B0E9F}"/>
          </ac:spMkLst>
        </pc:spChg>
        <pc:spChg chg="del">
          <ac:chgData name="Aurelien Domont" userId="6da7715ce44349b3" providerId="LiveId" clId="{29D6A56D-AB0D-41B6-B017-3803A210466B}" dt="2021-08-03T06:51:20.644" v="660" actId="478"/>
          <ac:spMkLst>
            <pc:docMk/>
            <pc:sldMk cId="1277979891" sldId="2205"/>
            <ac:spMk id="25" creationId="{CC7E98FA-3E5D-4DCC-9070-63922C461F93}"/>
          </ac:spMkLst>
        </pc:spChg>
        <pc:spChg chg="del">
          <ac:chgData name="Aurelien Domont" userId="6da7715ce44349b3" providerId="LiveId" clId="{29D6A56D-AB0D-41B6-B017-3803A210466B}" dt="2021-08-03T06:51:20.644" v="660" actId="478"/>
          <ac:spMkLst>
            <pc:docMk/>
            <pc:sldMk cId="1277979891" sldId="2205"/>
            <ac:spMk id="26" creationId="{C7991C61-A51D-4A0F-91E9-FC63D6829799}"/>
          </ac:spMkLst>
        </pc:spChg>
        <pc:spChg chg="del">
          <ac:chgData name="Aurelien Domont" userId="6da7715ce44349b3" providerId="LiveId" clId="{29D6A56D-AB0D-41B6-B017-3803A210466B}" dt="2021-08-03T06:51:20.644" v="660" actId="478"/>
          <ac:spMkLst>
            <pc:docMk/>
            <pc:sldMk cId="1277979891" sldId="2205"/>
            <ac:spMk id="27" creationId="{69E83687-111F-4C8F-82F8-1100A830A799}"/>
          </ac:spMkLst>
        </pc:spChg>
        <pc:spChg chg="del">
          <ac:chgData name="Aurelien Domont" userId="6da7715ce44349b3" providerId="LiveId" clId="{29D6A56D-AB0D-41B6-B017-3803A210466B}" dt="2021-08-03T06:51:20.644" v="660" actId="478"/>
          <ac:spMkLst>
            <pc:docMk/>
            <pc:sldMk cId="1277979891" sldId="2205"/>
            <ac:spMk id="28" creationId="{3BB8DC63-D8AC-44B7-AD6B-3344E0157ED9}"/>
          </ac:spMkLst>
        </pc:spChg>
        <pc:spChg chg="del">
          <ac:chgData name="Aurelien Domont" userId="6da7715ce44349b3" providerId="LiveId" clId="{29D6A56D-AB0D-41B6-B017-3803A210466B}" dt="2021-08-03T06:51:20.644" v="660" actId="478"/>
          <ac:spMkLst>
            <pc:docMk/>
            <pc:sldMk cId="1277979891" sldId="2205"/>
            <ac:spMk id="29" creationId="{3FAD4126-4F73-43D3-8CAA-EDADF7C21270}"/>
          </ac:spMkLst>
        </pc:spChg>
        <pc:spChg chg="del">
          <ac:chgData name="Aurelien Domont" userId="6da7715ce44349b3" providerId="LiveId" clId="{29D6A56D-AB0D-41B6-B017-3803A210466B}" dt="2021-08-03T06:51:20.644" v="660" actId="478"/>
          <ac:spMkLst>
            <pc:docMk/>
            <pc:sldMk cId="1277979891" sldId="2205"/>
            <ac:spMk id="30" creationId="{DF3BA851-E92A-44AA-8DFF-1F3C447EF430}"/>
          </ac:spMkLst>
        </pc:spChg>
        <pc:spChg chg="del">
          <ac:chgData name="Aurelien Domont" userId="6da7715ce44349b3" providerId="LiveId" clId="{29D6A56D-AB0D-41B6-B017-3803A210466B}" dt="2021-08-03T06:51:20.644" v="660" actId="478"/>
          <ac:spMkLst>
            <pc:docMk/>
            <pc:sldMk cId="1277979891" sldId="2205"/>
            <ac:spMk id="34" creationId="{13F1F2DD-4116-4862-8881-78AA3F95608B}"/>
          </ac:spMkLst>
        </pc:spChg>
        <pc:spChg chg="del">
          <ac:chgData name="Aurelien Domont" userId="6da7715ce44349b3" providerId="LiveId" clId="{29D6A56D-AB0D-41B6-B017-3803A210466B}" dt="2021-08-03T06:51:20.644" v="660" actId="478"/>
          <ac:spMkLst>
            <pc:docMk/>
            <pc:sldMk cId="1277979891" sldId="2205"/>
            <ac:spMk id="35" creationId="{F9F4BBF8-73BF-4F2E-AF32-69593639E058}"/>
          </ac:spMkLst>
        </pc:spChg>
        <pc:spChg chg="del">
          <ac:chgData name="Aurelien Domont" userId="6da7715ce44349b3" providerId="LiveId" clId="{29D6A56D-AB0D-41B6-B017-3803A210466B}" dt="2021-08-03T06:51:20.644" v="660" actId="478"/>
          <ac:spMkLst>
            <pc:docMk/>
            <pc:sldMk cId="1277979891" sldId="2205"/>
            <ac:spMk id="36" creationId="{BB85C512-FA88-4677-B0BC-9D00764DE8C6}"/>
          </ac:spMkLst>
        </pc:spChg>
        <pc:spChg chg="del">
          <ac:chgData name="Aurelien Domont" userId="6da7715ce44349b3" providerId="LiveId" clId="{29D6A56D-AB0D-41B6-B017-3803A210466B}" dt="2021-08-03T06:51:20.644" v="660" actId="478"/>
          <ac:spMkLst>
            <pc:docMk/>
            <pc:sldMk cId="1277979891" sldId="2205"/>
            <ac:spMk id="37" creationId="{228E0722-FA6E-48B5-9F62-549DFD0E5B38}"/>
          </ac:spMkLst>
        </pc:spChg>
        <pc:spChg chg="del">
          <ac:chgData name="Aurelien Domont" userId="6da7715ce44349b3" providerId="LiveId" clId="{29D6A56D-AB0D-41B6-B017-3803A210466B}" dt="2021-08-03T06:51:20.644" v="660" actId="478"/>
          <ac:spMkLst>
            <pc:docMk/>
            <pc:sldMk cId="1277979891" sldId="2205"/>
            <ac:spMk id="38" creationId="{0E15D843-821D-496E-9A06-D6C6FAAC07FF}"/>
          </ac:spMkLst>
        </pc:spChg>
        <pc:spChg chg="del">
          <ac:chgData name="Aurelien Domont" userId="6da7715ce44349b3" providerId="LiveId" clId="{29D6A56D-AB0D-41B6-B017-3803A210466B}" dt="2021-08-03T06:51:20.644" v="660" actId="478"/>
          <ac:spMkLst>
            <pc:docMk/>
            <pc:sldMk cId="1277979891" sldId="2205"/>
            <ac:spMk id="39" creationId="{A571E059-9603-41C6-ABD0-AD8036E2B8EB}"/>
          </ac:spMkLst>
        </pc:spChg>
        <pc:spChg chg="del">
          <ac:chgData name="Aurelien Domont" userId="6da7715ce44349b3" providerId="LiveId" clId="{29D6A56D-AB0D-41B6-B017-3803A210466B}" dt="2021-08-03T06:51:20.644" v="660" actId="478"/>
          <ac:spMkLst>
            <pc:docMk/>
            <pc:sldMk cId="1277979891" sldId="2205"/>
            <ac:spMk id="40" creationId="{8C4BB92A-74BF-4E3E-8E05-643E31EB0035}"/>
          </ac:spMkLst>
        </pc:spChg>
        <pc:spChg chg="add del mod">
          <ac:chgData name="Aurelien Domont" userId="6da7715ce44349b3" providerId="LiveId" clId="{29D6A56D-AB0D-41B6-B017-3803A210466B}" dt="2021-08-03T06:51:20.644" v="660" actId="478"/>
          <ac:spMkLst>
            <pc:docMk/>
            <pc:sldMk cId="1277979891" sldId="2205"/>
            <ac:spMk id="41" creationId="{EC568DDC-6227-4066-99AF-6261B035B5C5}"/>
          </ac:spMkLst>
        </pc:spChg>
        <pc:spChg chg="add del mod">
          <ac:chgData name="Aurelien Domont" userId="6da7715ce44349b3" providerId="LiveId" clId="{29D6A56D-AB0D-41B6-B017-3803A210466B}" dt="2021-08-03T06:51:20.644" v="660" actId="478"/>
          <ac:spMkLst>
            <pc:docMk/>
            <pc:sldMk cId="1277979891" sldId="2205"/>
            <ac:spMk id="42" creationId="{2173B746-0631-4B50-9B96-D97DB17C4F7C}"/>
          </ac:spMkLst>
        </pc:spChg>
        <pc:spChg chg="add del mod">
          <ac:chgData name="Aurelien Domont" userId="6da7715ce44349b3" providerId="LiveId" clId="{29D6A56D-AB0D-41B6-B017-3803A210466B}" dt="2021-08-03T06:51:20.644" v="660" actId="478"/>
          <ac:spMkLst>
            <pc:docMk/>
            <pc:sldMk cId="1277979891" sldId="2205"/>
            <ac:spMk id="43" creationId="{7E206E53-A596-4C0C-95D5-E5E6ECA113B9}"/>
          </ac:spMkLst>
        </pc:spChg>
        <pc:spChg chg="add mod">
          <ac:chgData name="Aurelien Domont" userId="6da7715ce44349b3" providerId="LiveId" clId="{29D6A56D-AB0D-41B6-B017-3803A210466B}" dt="2021-08-03T07:01:23.625" v="734" actId="1036"/>
          <ac:spMkLst>
            <pc:docMk/>
            <pc:sldMk cId="1277979891" sldId="2205"/>
            <ac:spMk id="44" creationId="{B37241D5-D790-45E8-BF55-A1BE78BE73CE}"/>
          </ac:spMkLst>
        </pc:spChg>
        <pc:spChg chg="add mod">
          <ac:chgData name="Aurelien Domont" userId="6da7715ce44349b3" providerId="LiveId" clId="{29D6A56D-AB0D-41B6-B017-3803A210466B}" dt="2021-08-03T07:01:23.625" v="734" actId="1036"/>
          <ac:spMkLst>
            <pc:docMk/>
            <pc:sldMk cId="1277979891" sldId="2205"/>
            <ac:spMk id="46" creationId="{ECF957D7-D8F3-458B-821C-47577E93E4F6}"/>
          </ac:spMkLst>
        </pc:spChg>
        <pc:spChg chg="add mod">
          <ac:chgData name="Aurelien Domont" userId="6da7715ce44349b3" providerId="LiveId" clId="{29D6A56D-AB0D-41B6-B017-3803A210466B}" dt="2021-08-03T07:01:47.537" v="746" actId="571"/>
          <ac:spMkLst>
            <pc:docMk/>
            <pc:sldMk cId="1277979891" sldId="2205"/>
            <ac:spMk id="47" creationId="{0C5D03C1-FC6B-401F-BAA2-43A0DB3968DB}"/>
          </ac:spMkLst>
        </pc:spChg>
        <pc:spChg chg="add mod">
          <ac:chgData name="Aurelien Domont" userId="6da7715ce44349b3" providerId="LiveId" clId="{29D6A56D-AB0D-41B6-B017-3803A210466B}" dt="2021-08-03T07:01:50.356" v="747" actId="571"/>
          <ac:spMkLst>
            <pc:docMk/>
            <pc:sldMk cId="1277979891" sldId="2205"/>
            <ac:spMk id="48" creationId="{D2C4EF6F-480E-4D1A-97EA-F8E483DF0860}"/>
          </ac:spMkLst>
        </pc:spChg>
        <pc:spChg chg="add mod">
          <ac:chgData name="Aurelien Domont" userId="6da7715ce44349b3" providerId="LiveId" clId="{29D6A56D-AB0D-41B6-B017-3803A210466B}" dt="2021-08-03T07:01:52.182" v="748" actId="571"/>
          <ac:spMkLst>
            <pc:docMk/>
            <pc:sldMk cId="1277979891" sldId="2205"/>
            <ac:spMk id="49" creationId="{F4CFCD42-2FE1-47BA-A99E-770C18791E20}"/>
          </ac:spMkLst>
        </pc:spChg>
        <pc:cxnChg chg="mod">
          <ac:chgData name="Aurelien Domont" userId="6da7715ce44349b3" providerId="LiveId" clId="{29D6A56D-AB0D-41B6-B017-3803A210466B}" dt="2021-08-03T07:01:23.625" v="734" actId="1036"/>
          <ac:cxnSpMkLst>
            <pc:docMk/>
            <pc:sldMk cId="1277979891" sldId="2205"/>
            <ac:cxnSpMk id="9" creationId="{938E2F11-EEE6-4CE3-AA18-0A0EFEAFC83C}"/>
          </ac:cxnSpMkLst>
        </pc:cxnChg>
        <pc:cxnChg chg="mod">
          <ac:chgData name="Aurelien Domont" userId="6da7715ce44349b3" providerId="LiveId" clId="{29D6A56D-AB0D-41B6-B017-3803A210466B}" dt="2021-08-03T07:01:23.625" v="734" actId="1036"/>
          <ac:cxnSpMkLst>
            <pc:docMk/>
            <pc:sldMk cId="1277979891" sldId="2205"/>
            <ac:cxnSpMk id="14" creationId="{BD538E77-947C-4FAE-B4B2-3DD1EF8F7624}"/>
          </ac:cxnSpMkLst>
        </pc:cxnChg>
        <pc:cxnChg chg="add mod">
          <ac:chgData name="Aurelien Domont" userId="6da7715ce44349b3" providerId="LiveId" clId="{29D6A56D-AB0D-41B6-B017-3803A210466B}" dt="2021-08-03T07:01:23.625" v="734" actId="1036"/>
          <ac:cxnSpMkLst>
            <pc:docMk/>
            <pc:sldMk cId="1277979891" sldId="2205"/>
            <ac:cxnSpMk id="45" creationId="{B4F81B7A-6305-4E8C-BB6C-F5EA082CC1F4}"/>
          </ac:cxnSpMkLst>
        </pc:cxnChg>
      </pc:sldChg>
      <pc:sldChg chg="del">
        <pc:chgData name="Aurelien Domont" userId="6da7715ce44349b3" providerId="LiveId" clId="{29D6A56D-AB0D-41B6-B017-3803A210466B}" dt="2021-08-05T07:22:39.482" v="1854" actId="47"/>
        <pc:sldMkLst>
          <pc:docMk/>
          <pc:sldMk cId="2094070358" sldId="2206"/>
        </pc:sldMkLst>
      </pc:sldChg>
      <pc:sldChg chg="add del ord">
        <pc:chgData name="Aurelien Domont" userId="6da7715ce44349b3" providerId="LiveId" clId="{29D6A56D-AB0D-41B6-B017-3803A210466B}" dt="2021-08-03T07:27:24.706" v="1148" actId="47"/>
        <pc:sldMkLst>
          <pc:docMk/>
          <pc:sldMk cId="3357448453" sldId="2207"/>
        </pc:sldMkLst>
      </pc:sldChg>
      <pc:sldChg chg="add del ord">
        <pc:chgData name="Aurelien Domont" userId="6da7715ce44349b3" providerId="LiveId" clId="{29D6A56D-AB0D-41B6-B017-3803A210466B}" dt="2021-08-03T07:27:24.017" v="1147" actId="47"/>
        <pc:sldMkLst>
          <pc:docMk/>
          <pc:sldMk cId="1034903067" sldId="2208"/>
        </pc:sldMkLst>
      </pc:sldChg>
      <pc:sldChg chg="add del ord">
        <pc:chgData name="Aurelien Domont" userId="6da7715ce44349b3" providerId="LiveId" clId="{29D6A56D-AB0D-41B6-B017-3803A210466B}" dt="2021-08-03T07:27:23.194" v="1146" actId="47"/>
        <pc:sldMkLst>
          <pc:docMk/>
          <pc:sldMk cId="392893519" sldId="2209"/>
        </pc:sldMkLst>
      </pc:sldChg>
      <pc:sldChg chg="add del">
        <pc:chgData name="Aurelien Domont" userId="6da7715ce44349b3" providerId="LiveId" clId="{29D6A56D-AB0D-41B6-B017-3803A210466B}" dt="2021-08-03T06:58:01.058" v="715" actId="47"/>
        <pc:sldMkLst>
          <pc:docMk/>
          <pc:sldMk cId="2406145756" sldId="2210"/>
        </pc:sldMkLst>
      </pc:sldChg>
      <pc:sldChg chg="addSp delSp modSp add del mod ord">
        <pc:chgData name="Aurelien Domont" userId="6da7715ce44349b3" providerId="LiveId" clId="{29D6A56D-AB0D-41B6-B017-3803A210466B}" dt="2023-01-12T04:52:14.350" v="7483" actId="47"/>
        <pc:sldMkLst>
          <pc:docMk/>
          <pc:sldMk cId="3387366193" sldId="2210"/>
        </pc:sldMkLst>
        <pc:spChg chg="add del mod">
          <ac:chgData name="Aurelien Domont" userId="6da7715ce44349b3" providerId="LiveId" clId="{29D6A56D-AB0D-41B6-B017-3803A210466B}" dt="2021-08-05T05:52:33.702" v="1375" actId="478"/>
          <ac:spMkLst>
            <pc:docMk/>
            <pc:sldMk cId="3387366193" sldId="2210"/>
            <ac:spMk id="2" creationId="{01776736-C923-4F76-B7E2-9861B73A382D}"/>
          </ac:spMkLst>
        </pc:spChg>
        <pc:spChg chg="mod">
          <ac:chgData name="Aurelien Domont" userId="6da7715ce44349b3" providerId="LiveId" clId="{29D6A56D-AB0D-41B6-B017-3803A210466B}" dt="2022-11-29T03:10:19.794" v="3765"/>
          <ac:spMkLst>
            <pc:docMk/>
            <pc:sldMk cId="3387366193" sldId="2210"/>
            <ac:spMk id="5" creationId="{3AA7B8AD-E6F9-4E25-A3A4-71D021032612}"/>
          </ac:spMkLst>
        </pc:spChg>
        <pc:spChg chg="mod">
          <ac:chgData name="Aurelien Domont" userId="6da7715ce44349b3" providerId="LiveId" clId="{29D6A56D-AB0D-41B6-B017-3803A210466B}" dt="2021-08-04T01:44:32.042" v="1283" actId="20577"/>
          <ac:spMkLst>
            <pc:docMk/>
            <pc:sldMk cId="3387366193" sldId="2210"/>
            <ac:spMk id="7" creationId="{AA474FA7-23F8-48D3-A4A1-46C7E7EF8CBF}"/>
          </ac:spMkLst>
        </pc:spChg>
        <pc:spChg chg="mod">
          <ac:chgData name="Aurelien Domont" userId="6da7715ce44349b3" providerId="LiveId" clId="{29D6A56D-AB0D-41B6-B017-3803A210466B}" dt="2021-08-05T00:00:12.223" v="1356"/>
          <ac:spMkLst>
            <pc:docMk/>
            <pc:sldMk cId="3387366193" sldId="2210"/>
            <ac:spMk id="11" creationId="{381FC75F-03AC-4E06-95A5-77AA464D139B}"/>
          </ac:spMkLst>
        </pc:spChg>
        <pc:spChg chg="mod">
          <ac:chgData name="Aurelien Domont" userId="6da7715ce44349b3" providerId="LiveId" clId="{29D6A56D-AB0D-41B6-B017-3803A210466B}" dt="2021-08-04T04:09:36.450" v="1338" actId="20577"/>
          <ac:spMkLst>
            <pc:docMk/>
            <pc:sldMk cId="3387366193" sldId="2210"/>
            <ac:spMk id="12" creationId="{F22BF9F2-93B5-4D57-85D0-BA4BB3074ECE}"/>
          </ac:spMkLst>
        </pc:spChg>
        <pc:spChg chg="mod">
          <ac:chgData name="Aurelien Domont" userId="6da7715ce44349b3" providerId="LiveId" clId="{29D6A56D-AB0D-41B6-B017-3803A210466B}" dt="2022-11-29T03:10:19.794" v="3765"/>
          <ac:spMkLst>
            <pc:docMk/>
            <pc:sldMk cId="3387366193" sldId="2210"/>
            <ac:spMk id="16" creationId="{6C2BB713-9637-4B9B-938F-E9768876782A}"/>
          </ac:spMkLst>
        </pc:spChg>
        <pc:spChg chg="mod">
          <ac:chgData name="Aurelien Domont" userId="6da7715ce44349b3" providerId="LiveId" clId="{29D6A56D-AB0D-41B6-B017-3803A210466B}" dt="2022-02-23T02:41:53.589" v="3422"/>
          <ac:spMkLst>
            <pc:docMk/>
            <pc:sldMk cId="3387366193" sldId="2210"/>
            <ac:spMk id="46" creationId="{ECF957D7-D8F3-458B-821C-47577E93E4F6}"/>
          </ac:spMkLst>
        </pc:spChg>
      </pc:sldChg>
      <pc:sldChg chg="addSp delSp modSp add del mod">
        <pc:chgData name="Aurelien Domont" userId="6da7715ce44349b3" providerId="LiveId" clId="{29D6A56D-AB0D-41B6-B017-3803A210466B}" dt="2023-01-12T04:52:14.350" v="7483" actId="47"/>
        <pc:sldMkLst>
          <pc:docMk/>
          <pc:sldMk cId="857016611" sldId="2211"/>
        </pc:sldMkLst>
        <pc:spChg chg="mod">
          <ac:chgData name="Aurelien Domont" userId="6da7715ce44349b3" providerId="LiveId" clId="{29D6A56D-AB0D-41B6-B017-3803A210466B}" dt="2022-11-29T03:10:19.794" v="3765"/>
          <ac:spMkLst>
            <pc:docMk/>
            <pc:sldMk cId="857016611" sldId="2211"/>
            <ac:spMk id="5" creationId="{3AA7B8AD-E6F9-4E25-A3A4-71D021032612}"/>
          </ac:spMkLst>
        </pc:spChg>
        <pc:spChg chg="mod">
          <ac:chgData name="Aurelien Domont" userId="6da7715ce44349b3" providerId="LiveId" clId="{29D6A56D-AB0D-41B6-B017-3803A210466B}" dt="2021-08-03T07:24:47.081" v="1036" actId="14100"/>
          <ac:spMkLst>
            <pc:docMk/>
            <pc:sldMk cId="857016611" sldId="2211"/>
            <ac:spMk id="6" creationId="{80C2FA24-C3FF-4F99-8694-BA262AB8070A}"/>
          </ac:spMkLst>
        </pc:spChg>
        <pc:spChg chg="mod">
          <ac:chgData name="Aurelien Domont" userId="6da7715ce44349b3" providerId="LiveId" clId="{29D6A56D-AB0D-41B6-B017-3803A210466B}" dt="2021-08-03T07:25:02.399" v="1053" actId="408"/>
          <ac:spMkLst>
            <pc:docMk/>
            <pc:sldMk cId="857016611" sldId="2211"/>
            <ac:spMk id="7" creationId="{AA474FA7-23F8-48D3-A4A1-46C7E7EF8CBF}"/>
          </ac:spMkLst>
        </pc:spChg>
        <pc:spChg chg="add del">
          <ac:chgData name="Aurelien Domont" userId="6da7715ce44349b3" providerId="LiveId" clId="{29D6A56D-AB0D-41B6-B017-3803A210466B}" dt="2021-08-03T07:24:02.434" v="938" actId="478"/>
          <ac:spMkLst>
            <pc:docMk/>
            <pc:sldMk cId="857016611" sldId="2211"/>
            <ac:spMk id="8" creationId="{44D82846-5412-4854-9CE9-6BD4A4D3F201}"/>
          </ac:spMkLst>
        </pc:spChg>
        <pc:spChg chg="mod">
          <ac:chgData name="Aurelien Domont" userId="6da7715ce44349b3" providerId="LiveId" clId="{29D6A56D-AB0D-41B6-B017-3803A210466B}" dt="2021-08-05T05:06:10.374" v="1371" actId="20577"/>
          <ac:spMkLst>
            <pc:docMk/>
            <pc:sldMk cId="857016611" sldId="2211"/>
            <ac:spMk id="10" creationId="{F6F130AE-016B-49E7-B056-02422308B35C}"/>
          </ac:spMkLst>
        </pc:spChg>
        <pc:spChg chg="add del">
          <ac:chgData name="Aurelien Domont" userId="6da7715ce44349b3" providerId="LiveId" clId="{29D6A56D-AB0D-41B6-B017-3803A210466B}" dt="2021-08-03T07:24:02.434" v="938" actId="478"/>
          <ac:spMkLst>
            <pc:docMk/>
            <pc:sldMk cId="857016611" sldId="2211"/>
            <ac:spMk id="11" creationId="{381FC75F-03AC-4E06-95A5-77AA464D139B}"/>
          </ac:spMkLst>
        </pc:spChg>
        <pc:spChg chg="mod">
          <ac:chgData name="Aurelien Domont" userId="6da7715ce44349b3" providerId="LiveId" clId="{29D6A56D-AB0D-41B6-B017-3803A210466B}" dt="2021-08-05T05:06:21.366" v="1373"/>
          <ac:spMkLst>
            <pc:docMk/>
            <pc:sldMk cId="857016611" sldId="2211"/>
            <ac:spMk id="12" creationId="{F22BF9F2-93B5-4D57-85D0-BA4BB3074ECE}"/>
          </ac:spMkLst>
        </pc:spChg>
        <pc:spChg chg="mod">
          <ac:chgData name="Aurelien Domont" userId="6da7715ce44349b3" providerId="LiveId" clId="{29D6A56D-AB0D-41B6-B017-3803A210466B}" dt="2022-11-29T03:10:19.794" v="3765"/>
          <ac:spMkLst>
            <pc:docMk/>
            <pc:sldMk cId="857016611" sldId="2211"/>
            <ac:spMk id="16" creationId="{6C2BB713-9637-4B9B-938F-E9768876782A}"/>
          </ac:spMkLst>
        </pc:spChg>
        <pc:spChg chg="mod">
          <ac:chgData name="Aurelien Domont" userId="6da7715ce44349b3" providerId="LiveId" clId="{29D6A56D-AB0D-41B6-B017-3803A210466B}" dt="2021-08-05T04:58:18.509" v="1364" actId="20577"/>
          <ac:spMkLst>
            <pc:docMk/>
            <pc:sldMk cId="857016611" sldId="2211"/>
            <ac:spMk id="44" creationId="{B37241D5-D790-45E8-BF55-A1BE78BE73CE}"/>
          </ac:spMkLst>
        </pc:spChg>
        <pc:spChg chg="mod">
          <ac:chgData name="Aurelien Domont" userId="6da7715ce44349b3" providerId="LiveId" clId="{29D6A56D-AB0D-41B6-B017-3803A210466B}" dt="2021-08-05T06:16:48.482" v="1420" actId="20577"/>
          <ac:spMkLst>
            <pc:docMk/>
            <pc:sldMk cId="857016611" sldId="2211"/>
            <ac:spMk id="46" creationId="{ECF957D7-D8F3-458B-821C-47577E93E4F6}"/>
          </ac:spMkLst>
        </pc:spChg>
        <pc:cxnChg chg="mod">
          <ac:chgData name="Aurelien Domont" userId="6da7715ce44349b3" providerId="LiveId" clId="{29D6A56D-AB0D-41B6-B017-3803A210466B}" dt="2021-08-03T07:26:11.051" v="1144" actId="14100"/>
          <ac:cxnSpMkLst>
            <pc:docMk/>
            <pc:sldMk cId="857016611" sldId="2211"/>
            <ac:cxnSpMk id="9" creationId="{938E2F11-EEE6-4CE3-AA18-0A0EFEAFC83C}"/>
          </ac:cxnSpMkLst>
        </pc:cxnChg>
        <pc:cxnChg chg="add del">
          <ac:chgData name="Aurelien Domont" userId="6da7715ce44349b3" providerId="LiveId" clId="{29D6A56D-AB0D-41B6-B017-3803A210466B}" dt="2021-08-03T07:24:02.434" v="938" actId="478"/>
          <ac:cxnSpMkLst>
            <pc:docMk/>
            <pc:sldMk cId="857016611" sldId="2211"/>
            <ac:cxnSpMk id="14" creationId="{BD538E77-947C-4FAE-B4B2-3DD1EF8F7624}"/>
          </ac:cxnSpMkLst>
        </pc:cxnChg>
        <pc:cxnChg chg="mod">
          <ac:chgData name="Aurelien Domont" userId="6da7715ce44349b3" providerId="LiveId" clId="{29D6A56D-AB0D-41B6-B017-3803A210466B}" dt="2021-08-03T07:26:11.051" v="1144" actId="14100"/>
          <ac:cxnSpMkLst>
            <pc:docMk/>
            <pc:sldMk cId="857016611" sldId="2211"/>
            <ac:cxnSpMk id="45" creationId="{B4F81B7A-6305-4E8C-BB6C-F5EA082CC1F4}"/>
          </ac:cxnSpMkLst>
        </pc:cxnChg>
      </pc:sldChg>
      <pc:sldChg chg="modSp add del mod">
        <pc:chgData name="Aurelien Domont" userId="6da7715ce44349b3" providerId="LiveId" clId="{29D6A56D-AB0D-41B6-B017-3803A210466B}" dt="2023-01-12T04:55:25.953" v="7496" actId="47"/>
        <pc:sldMkLst>
          <pc:docMk/>
          <pc:sldMk cId="1901803839" sldId="2212"/>
        </pc:sldMkLst>
        <pc:spChg chg="mod">
          <ac:chgData name="Aurelien Domont" userId="6da7715ce44349b3" providerId="LiveId" clId="{29D6A56D-AB0D-41B6-B017-3803A210466B}" dt="2022-11-29T03:10:19.794" v="3765"/>
          <ac:spMkLst>
            <pc:docMk/>
            <pc:sldMk cId="1901803839" sldId="2212"/>
            <ac:spMk id="5" creationId="{3AA7B8AD-E6F9-4E25-A3A4-71D021032612}"/>
          </ac:spMkLst>
        </pc:spChg>
        <pc:spChg chg="mod">
          <ac:chgData name="Aurelien Domont" userId="6da7715ce44349b3" providerId="LiveId" clId="{29D6A56D-AB0D-41B6-B017-3803A210466B}" dt="2022-11-29T03:10:19.794" v="3765"/>
          <ac:spMkLst>
            <pc:docMk/>
            <pc:sldMk cId="1901803839" sldId="2212"/>
            <ac:spMk id="16" creationId="{6C2BB713-9637-4B9B-938F-E9768876782A}"/>
          </ac:spMkLst>
        </pc:spChg>
        <pc:spChg chg="mod">
          <ac:chgData name="Aurelien Domont" userId="6da7715ce44349b3" providerId="LiveId" clId="{29D6A56D-AB0D-41B6-B017-3803A210466B}" dt="2021-08-05T06:40:51.522" v="1455" actId="108"/>
          <ac:spMkLst>
            <pc:docMk/>
            <pc:sldMk cId="1901803839" sldId="2212"/>
            <ac:spMk id="38" creationId="{4E62B729-6759-49CE-98AC-19D319E67273}"/>
          </ac:spMkLst>
        </pc:spChg>
        <pc:spChg chg="mod">
          <ac:chgData name="Aurelien Domont" userId="6da7715ce44349b3" providerId="LiveId" clId="{29D6A56D-AB0D-41B6-B017-3803A210466B}" dt="2021-08-05T06:40:48.243" v="1454" actId="108"/>
          <ac:spMkLst>
            <pc:docMk/>
            <pc:sldMk cId="1901803839" sldId="2212"/>
            <ac:spMk id="39" creationId="{2E3AF6D6-0EAA-46F7-B834-6D34869BC9A0}"/>
          </ac:spMkLst>
        </pc:spChg>
        <pc:spChg chg="mod">
          <ac:chgData name="Aurelien Domont" userId="6da7715ce44349b3" providerId="LiveId" clId="{29D6A56D-AB0D-41B6-B017-3803A210466B}" dt="2022-02-23T02:46:53.015" v="3426"/>
          <ac:spMkLst>
            <pc:docMk/>
            <pc:sldMk cId="1901803839" sldId="2212"/>
            <ac:spMk id="57" creationId="{05BB488B-69C8-4124-A76A-4E48AD741568}"/>
          </ac:spMkLst>
        </pc:spChg>
      </pc:sldChg>
      <pc:sldChg chg="addSp delSp modSp new add del mod">
        <pc:chgData name="Aurelien Domont" userId="6da7715ce44349b3" providerId="LiveId" clId="{29D6A56D-AB0D-41B6-B017-3803A210466B}" dt="2021-08-05T00:00:04.861" v="1355" actId="47"/>
        <pc:sldMkLst>
          <pc:docMk/>
          <pc:sldMk cId="2341350903" sldId="2212"/>
        </pc:sldMkLst>
        <pc:spChg chg="add del mod">
          <ac:chgData name="Aurelien Domont" userId="6da7715ce44349b3" providerId="LiveId" clId="{29D6A56D-AB0D-41B6-B017-3803A210466B}" dt="2021-08-04T23:46:32.592" v="1344" actId="478"/>
          <ac:spMkLst>
            <pc:docMk/>
            <pc:sldMk cId="2341350903" sldId="2212"/>
            <ac:spMk id="4" creationId="{20B4199A-CA6C-4057-B492-F1436742CDF0}"/>
          </ac:spMkLst>
        </pc:spChg>
        <pc:spChg chg="add del mod">
          <ac:chgData name="Aurelien Domont" userId="6da7715ce44349b3" providerId="LiveId" clId="{29D6A56D-AB0D-41B6-B017-3803A210466B}" dt="2021-08-04T23:46:46.835" v="1347" actId="478"/>
          <ac:spMkLst>
            <pc:docMk/>
            <pc:sldMk cId="2341350903" sldId="2212"/>
            <ac:spMk id="5" creationId="{DA98EAE0-FD71-4A64-9D35-61065B534F61}"/>
          </ac:spMkLst>
        </pc:spChg>
        <pc:spChg chg="add del mod">
          <ac:chgData name="Aurelien Domont" userId="6da7715ce44349b3" providerId="LiveId" clId="{29D6A56D-AB0D-41B6-B017-3803A210466B}" dt="2021-08-04T23:47:19.393" v="1350" actId="478"/>
          <ac:spMkLst>
            <pc:docMk/>
            <pc:sldMk cId="2341350903" sldId="2212"/>
            <ac:spMk id="6" creationId="{47845CD9-1025-4CA6-BFB0-A538829A44A7}"/>
          </ac:spMkLst>
        </pc:spChg>
        <pc:spChg chg="add mod">
          <ac:chgData name="Aurelien Domont" userId="6da7715ce44349b3" providerId="LiveId" clId="{29D6A56D-AB0D-41B6-B017-3803A210466B}" dt="2021-08-04T23:47:23.109" v="1352" actId="12"/>
          <ac:spMkLst>
            <pc:docMk/>
            <pc:sldMk cId="2341350903" sldId="2212"/>
            <ac:spMk id="7" creationId="{A1B33206-2F01-4ED5-8756-A62849942AF3}"/>
          </ac:spMkLst>
        </pc:spChg>
      </pc:sldChg>
      <pc:sldChg chg="modSp add del mod">
        <pc:chgData name="Aurelien Domont" userId="6da7715ce44349b3" providerId="LiveId" clId="{29D6A56D-AB0D-41B6-B017-3803A210466B}" dt="2023-01-12T04:55:25.953" v="7496" actId="47"/>
        <pc:sldMkLst>
          <pc:docMk/>
          <pc:sldMk cId="3826338564" sldId="2213"/>
        </pc:sldMkLst>
        <pc:spChg chg="mod">
          <ac:chgData name="Aurelien Domont" userId="6da7715ce44349b3" providerId="LiveId" clId="{29D6A56D-AB0D-41B6-B017-3803A210466B}" dt="2022-11-29T03:10:19.794" v="3765"/>
          <ac:spMkLst>
            <pc:docMk/>
            <pc:sldMk cId="3826338564" sldId="2213"/>
            <ac:spMk id="5" creationId="{3AA7B8AD-E6F9-4E25-A3A4-71D021032612}"/>
          </ac:spMkLst>
        </pc:spChg>
        <pc:spChg chg="mod">
          <ac:chgData name="Aurelien Domont" userId="6da7715ce44349b3" providerId="LiveId" clId="{29D6A56D-AB0D-41B6-B017-3803A210466B}" dt="2022-11-29T03:10:19.794" v="3765"/>
          <ac:spMkLst>
            <pc:docMk/>
            <pc:sldMk cId="3826338564" sldId="2213"/>
            <ac:spMk id="16" creationId="{6C2BB713-9637-4B9B-938F-E9768876782A}"/>
          </ac:spMkLst>
        </pc:spChg>
        <pc:spChg chg="mod">
          <ac:chgData name="Aurelien Domont" userId="6da7715ce44349b3" providerId="LiveId" clId="{29D6A56D-AB0D-41B6-B017-3803A210466B}" dt="2021-08-05T06:41:03.180" v="1460" actId="108"/>
          <ac:spMkLst>
            <pc:docMk/>
            <pc:sldMk cId="3826338564" sldId="2213"/>
            <ac:spMk id="39" creationId="{2E3AF6D6-0EAA-46F7-B834-6D34869BC9A0}"/>
          </ac:spMkLst>
        </pc:spChg>
        <pc:spChg chg="mod">
          <ac:chgData name="Aurelien Domont" userId="6da7715ce44349b3" providerId="LiveId" clId="{29D6A56D-AB0D-41B6-B017-3803A210466B}" dt="2021-08-05T06:41:00.734" v="1459" actId="108"/>
          <ac:spMkLst>
            <pc:docMk/>
            <pc:sldMk cId="3826338564" sldId="2213"/>
            <ac:spMk id="55" creationId="{D27BF30D-5581-4BEE-974A-61A3BD4C0EB4}"/>
          </ac:spMkLst>
        </pc:spChg>
        <pc:spChg chg="mod">
          <ac:chgData name="Aurelien Domont" userId="6da7715ce44349b3" providerId="LiveId" clId="{29D6A56D-AB0D-41B6-B017-3803A210466B}" dt="2022-02-23T02:47:44.357" v="3438"/>
          <ac:spMkLst>
            <pc:docMk/>
            <pc:sldMk cId="3826338564" sldId="2213"/>
            <ac:spMk id="57" creationId="{05BB488B-69C8-4124-A76A-4E48AD741568}"/>
          </ac:spMkLst>
        </pc:spChg>
      </pc:sldChg>
      <pc:sldChg chg="addSp delSp modSp add del mod">
        <pc:chgData name="Aurelien Domont" userId="6da7715ce44349b3" providerId="LiveId" clId="{29D6A56D-AB0D-41B6-B017-3803A210466B}" dt="2023-01-12T04:55:25.953" v="7496" actId="47"/>
        <pc:sldMkLst>
          <pc:docMk/>
          <pc:sldMk cId="29637048" sldId="2214"/>
        </pc:sldMkLst>
        <pc:spChg chg="mod">
          <ac:chgData name="Aurelien Domont" userId="6da7715ce44349b3" providerId="LiveId" clId="{29D6A56D-AB0D-41B6-B017-3803A210466B}" dt="2022-11-29T03:10:19.794" v="3765"/>
          <ac:spMkLst>
            <pc:docMk/>
            <pc:sldMk cId="29637048" sldId="2214"/>
            <ac:spMk id="5" creationId="{3AA7B8AD-E6F9-4E25-A3A4-71D021032612}"/>
          </ac:spMkLst>
        </pc:spChg>
        <pc:spChg chg="mod">
          <ac:chgData name="Aurelien Domont" userId="6da7715ce44349b3" providerId="LiveId" clId="{29D6A56D-AB0D-41B6-B017-3803A210466B}" dt="2022-11-29T03:10:19.794" v="3765"/>
          <ac:spMkLst>
            <pc:docMk/>
            <pc:sldMk cId="29637048" sldId="2214"/>
            <ac:spMk id="16" creationId="{6C2BB713-9637-4B9B-938F-E9768876782A}"/>
          </ac:spMkLst>
        </pc:spChg>
        <pc:spChg chg="add mod">
          <ac:chgData name="Aurelien Domont" userId="6da7715ce44349b3" providerId="LiveId" clId="{29D6A56D-AB0D-41B6-B017-3803A210466B}" dt="2021-08-05T07:00:39.976" v="1624" actId="108"/>
          <ac:spMkLst>
            <pc:docMk/>
            <pc:sldMk cId="29637048" sldId="2214"/>
            <ac:spMk id="17" creationId="{19A575D7-E580-40DE-A99C-7046F2D13EDA}"/>
          </ac:spMkLst>
        </pc:spChg>
        <pc:spChg chg="add mod">
          <ac:chgData name="Aurelien Domont" userId="6da7715ce44349b3" providerId="LiveId" clId="{29D6A56D-AB0D-41B6-B017-3803A210466B}" dt="2021-08-05T07:00:34.553" v="1623"/>
          <ac:spMkLst>
            <pc:docMk/>
            <pc:sldMk cId="29637048" sldId="2214"/>
            <ac:spMk id="18" creationId="{AC5C9C3D-E8E8-409B-A684-919884B25A86}"/>
          </ac:spMkLst>
        </pc:spChg>
        <pc:spChg chg="add mod">
          <ac:chgData name="Aurelien Domont" userId="6da7715ce44349b3" providerId="LiveId" clId="{29D6A56D-AB0D-41B6-B017-3803A210466B}" dt="2021-08-05T07:00:34.553" v="1623"/>
          <ac:spMkLst>
            <pc:docMk/>
            <pc:sldMk cId="29637048" sldId="2214"/>
            <ac:spMk id="20" creationId="{6242B3C3-AFC8-4710-929A-80F26EA59B6B}"/>
          </ac:spMkLst>
        </pc:spChg>
        <pc:spChg chg="add mod">
          <ac:chgData name="Aurelien Domont" userId="6da7715ce44349b3" providerId="LiveId" clId="{29D6A56D-AB0D-41B6-B017-3803A210466B}" dt="2021-08-05T07:00:34.553" v="1623"/>
          <ac:spMkLst>
            <pc:docMk/>
            <pc:sldMk cId="29637048" sldId="2214"/>
            <ac:spMk id="21" creationId="{1B4F51AA-CA24-40C4-AB4C-F2F80E7AC9AD}"/>
          </ac:spMkLst>
        </pc:spChg>
        <pc:spChg chg="add mod">
          <ac:chgData name="Aurelien Domont" userId="6da7715ce44349b3" providerId="LiveId" clId="{29D6A56D-AB0D-41B6-B017-3803A210466B}" dt="2021-08-05T07:00:34.553" v="1623"/>
          <ac:spMkLst>
            <pc:docMk/>
            <pc:sldMk cId="29637048" sldId="2214"/>
            <ac:spMk id="22" creationId="{6F23069A-C4DB-4EFB-9A1F-87668D46DF96}"/>
          </ac:spMkLst>
        </pc:spChg>
        <pc:spChg chg="add mod">
          <ac:chgData name="Aurelien Domont" userId="6da7715ce44349b3" providerId="LiveId" clId="{29D6A56D-AB0D-41B6-B017-3803A210466B}" dt="2021-08-05T07:00:34.553" v="1623"/>
          <ac:spMkLst>
            <pc:docMk/>
            <pc:sldMk cId="29637048" sldId="2214"/>
            <ac:spMk id="24" creationId="{E30111A8-624D-43BE-8548-04EAEE48B74C}"/>
          </ac:spMkLst>
        </pc:spChg>
        <pc:spChg chg="del">
          <ac:chgData name="Aurelien Domont" userId="6da7715ce44349b3" providerId="LiveId" clId="{29D6A56D-AB0D-41B6-B017-3803A210466B}" dt="2021-08-05T07:00:24.411" v="1622" actId="478"/>
          <ac:spMkLst>
            <pc:docMk/>
            <pc:sldMk cId="29637048" sldId="2214"/>
            <ac:spMk id="38" creationId="{4E62B729-6759-49CE-98AC-19D319E67273}"/>
          </ac:spMkLst>
        </pc:spChg>
        <pc:spChg chg="del">
          <ac:chgData name="Aurelien Domont" userId="6da7715ce44349b3" providerId="LiveId" clId="{29D6A56D-AB0D-41B6-B017-3803A210466B}" dt="2021-08-05T07:00:24.411" v="1622" actId="478"/>
          <ac:spMkLst>
            <pc:docMk/>
            <pc:sldMk cId="29637048" sldId="2214"/>
            <ac:spMk id="39" creationId="{2E3AF6D6-0EAA-46F7-B834-6D34869BC9A0}"/>
          </ac:spMkLst>
        </pc:spChg>
        <pc:spChg chg="del mod">
          <ac:chgData name="Aurelien Domont" userId="6da7715ce44349b3" providerId="LiveId" clId="{29D6A56D-AB0D-41B6-B017-3803A210466B}" dt="2021-08-05T07:00:24.411" v="1622" actId="478"/>
          <ac:spMkLst>
            <pc:docMk/>
            <pc:sldMk cId="29637048" sldId="2214"/>
            <ac:spMk id="40" creationId="{7937A946-13CF-48ED-BC27-678716B5C734}"/>
          </ac:spMkLst>
        </pc:spChg>
        <pc:spChg chg="del">
          <ac:chgData name="Aurelien Domont" userId="6da7715ce44349b3" providerId="LiveId" clId="{29D6A56D-AB0D-41B6-B017-3803A210466B}" dt="2021-08-05T07:00:24.411" v="1622" actId="478"/>
          <ac:spMkLst>
            <pc:docMk/>
            <pc:sldMk cId="29637048" sldId="2214"/>
            <ac:spMk id="51" creationId="{31AD27A7-A6BB-48A8-BD67-3D7758A9BAFD}"/>
          </ac:spMkLst>
        </pc:spChg>
        <pc:spChg chg="del">
          <ac:chgData name="Aurelien Domont" userId="6da7715ce44349b3" providerId="LiveId" clId="{29D6A56D-AB0D-41B6-B017-3803A210466B}" dt="2021-08-05T07:00:24.411" v="1622" actId="478"/>
          <ac:spMkLst>
            <pc:docMk/>
            <pc:sldMk cId="29637048" sldId="2214"/>
            <ac:spMk id="52" creationId="{2427035A-8881-4D27-8E30-66E94ED50FF0}"/>
          </ac:spMkLst>
        </pc:spChg>
        <pc:spChg chg="del">
          <ac:chgData name="Aurelien Domont" userId="6da7715ce44349b3" providerId="LiveId" clId="{29D6A56D-AB0D-41B6-B017-3803A210466B}" dt="2021-08-05T07:00:24.411" v="1622" actId="478"/>
          <ac:spMkLst>
            <pc:docMk/>
            <pc:sldMk cId="29637048" sldId="2214"/>
            <ac:spMk id="53" creationId="{94F1DE6B-D2C4-47E7-8157-6291AA08263E}"/>
          </ac:spMkLst>
        </pc:spChg>
        <pc:spChg chg="del mod">
          <ac:chgData name="Aurelien Domont" userId="6da7715ce44349b3" providerId="LiveId" clId="{29D6A56D-AB0D-41B6-B017-3803A210466B}" dt="2021-08-05T07:00:24.411" v="1622" actId="478"/>
          <ac:spMkLst>
            <pc:docMk/>
            <pc:sldMk cId="29637048" sldId="2214"/>
            <ac:spMk id="55" creationId="{D27BF30D-5581-4BEE-974A-61A3BD4C0EB4}"/>
          </ac:spMkLst>
        </pc:spChg>
        <pc:spChg chg="del">
          <ac:chgData name="Aurelien Domont" userId="6da7715ce44349b3" providerId="LiveId" clId="{29D6A56D-AB0D-41B6-B017-3803A210466B}" dt="2021-08-05T07:00:24.411" v="1622" actId="478"/>
          <ac:spMkLst>
            <pc:docMk/>
            <pc:sldMk cId="29637048" sldId="2214"/>
            <ac:spMk id="57" creationId="{05BB488B-69C8-4124-A76A-4E48AD741568}"/>
          </ac:spMkLst>
        </pc:spChg>
        <pc:cxnChg chg="add mod">
          <ac:chgData name="Aurelien Domont" userId="6da7715ce44349b3" providerId="LiveId" clId="{29D6A56D-AB0D-41B6-B017-3803A210466B}" dt="2021-08-05T07:00:34.553" v="1623"/>
          <ac:cxnSpMkLst>
            <pc:docMk/>
            <pc:sldMk cId="29637048" sldId="2214"/>
            <ac:cxnSpMk id="19" creationId="{10E13443-6C31-43A1-A141-63439705540C}"/>
          </ac:cxnSpMkLst>
        </pc:cxnChg>
        <pc:cxnChg chg="add mod">
          <ac:chgData name="Aurelien Domont" userId="6da7715ce44349b3" providerId="LiveId" clId="{29D6A56D-AB0D-41B6-B017-3803A210466B}" dt="2021-08-05T07:00:34.553" v="1623"/>
          <ac:cxnSpMkLst>
            <pc:docMk/>
            <pc:sldMk cId="29637048" sldId="2214"/>
            <ac:cxnSpMk id="23" creationId="{4D065D36-7DC9-4C4F-B21A-775F709330AF}"/>
          </ac:cxnSpMkLst>
        </pc:cxnChg>
        <pc:cxnChg chg="del">
          <ac:chgData name="Aurelien Domont" userId="6da7715ce44349b3" providerId="LiveId" clId="{29D6A56D-AB0D-41B6-B017-3803A210466B}" dt="2021-08-05T07:00:24.411" v="1622" actId="478"/>
          <ac:cxnSpMkLst>
            <pc:docMk/>
            <pc:sldMk cId="29637048" sldId="2214"/>
            <ac:cxnSpMk id="50" creationId="{91A1714B-EC96-46FA-BC40-DBC8339E93EF}"/>
          </ac:cxnSpMkLst>
        </pc:cxnChg>
        <pc:cxnChg chg="del">
          <ac:chgData name="Aurelien Domont" userId="6da7715ce44349b3" providerId="LiveId" clId="{29D6A56D-AB0D-41B6-B017-3803A210466B}" dt="2021-08-05T07:00:24.411" v="1622" actId="478"/>
          <ac:cxnSpMkLst>
            <pc:docMk/>
            <pc:sldMk cId="29637048" sldId="2214"/>
            <ac:cxnSpMk id="54" creationId="{F51C1F44-C286-460A-AF68-53BE53CCFBCE}"/>
          </ac:cxnSpMkLst>
        </pc:cxnChg>
        <pc:cxnChg chg="del">
          <ac:chgData name="Aurelien Domont" userId="6da7715ce44349b3" providerId="LiveId" clId="{29D6A56D-AB0D-41B6-B017-3803A210466B}" dt="2021-08-05T07:00:24.411" v="1622" actId="478"/>
          <ac:cxnSpMkLst>
            <pc:docMk/>
            <pc:sldMk cId="29637048" sldId="2214"/>
            <ac:cxnSpMk id="56" creationId="{D918EE2E-6F5F-46AB-82BB-FC9983EAD88B}"/>
          </ac:cxnSpMkLst>
        </pc:cxnChg>
      </pc:sldChg>
      <pc:sldChg chg="modSp add del">
        <pc:chgData name="Aurelien Domont" userId="6da7715ce44349b3" providerId="LiveId" clId="{29D6A56D-AB0D-41B6-B017-3803A210466B}" dt="2023-01-12T23:01:37.835" v="7581"/>
        <pc:sldMkLst>
          <pc:docMk/>
          <pc:sldMk cId="41853081" sldId="2223"/>
        </pc:sldMkLst>
        <pc:spChg chg="mod">
          <ac:chgData name="Aurelien Domont" userId="6da7715ce44349b3" providerId="LiveId" clId="{29D6A56D-AB0D-41B6-B017-3803A210466B}" dt="2022-11-29T03:10:19.794" v="3765"/>
          <ac:spMkLst>
            <pc:docMk/>
            <pc:sldMk cId="41853081" sldId="2223"/>
            <ac:spMk id="3" creationId="{CE2529A3-BA97-486F-9E02-8DFAAA7D8D38}"/>
          </ac:spMkLst>
        </pc:spChg>
        <pc:spChg chg="mod">
          <ac:chgData name="Aurelien Domont" userId="6da7715ce44349b3" providerId="LiveId" clId="{29D6A56D-AB0D-41B6-B017-3803A210466B}" dt="2022-11-29T03:10:19.794" v="3765"/>
          <ac:spMkLst>
            <pc:docMk/>
            <pc:sldMk cId="41853081" sldId="2223"/>
            <ac:spMk id="16" creationId="{6C2BB713-9637-4B9B-938F-E9768876782A}"/>
          </ac:spMkLst>
        </pc:spChg>
      </pc:sldChg>
      <pc:sldChg chg="addSp delSp modSp add del mod">
        <pc:chgData name="Aurelien Domont" userId="6da7715ce44349b3" providerId="LiveId" clId="{29D6A56D-AB0D-41B6-B017-3803A210466B}" dt="2023-01-12T04:54:10.174" v="7493" actId="47"/>
        <pc:sldMkLst>
          <pc:docMk/>
          <pc:sldMk cId="4138234155" sldId="2224"/>
        </pc:sldMkLst>
        <pc:spChg chg="mod">
          <ac:chgData name="Aurelien Domont" userId="6da7715ce44349b3" providerId="LiveId" clId="{29D6A56D-AB0D-41B6-B017-3803A210466B}" dt="2022-11-29T03:10:19.794" v="3765"/>
          <ac:spMkLst>
            <pc:docMk/>
            <pc:sldMk cId="4138234155" sldId="2224"/>
            <ac:spMk id="5" creationId="{3AA7B8AD-E6F9-4E25-A3A4-71D021032612}"/>
          </ac:spMkLst>
        </pc:spChg>
        <pc:spChg chg="mod">
          <ac:chgData name="Aurelien Domont" userId="6da7715ce44349b3" providerId="LiveId" clId="{29D6A56D-AB0D-41B6-B017-3803A210466B}" dt="2021-08-05T06:49:05.438" v="1536" actId="20577"/>
          <ac:spMkLst>
            <pc:docMk/>
            <pc:sldMk cId="4138234155" sldId="2224"/>
            <ac:spMk id="12" creationId="{E7675798-47BC-4250-BA24-0E2AC4A10A86}"/>
          </ac:spMkLst>
        </pc:spChg>
        <pc:spChg chg="mod">
          <ac:chgData name="Aurelien Domont" userId="6da7715ce44349b3" providerId="LiveId" clId="{29D6A56D-AB0D-41B6-B017-3803A210466B}" dt="2021-08-05T06:48:57.228" v="1516"/>
          <ac:spMkLst>
            <pc:docMk/>
            <pc:sldMk cId="4138234155" sldId="2224"/>
            <ac:spMk id="15" creationId="{9D051C05-62A5-4FB5-846C-31987D33AA9E}"/>
          </ac:spMkLst>
        </pc:spChg>
        <pc:spChg chg="mod">
          <ac:chgData name="Aurelien Domont" userId="6da7715ce44349b3" providerId="LiveId" clId="{29D6A56D-AB0D-41B6-B017-3803A210466B}" dt="2022-11-29T03:10:19.794" v="3765"/>
          <ac:spMkLst>
            <pc:docMk/>
            <pc:sldMk cId="4138234155" sldId="2224"/>
            <ac:spMk id="16" creationId="{6C2BB713-9637-4B9B-938F-E9768876782A}"/>
          </ac:spMkLst>
        </pc:spChg>
        <pc:spChg chg="mod">
          <ac:chgData name="Aurelien Domont" userId="6da7715ce44349b3" providerId="LiveId" clId="{29D6A56D-AB0D-41B6-B017-3803A210466B}" dt="2021-08-05T06:46:44.466" v="1499" actId="20577"/>
          <ac:spMkLst>
            <pc:docMk/>
            <pc:sldMk cId="4138234155" sldId="2224"/>
            <ac:spMk id="17" creationId="{142BE8BF-9256-475D-900B-55FCC0CE6DB5}"/>
          </ac:spMkLst>
        </pc:spChg>
        <pc:spChg chg="mod">
          <ac:chgData name="Aurelien Domont" userId="6da7715ce44349b3" providerId="LiveId" clId="{29D6A56D-AB0D-41B6-B017-3803A210466B}" dt="2021-08-05T06:48:54.038" v="1515"/>
          <ac:spMkLst>
            <pc:docMk/>
            <pc:sldMk cId="4138234155" sldId="2224"/>
            <ac:spMk id="19" creationId="{B9017FA6-F0E0-4269-9C6B-53FA5BEF3E64}"/>
          </ac:spMkLst>
        </pc:spChg>
        <pc:picChg chg="del">
          <ac:chgData name="Aurelien Domont" userId="6da7715ce44349b3" providerId="LiveId" clId="{29D6A56D-AB0D-41B6-B017-3803A210466B}" dt="2021-08-05T06:48:47.079" v="1514" actId="478"/>
          <ac:picMkLst>
            <pc:docMk/>
            <pc:sldMk cId="4138234155" sldId="2224"/>
            <ac:picMk id="2" creationId="{84E5CC93-D5AA-458E-BB87-714F1E53178E}"/>
          </ac:picMkLst>
        </pc:picChg>
        <pc:picChg chg="del">
          <ac:chgData name="Aurelien Domont" userId="6da7715ce44349b3" providerId="LiveId" clId="{29D6A56D-AB0D-41B6-B017-3803A210466B}" dt="2021-08-05T06:48:47.079" v="1514" actId="478"/>
          <ac:picMkLst>
            <pc:docMk/>
            <pc:sldMk cId="4138234155" sldId="2224"/>
            <ac:picMk id="3" creationId="{097ECFA8-B152-4816-9DCE-7FB11FD32803}"/>
          </ac:picMkLst>
        </pc:picChg>
        <pc:picChg chg="del">
          <ac:chgData name="Aurelien Domont" userId="6da7715ce44349b3" providerId="LiveId" clId="{29D6A56D-AB0D-41B6-B017-3803A210466B}" dt="2021-08-05T06:48:47.079" v="1514" actId="478"/>
          <ac:picMkLst>
            <pc:docMk/>
            <pc:sldMk cId="4138234155" sldId="2224"/>
            <ac:picMk id="4" creationId="{71090539-4853-42C0-8BB5-619FDF372F84}"/>
          </ac:picMkLst>
        </pc:picChg>
        <pc:picChg chg="del">
          <ac:chgData name="Aurelien Domont" userId="6da7715ce44349b3" providerId="LiveId" clId="{29D6A56D-AB0D-41B6-B017-3803A210466B}" dt="2021-08-05T06:48:47.079" v="1514" actId="478"/>
          <ac:picMkLst>
            <pc:docMk/>
            <pc:sldMk cId="4138234155" sldId="2224"/>
            <ac:picMk id="11" creationId="{F7A9918B-B7CD-4643-8B6A-74AEBFA4B2C2}"/>
          </ac:picMkLst>
        </pc:picChg>
        <pc:picChg chg="add mod ord">
          <ac:chgData name="Aurelien Domont" userId="6da7715ce44349b3" providerId="LiveId" clId="{29D6A56D-AB0D-41B6-B017-3803A210466B}" dt="2021-08-05T07:04:34.660" v="1651" actId="167"/>
          <ac:picMkLst>
            <pc:docMk/>
            <pc:sldMk cId="4138234155" sldId="2224"/>
            <ac:picMk id="14" creationId="{7DF5C388-7BE2-4A73-9A98-866866F183E1}"/>
          </ac:picMkLst>
        </pc:picChg>
        <pc:picChg chg="add mod ord">
          <ac:chgData name="Aurelien Domont" userId="6da7715ce44349b3" providerId="LiveId" clId="{29D6A56D-AB0D-41B6-B017-3803A210466B}" dt="2021-08-05T07:04:39.238" v="1652" actId="167"/>
          <ac:picMkLst>
            <pc:docMk/>
            <pc:sldMk cId="4138234155" sldId="2224"/>
            <ac:picMk id="18" creationId="{0A5569E7-97BE-45F4-9B18-FCAA4577C494}"/>
          </ac:picMkLst>
        </pc:picChg>
        <pc:picChg chg="add mod ord">
          <ac:chgData name="Aurelien Domont" userId="6da7715ce44349b3" providerId="LiveId" clId="{29D6A56D-AB0D-41B6-B017-3803A210466B}" dt="2021-08-05T07:04:34.660" v="1651" actId="167"/>
          <ac:picMkLst>
            <pc:docMk/>
            <pc:sldMk cId="4138234155" sldId="2224"/>
            <ac:picMk id="20" creationId="{6DE12FBD-EBAC-4E88-AF90-898B0484985B}"/>
          </ac:picMkLst>
        </pc:picChg>
        <pc:picChg chg="add mod ord">
          <ac:chgData name="Aurelien Domont" userId="6da7715ce44349b3" providerId="LiveId" clId="{29D6A56D-AB0D-41B6-B017-3803A210466B}" dt="2021-08-05T07:04:34.660" v="1651" actId="167"/>
          <ac:picMkLst>
            <pc:docMk/>
            <pc:sldMk cId="4138234155" sldId="2224"/>
            <ac:picMk id="21" creationId="{FA7B3320-22DA-41AB-AA24-7F88FEF121EA}"/>
          </ac:picMkLst>
        </pc:picChg>
      </pc:sldChg>
      <pc:sldChg chg="addSp delSp modSp add del mod">
        <pc:chgData name="Aurelien Domont" userId="6da7715ce44349b3" providerId="LiveId" clId="{29D6A56D-AB0D-41B6-B017-3803A210466B}" dt="2023-01-12T04:55:25.953" v="7496" actId="47"/>
        <pc:sldMkLst>
          <pc:docMk/>
          <pc:sldMk cId="3327534153" sldId="2225"/>
        </pc:sldMkLst>
        <pc:spChg chg="mod">
          <ac:chgData name="Aurelien Domont" userId="6da7715ce44349b3" providerId="LiveId" clId="{29D6A56D-AB0D-41B6-B017-3803A210466B}" dt="2022-11-29T03:10:19.794" v="3765"/>
          <ac:spMkLst>
            <pc:docMk/>
            <pc:sldMk cId="3327534153" sldId="2225"/>
            <ac:spMk id="5" creationId="{3AA7B8AD-E6F9-4E25-A3A4-71D021032612}"/>
          </ac:spMkLst>
        </pc:spChg>
        <pc:spChg chg="mod">
          <ac:chgData name="Aurelien Domont" userId="6da7715ce44349b3" providerId="LiveId" clId="{29D6A56D-AB0D-41B6-B017-3803A210466B}" dt="2021-08-05T06:56:02.582" v="1562" actId="20577"/>
          <ac:spMkLst>
            <pc:docMk/>
            <pc:sldMk cId="3327534153" sldId="2225"/>
            <ac:spMk id="12" creationId="{E7675798-47BC-4250-BA24-0E2AC4A10A86}"/>
          </ac:spMkLst>
        </pc:spChg>
        <pc:spChg chg="mod">
          <ac:chgData name="Aurelien Domont" userId="6da7715ce44349b3" providerId="LiveId" clId="{29D6A56D-AB0D-41B6-B017-3803A210466B}" dt="2022-02-23T02:48:08.072" v="3439"/>
          <ac:spMkLst>
            <pc:docMk/>
            <pc:sldMk cId="3327534153" sldId="2225"/>
            <ac:spMk id="15" creationId="{9D051C05-62A5-4FB5-846C-31987D33AA9E}"/>
          </ac:spMkLst>
        </pc:spChg>
        <pc:spChg chg="mod">
          <ac:chgData name="Aurelien Domont" userId="6da7715ce44349b3" providerId="LiveId" clId="{29D6A56D-AB0D-41B6-B017-3803A210466B}" dt="2022-11-29T03:10:19.794" v="3765"/>
          <ac:spMkLst>
            <pc:docMk/>
            <pc:sldMk cId="3327534153" sldId="2225"/>
            <ac:spMk id="16" creationId="{6C2BB713-9637-4B9B-938F-E9768876782A}"/>
          </ac:spMkLst>
        </pc:spChg>
        <pc:spChg chg="mod">
          <ac:chgData name="Aurelien Domont" userId="6da7715ce44349b3" providerId="LiveId" clId="{29D6A56D-AB0D-41B6-B017-3803A210466B}" dt="2021-08-05T06:56:11.214" v="1572" actId="20577"/>
          <ac:spMkLst>
            <pc:docMk/>
            <pc:sldMk cId="3327534153" sldId="2225"/>
            <ac:spMk id="17" creationId="{142BE8BF-9256-475D-900B-55FCC0CE6DB5}"/>
          </ac:spMkLst>
        </pc:spChg>
        <pc:spChg chg="mod">
          <ac:chgData name="Aurelien Domont" userId="6da7715ce44349b3" providerId="LiveId" clId="{29D6A56D-AB0D-41B6-B017-3803A210466B}" dt="2021-08-05T06:58:05.675" v="1602"/>
          <ac:spMkLst>
            <pc:docMk/>
            <pc:sldMk cId="3327534153" sldId="2225"/>
            <ac:spMk id="19" creationId="{B9017FA6-F0E0-4269-9C6B-53FA5BEF3E64}"/>
          </ac:spMkLst>
        </pc:spChg>
        <pc:picChg chg="add mod ord">
          <ac:chgData name="Aurelien Domont" userId="6da7715ce44349b3" providerId="LiveId" clId="{29D6A56D-AB0D-41B6-B017-3803A210466B}" dt="2021-08-05T07:04:19.374" v="1649" actId="108"/>
          <ac:picMkLst>
            <pc:docMk/>
            <pc:sldMk cId="3327534153" sldId="2225"/>
            <ac:picMk id="2" creationId="{60B59BA1-D6C4-452A-8277-CD97BE2949E8}"/>
          </ac:picMkLst>
        </pc:picChg>
        <pc:picChg chg="add mod ord">
          <ac:chgData name="Aurelien Domont" userId="6da7715ce44349b3" providerId="LiveId" clId="{29D6A56D-AB0D-41B6-B017-3803A210466B}" dt="2021-08-05T07:04:21.265" v="1650" actId="108"/>
          <ac:picMkLst>
            <pc:docMk/>
            <pc:sldMk cId="3327534153" sldId="2225"/>
            <ac:picMk id="3" creationId="{D427727F-BA9D-46B3-A11A-29D3FF919C66}"/>
          </ac:picMkLst>
        </pc:picChg>
        <pc:picChg chg="del">
          <ac:chgData name="Aurelien Domont" userId="6da7715ce44349b3" providerId="LiveId" clId="{29D6A56D-AB0D-41B6-B017-3803A210466B}" dt="2021-08-05T07:04:16.140" v="1648" actId="478"/>
          <ac:picMkLst>
            <pc:docMk/>
            <pc:sldMk cId="3327534153" sldId="2225"/>
            <ac:picMk id="14" creationId="{7DF5C388-7BE2-4A73-9A98-866866F183E1}"/>
          </ac:picMkLst>
        </pc:picChg>
        <pc:picChg chg="del">
          <ac:chgData name="Aurelien Domont" userId="6da7715ce44349b3" providerId="LiveId" clId="{29D6A56D-AB0D-41B6-B017-3803A210466B}" dt="2021-08-05T06:56:51.172" v="1580" actId="478"/>
          <ac:picMkLst>
            <pc:docMk/>
            <pc:sldMk cId="3327534153" sldId="2225"/>
            <ac:picMk id="18" creationId="{0A5569E7-97BE-45F4-9B18-FCAA4577C494}"/>
          </ac:picMkLst>
        </pc:picChg>
        <pc:picChg chg="del">
          <ac:chgData name="Aurelien Domont" userId="6da7715ce44349b3" providerId="LiveId" clId="{29D6A56D-AB0D-41B6-B017-3803A210466B}" dt="2021-08-05T06:58:10.309" v="1603" actId="478"/>
          <ac:picMkLst>
            <pc:docMk/>
            <pc:sldMk cId="3327534153" sldId="2225"/>
            <ac:picMk id="20" creationId="{6DE12FBD-EBAC-4E88-AF90-898B0484985B}"/>
          </ac:picMkLst>
        </pc:picChg>
        <pc:picChg chg="del">
          <ac:chgData name="Aurelien Domont" userId="6da7715ce44349b3" providerId="LiveId" clId="{29D6A56D-AB0D-41B6-B017-3803A210466B}" dt="2021-08-05T07:04:15.628" v="1647" actId="478"/>
          <ac:picMkLst>
            <pc:docMk/>
            <pc:sldMk cId="3327534153" sldId="2225"/>
            <ac:picMk id="21" creationId="{FA7B3320-22DA-41AB-AA24-7F88FEF121EA}"/>
          </ac:picMkLst>
        </pc:picChg>
        <pc:picChg chg="add mod ord modCrop">
          <ac:chgData name="Aurelien Domont" userId="6da7715ce44349b3" providerId="LiveId" clId="{29D6A56D-AB0D-41B6-B017-3803A210466B}" dt="2021-08-05T07:04:13.136" v="1646" actId="167"/>
          <ac:picMkLst>
            <pc:docMk/>
            <pc:sldMk cId="3327534153" sldId="2225"/>
            <ac:picMk id="22" creationId="{C45FCE50-56EA-4B4E-B47E-6CAE7E26F3AE}"/>
          </ac:picMkLst>
        </pc:picChg>
        <pc:picChg chg="add mod ord">
          <ac:chgData name="Aurelien Domont" userId="6da7715ce44349b3" providerId="LiveId" clId="{29D6A56D-AB0D-41B6-B017-3803A210466B}" dt="2021-08-05T07:04:13.136" v="1646" actId="167"/>
          <ac:picMkLst>
            <pc:docMk/>
            <pc:sldMk cId="3327534153" sldId="2225"/>
            <ac:picMk id="23" creationId="{414A38C9-CB11-43D0-A9CB-656EF05B2367}"/>
          </ac:picMkLst>
        </pc:picChg>
      </pc:sldChg>
      <pc:sldChg chg="addSp delSp modSp add del mod">
        <pc:chgData name="Aurelien Domont" userId="6da7715ce44349b3" providerId="LiveId" clId="{29D6A56D-AB0D-41B6-B017-3803A210466B}" dt="2023-01-12T23:28:27.057" v="7596" actId="47"/>
        <pc:sldMkLst>
          <pc:docMk/>
          <pc:sldMk cId="1558761076" sldId="2226"/>
        </pc:sldMkLst>
        <pc:spChg chg="mod">
          <ac:chgData name="Aurelien Domont" userId="6da7715ce44349b3" providerId="LiveId" clId="{29D6A56D-AB0D-41B6-B017-3803A210466B}" dt="2022-11-29T03:10:19.794" v="3765"/>
          <ac:spMkLst>
            <pc:docMk/>
            <pc:sldMk cId="1558761076" sldId="2226"/>
            <ac:spMk id="5" creationId="{3AA7B8AD-E6F9-4E25-A3A4-71D021032612}"/>
          </ac:spMkLst>
        </pc:spChg>
        <pc:spChg chg="mod">
          <ac:chgData name="Aurelien Domont" userId="6da7715ce44349b3" providerId="LiveId" clId="{29D6A56D-AB0D-41B6-B017-3803A210466B}" dt="2021-08-05T07:04:03.010" v="1645" actId="20577"/>
          <ac:spMkLst>
            <pc:docMk/>
            <pc:sldMk cId="1558761076" sldId="2226"/>
            <ac:spMk id="12" creationId="{E7675798-47BC-4250-BA24-0E2AC4A10A86}"/>
          </ac:spMkLst>
        </pc:spChg>
        <pc:spChg chg="mod">
          <ac:chgData name="Aurelien Domont" userId="6da7715ce44349b3" providerId="LiveId" clId="{29D6A56D-AB0D-41B6-B017-3803A210466B}" dt="2021-08-05T07:07:38.129" v="1712" actId="20577"/>
          <ac:spMkLst>
            <pc:docMk/>
            <pc:sldMk cId="1558761076" sldId="2226"/>
            <ac:spMk id="15" creationId="{9D051C05-62A5-4FB5-846C-31987D33AA9E}"/>
          </ac:spMkLst>
        </pc:spChg>
        <pc:spChg chg="mod">
          <ac:chgData name="Aurelien Domont" userId="6da7715ce44349b3" providerId="LiveId" clId="{29D6A56D-AB0D-41B6-B017-3803A210466B}" dt="2022-11-29T03:10:19.794" v="3765"/>
          <ac:spMkLst>
            <pc:docMk/>
            <pc:sldMk cId="1558761076" sldId="2226"/>
            <ac:spMk id="16" creationId="{6C2BB713-9637-4B9B-938F-E9768876782A}"/>
          </ac:spMkLst>
        </pc:spChg>
        <pc:spChg chg="mod">
          <ac:chgData name="Aurelien Domont" userId="6da7715ce44349b3" providerId="LiveId" clId="{29D6A56D-AB0D-41B6-B017-3803A210466B}" dt="2021-08-05T07:05:13.280" v="1674" actId="20577"/>
          <ac:spMkLst>
            <pc:docMk/>
            <pc:sldMk cId="1558761076" sldId="2226"/>
            <ac:spMk id="17" creationId="{142BE8BF-9256-475D-900B-55FCC0CE6DB5}"/>
          </ac:spMkLst>
        </pc:spChg>
        <pc:spChg chg="mod">
          <ac:chgData name="Aurelien Domont" userId="6da7715ce44349b3" providerId="LiveId" clId="{29D6A56D-AB0D-41B6-B017-3803A210466B}" dt="2021-08-05T07:07:51.815" v="1742" actId="20577"/>
          <ac:spMkLst>
            <pc:docMk/>
            <pc:sldMk cId="1558761076" sldId="2226"/>
            <ac:spMk id="19" creationId="{B9017FA6-F0E0-4269-9C6B-53FA5BEF3E64}"/>
          </ac:spMkLst>
        </pc:spChg>
        <pc:picChg chg="add mod ord">
          <ac:chgData name="Aurelien Domont" userId="6da7715ce44349b3" providerId="LiveId" clId="{29D6A56D-AB0D-41B6-B017-3803A210466B}" dt="2021-08-05T07:07:19.595" v="1687" actId="167"/>
          <ac:picMkLst>
            <pc:docMk/>
            <pc:sldMk cId="1558761076" sldId="2226"/>
            <ac:picMk id="2" creationId="{CE827E4A-2FAD-4CDC-8096-F93AF40AF348}"/>
          </ac:picMkLst>
        </pc:picChg>
        <pc:picChg chg="add mod ord">
          <ac:chgData name="Aurelien Domont" userId="6da7715ce44349b3" providerId="LiveId" clId="{29D6A56D-AB0D-41B6-B017-3803A210466B}" dt="2021-08-05T07:07:19.595" v="1687" actId="167"/>
          <ac:picMkLst>
            <pc:docMk/>
            <pc:sldMk cId="1558761076" sldId="2226"/>
            <ac:picMk id="3" creationId="{16BECBCE-C6A1-4A4C-AA35-62CE6D4F2A9A}"/>
          </ac:picMkLst>
        </pc:picChg>
        <pc:picChg chg="add mod ord">
          <ac:chgData name="Aurelien Domont" userId="6da7715ce44349b3" providerId="LiveId" clId="{29D6A56D-AB0D-41B6-B017-3803A210466B}" dt="2021-08-05T07:07:19.595" v="1687" actId="167"/>
          <ac:picMkLst>
            <pc:docMk/>
            <pc:sldMk cId="1558761076" sldId="2226"/>
            <ac:picMk id="11" creationId="{A5E301DB-074F-49EA-A0E6-3EFA76642594}"/>
          </ac:picMkLst>
        </pc:picChg>
        <pc:picChg chg="del">
          <ac:chgData name="Aurelien Domont" userId="6da7715ce44349b3" providerId="LiveId" clId="{29D6A56D-AB0D-41B6-B017-3803A210466B}" dt="2021-08-05T07:07:22.993" v="1688" actId="478"/>
          <ac:picMkLst>
            <pc:docMk/>
            <pc:sldMk cId="1558761076" sldId="2226"/>
            <ac:picMk id="14" creationId="{7DF5C388-7BE2-4A73-9A98-866866F183E1}"/>
          </ac:picMkLst>
        </pc:picChg>
        <pc:picChg chg="del">
          <ac:chgData name="Aurelien Domont" userId="6da7715ce44349b3" providerId="LiveId" clId="{29D6A56D-AB0D-41B6-B017-3803A210466B}" dt="2021-08-05T07:07:22.993" v="1688" actId="478"/>
          <ac:picMkLst>
            <pc:docMk/>
            <pc:sldMk cId="1558761076" sldId="2226"/>
            <ac:picMk id="18" creationId="{0A5569E7-97BE-45F4-9B18-FCAA4577C494}"/>
          </ac:picMkLst>
        </pc:picChg>
        <pc:picChg chg="del">
          <ac:chgData name="Aurelien Domont" userId="6da7715ce44349b3" providerId="LiveId" clId="{29D6A56D-AB0D-41B6-B017-3803A210466B}" dt="2021-08-05T07:07:22.993" v="1688" actId="478"/>
          <ac:picMkLst>
            <pc:docMk/>
            <pc:sldMk cId="1558761076" sldId="2226"/>
            <ac:picMk id="20" creationId="{6DE12FBD-EBAC-4E88-AF90-898B0484985B}"/>
          </ac:picMkLst>
        </pc:picChg>
        <pc:picChg chg="del">
          <ac:chgData name="Aurelien Domont" userId="6da7715ce44349b3" providerId="LiveId" clId="{29D6A56D-AB0D-41B6-B017-3803A210466B}" dt="2021-08-05T07:07:22.993" v="1688" actId="478"/>
          <ac:picMkLst>
            <pc:docMk/>
            <pc:sldMk cId="1558761076" sldId="2226"/>
            <ac:picMk id="21" creationId="{FA7B3320-22DA-41AB-AA24-7F88FEF121EA}"/>
          </ac:picMkLst>
        </pc:picChg>
        <pc:picChg chg="add mod ord">
          <ac:chgData name="Aurelien Domont" userId="6da7715ce44349b3" providerId="LiveId" clId="{29D6A56D-AB0D-41B6-B017-3803A210466B}" dt="2021-08-05T07:07:19.595" v="1687" actId="167"/>
          <ac:picMkLst>
            <pc:docMk/>
            <pc:sldMk cId="1558761076" sldId="2226"/>
            <ac:picMk id="23" creationId="{AF03452E-D013-4EB7-BB40-D5CB52E3701E}"/>
          </ac:picMkLst>
        </pc:picChg>
      </pc:sldChg>
      <pc:sldChg chg="modSp add del mod">
        <pc:chgData name="Aurelien Domont" userId="6da7715ce44349b3" providerId="LiveId" clId="{29D6A56D-AB0D-41B6-B017-3803A210466B}" dt="2021-08-05T07:03:03.282" v="1630" actId="47"/>
        <pc:sldMkLst>
          <pc:docMk/>
          <pc:sldMk cId="3316164133" sldId="2226"/>
        </pc:sldMkLst>
        <pc:spChg chg="mod">
          <ac:chgData name="Aurelien Domont" userId="6da7715ce44349b3" providerId="LiveId" clId="{29D6A56D-AB0D-41B6-B017-3803A210466B}" dt="2021-08-05T07:02:51.123" v="1629" actId="20577"/>
          <ac:spMkLst>
            <pc:docMk/>
            <pc:sldMk cId="3316164133" sldId="2226"/>
            <ac:spMk id="16" creationId="{6C2BB713-9637-4B9B-938F-E9768876782A}"/>
          </ac:spMkLst>
        </pc:spChg>
      </pc:sldChg>
      <pc:sldChg chg="modSp add del mod">
        <pc:chgData name="Aurelien Domont" userId="6da7715ce44349b3" providerId="LiveId" clId="{29D6A56D-AB0D-41B6-B017-3803A210466B}" dt="2023-01-12T04:55:25.953" v="7496" actId="47"/>
        <pc:sldMkLst>
          <pc:docMk/>
          <pc:sldMk cId="3678003754" sldId="2227"/>
        </pc:sldMkLst>
        <pc:spChg chg="mod">
          <ac:chgData name="Aurelien Domont" userId="6da7715ce44349b3" providerId="LiveId" clId="{29D6A56D-AB0D-41B6-B017-3803A210466B}" dt="2022-11-29T03:10:19.794" v="3765"/>
          <ac:spMkLst>
            <pc:docMk/>
            <pc:sldMk cId="3678003754" sldId="2227"/>
            <ac:spMk id="5" creationId="{3AA7B8AD-E6F9-4E25-A3A4-71D021032612}"/>
          </ac:spMkLst>
        </pc:spChg>
        <pc:spChg chg="mod">
          <ac:chgData name="Aurelien Domont" userId="6da7715ce44349b3" providerId="LiveId" clId="{29D6A56D-AB0D-41B6-B017-3803A210466B}" dt="2022-11-29T03:10:19.794" v="3765"/>
          <ac:spMkLst>
            <pc:docMk/>
            <pc:sldMk cId="3678003754" sldId="2227"/>
            <ac:spMk id="16" creationId="{6C2BB713-9637-4B9B-938F-E9768876782A}"/>
          </ac:spMkLst>
        </pc:spChg>
        <pc:spChg chg="mod">
          <ac:chgData name="Aurelien Domont" userId="6da7715ce44349b3" providerId="LiveId" clId="{29D6A56D-AB0D-41B6-B017-3803A210466B}" dt="2021-08-05T07:08:22.945" v="1745" actId="108"/>
          <ac:spMkLst>
            <pc:docMk/>
            <pc:sldMk cId="3678003754" sldId="2227"/>
            <ac:spMk id="17" creationId="{19A575D7-E580-40DE-A99C-7046F2D13EDA}"/>
          </ac:spMkLst>
        </pc:spChg>
        <pc:spChg chg="mod">
          <ac:chgData name="Aurelien Domont" userId="6da7715ce44349b3" providerId="LiveId" clId="{29D6A56D-AB0D-41B6-B017-3803A210466B}" dt="2021-08-05T07:08:19.195" v="1744" actId="108"/>
          <ac:spMkLst>
            <pc:docMk/>
            <pc:sldMk cId="3678003754" sldId="2227"/>
            <ac:spMk id="18" creationId="{AC5C9C3D-E8E8-409B-A684-919884B25A86}"/>
          </ac:spMkLst>
        </pc:spChg>
      </pc:sldChg>
      <pc:sldChg chg="modSp add del">
        <pc:chgData name="Aurelien Domont" userId="6da7715ce44349b3" providerId="LiveId" clId="{29D6A56D-AB0D-41B6-B017-3803A210466B}" dt="2023-01-12T23:29:05.162" v="7597"/>
        <pc:sldMkLst>
          <pc:docMk/>
          <pc:sldMk cId="263467195" sldId="2228"/>
        </pc:sldMkLst>
        <pc:spChg chg="mod">
          <ac:chgData name="Aurelien Domont" userId="6da7715ce44349b3" providerId="LiveId" clId="{29D6A56D-AB0D-41B6-B017-3803A210466B}" dt="2022-11-29T03:10:19.794" v="3765"/>
          <ac:spMkLst>
            <pc:docMk/>
            <pc:sldMk cId="263467195" sldId="2228"/>
            <ac:spMk id="3" creationId="{CE2529A3-BA97-486F-9E02-8DFAAA7D8D38}"/>
          </ac:spMkLst>
        </pc:spChg>
        <pc:spChg chg="mod">
          <ac:chgData name="Aurelien Domont" userId="6da7715ce44349b3" providerId="LiveId" clId="{29D6A56D-AB0D-41B6-B017-3803A210466B}" dt="2022-11-29T03:10:19.794" v="3765"/>
          <ac:spMkLst>
            <pc:docMk/>
            <pc:sldMk cId="263467195" sldId="2228"/>
            <ac:spMk id="16" creationId="{6C2BB713-9637-4B9B-938F-E9768876782A}"/>
          </ac:spMkLst>
        </pc:spChg>
      </pc:sldChg>
      <pc:sldChg chg="addSp delSp modSp add del mod">
        <pc:chgData name="Aurelien Domont" userId="6da7715ce44349b3" providerId="LiveId" clId="{29D6A56D-AB0D-41B6-B017-3803A210466B}" dt="2023-01-12T23:29:15.615" v="7611" actId="20577"/>
        <pc:sldMkLst>
          <pc:docMk/>
          <pc:sldMk cId="2397494658" sldId="2229"/>
        </pc:sldMkLst>
        <pc:spChg chg="mod">
          <ac:chgData name="Aurelien Domont" userId="6da7715ce44349b3" providerId="LiveId" clId="{29D6A56D-AB0D-41B6-B017-3803A210466B}" dt="2022-11-29T03:10:19.794" v="3765"/>
          <ac:spMkLst>
            <pc:docMk/>
            <pc:sldMk cId="2397494658" sldId="2229"/>
            <ac:spMk id="5" creationId="{3AA7B8AD-E6F9-4E25-A3A4-71D021032612}"/>
          </ac:spMkLst>
        </pc:spChg>
        <pc:spChg chg="mod">
          <ac:chgData name="Aurelien Domont" userId="6da7715ce44349b3" providerId="LiveId" clId="{29D6A56D-AB0D-41B6-B017-3803A210466B}" dt="2021-08-05T07:19:43.018" v="1820" actId="1076"/>
          <ac:spMkLst>
            <pc:docMk/>
            <pc:sldMk cId="2397494658" sldId="2229"/>
            <ac:spMk id="12" creationId="{E7675798-47BC-4250-BA24-0E2AC4A10A86}"/>
          </ac:spMkLst>
        </pc:spChg>
        <pc:spChg chg="del">
          <ac:chgData name="Aurelien Domont" userId="6da7715ce44349b3" providerId="LiveId" clId="{29D6A56D-AB0D-41B6-B017-3803A210466B}" dt="2021-08-05T07:19:38.200" v="1819" actId="478"/>
          <ac:spMkLst>
            <pc:docMk/>
            <pc:sldMk cId="2397494658" sldId="2229"/>
            <ac:spMk id="15" creationId="{9D051C05-62A5-4FB5-846C-31987D33AA9E}"/>
          </ac:spMkLst>
        </pc:spChg>
        <pc:spChg chg="mod">
          <ac:chgData name="Aurelien Domont" userId="6da7715ce44349b3" providerId="LiveId" clId="{29D6A56D-AB0D-41B6-B017-3803A210466B}" dt="2023-01-12T23:29:15.615" v="7611" actId="20577"/>
          <ac:spMkLst>
            <pc:docMk/>
            <pc:sldMk cId="2397494658" sldId="2229"/>
            <ac:spMk id="16" creationId="{6C2BB713-9637-4B9B-938F-E9768876782A}"/>
          </ac:spMkLst>
        </pc:spChg>
        <pc:spChg chg="mod">
          <ac:chgData name="Aurelien Domont" userId="6da7715ce44349b3" providerId="LiveId" clId="{29D6A56D-AB0D-41B6-B017-3803A210466B}" dt="2021-08-05T07:20:00.484" v="1845" actId="1038"/>
          <ac:spMkLst>
            <pc:docMk/>
            <pc:sldMk cId="2397494658" sldId="2229"/>
            <ac:spMk id="17" creationId="{142BE8BF-9256-475D-900B-55FCC0CE6DB5}"/>
          </ac:spMkLst>
        </pc:spChg>
        <pc:spChg chg="del">
          <ac:chgData name="Aurelien Domont" userId="6da7715ce44349b3" providerId="LiveId" clId="{29D6A56D-AB0D-41B6-B017-3803A210466B}" dt="2021-08-05T07:19:38.200" v="1819" actId="478"/>
          <ac:spMkLst>
            <pc:docMk/>
            <pc:sldMk cId="2397494658" sldId="2229"/>
            <ac:spMk id="19" creationId="{B9017FA6-F0E0-4269-9C6B-53FA5BEF3E64}"/>
          </ac:spMkLst>
        </pc:spChg>
        <pc:picChg chg="del mod">
          <ac:chgData name="Aurelien Domont" userId="6da7715ce44349b3" providerId="LiveId" clId="{29D6A56D-AB0D-41B6-B017-3803A210466B}" dt="2021-08-05T07:19:51.971" v="1825" actId="478"/>
          <ac:picMkLst>
            <pc:docMk/>
            <pc:sldMk cId="2397494658" sldId="2229"/>
            <ac:picMk id="2" creationId="{CE827E4A-2FAD-4CDC-8096-F93AF40AF348}"/>
          </ac:picMkLst>
        </pc:picChg>
        <pc:picChg chg="del mod">
          <ac:chgData name="Aurelien Domont" userId="6da7715ce44349b3" providerId="LiveId" clId="{29D6A56D-AB0D-41B6-B017-3803A210466B}" dt="2021-08-05T07:19:53.160" v="1827" actId="478"/>
          <ac:picMkLst>
            <pc:docMk/>
            <pc:sldMk cId="2397494658" sldId="2229"/>
            <ac:picMk id="3" creationId="{16BECBCE-C6A1-4A4C-AA35-62CE6D4F2A9A}"/>
          </ac:picMkLst>
        </pc:picChg>
        <pc:picChg chg="add mod">
          <ac:chgData name="Aurelien Domont" userId="6da7715ce44349b3" providerId="LiveId" clId="{29D6A56D-AB0D-41B6-B017-3803A210466B}" dt="2021-08-05T07:19:50.235" v="1824" actId="1076"/>
          <ac:picMkLst>
            <pc:docMk/>
            <pc:sldMk cId="2397494658" sldId="2229"/>
            <ac:picMk id="4" creationId="{D30779E5-1271-46F9-A27B-99DB249FB89C}"/>
          </ac:picMkLst>
        </pc:picChg>
        <pc:picChg chg="del">
          <ac:chgData name="Aurelien Domont" userId="6da7715ce44349b3" providerId="LiveId" clId="{29D6A56D-AB0D-41B6-B017-3803A210466B}" dt="2021-08-05T07:19:38.200" v="1819" actId="478"/>
          <ac:picMkLst>
            <pc:docMk/>
            <pc:sldMk cId="2397494658" sldId="2229"/>
            <ac:picMk id="11" creationId="{A5E301DB-074F-49EA-A0E6-3EFA76642594}"/>
          </ac:picMkLst>
        </pc:picChg>
        <pc:picChg chg="add mod">
          <ac:chgData name="Aurelien Domont" userId="6da7715ce44349b3" providerId="LiveId" clId="{29D6A56D-AB0D-41B6-B017-3803A210466B}" dt="2021-08-05T07:19:57.353" v="1828" actId="1076"/>
          <ac:picMkLst>
            <pc:docMk/>
            <pc:sldMk cId="2397494658" sldId="2229"/>
            <ac:picMk id="14" creationId="{98AE3102-F1C1-4427-AC30-9DE669B3C0E8}"/>
          </ac:picMkLst>
        </pc:picChg>
        <pc:picChg chg="del">
          <ac:chgData name="Aurelien Domont" userId="6da7715ce44349b3" providerId="LiveId" clId="{29D6A56D-AB0D-41B6-B017-3803A210466B}" dt="2021-08-05T07:19:38.200" v="1819" actId="478"/>
          <ac:picMkLst>
            <pc:docMk/>
            <pc:sldMk cId="2397494658" sldId="2229"/>
            <ac:picMk id="23" creationId="{AF03452E-D013-4EB7-BB40-D5CB52E3701E}"/>
          </ac:picMkLst>
        </pc:picChg>
      </pc:sldChg>
      <pc:sldChg chg="modSp add del mod">
        <pc:chgData name="Aurelien Domont" userId="6da7715ce44349b3" providerId="LiveId" clId="{29D6A56D-AB0D-41B6-B017-3803A210466B}" dt="2023-01-12T04:55:25.953" v="7496" actId="47"/>
        <pc:sldMkLst>
          <pc:docMk/>
          <pc:sldMk cId="2734471331" sldId="2230"/>
        </pc:sldMkLst>
        <pc:spChg chg="mod">
          <ac:chgData name="Aurelien Domont" userId="6da7715ce44349b3" providerId="LiveId" clId="{29D6A56D-AB0D-41B6-B017-3803A210466B}" dt="2022-11-29T03:10:19.794" v="3765"/>
          <ac:spMkLst>
            <pc:docMk/>
            <pc:sldMk cId="2734471331" sldId="2230"/>
            <ac:spMk id="5" creationId="{3AA7B8AD-E6F9-4E25-A3A4-71D021032612}"/>
          </ac:spMkLst>
        </pc:spChg>
        <pc:spChg chg="mod">
          <ac:chgData name="Aurelien Domont" userId="6da7715ce44349b3" providerId="LiveId" clId="{29D6A56D-AB0D-41B6-B017-3803A210466B}" dt="2022-11-29T03:10:19.794" v="3765"/>
          <ac:spMkLst>
            <pc:docMk/>
            <pc:sldMk cId="2734471331" sldId="2230"/>
            <ac:spMk id="16" creationId="{6C2BB713-9637-4B9B-938F-E9768876782A}"/>
          </ac:spMkLst>
        </pc:spChg>
        <pc:spChg chg="mod">
          <ac:chgData name="Aurelien Domont" userId="6da7715ce44349b3" providerId="LiveId" clId="{29D6A56D-AB0D-41B6-B017-3803A210466B}" dt="2021-08-05T07:20:15.850" v="1849" actId="108"/>
          <ac:spMkLst>
            <pc:docMk/>
            <pc:sldMk cId="2734471331" sldId="2230"/>
            <ac:spMk id="18" creationId="{AC5C9C3D-E8E8-409B-A684-919884B25A86}"/>
          </ac:spMkLst>
        </pc:spChg>
        <pc:spChg chg="mod">
          <ac:chgData name="Aurelien Domont" userId="6da7715ce44349b3" providerId="LiveId" clId="{29D6A56D-AB0D-41B6-B017-3803A210466B}" dt="2021-08-05T07:20:10.194" v="1847" actId="108"/>
          <ac:spMkLst>
            <pc:docMk/>
            <pc:sldMk cId="2734471331" sldId="2230"/>
            <ac:spMk id="22" creationId="{6F23069A-C4DB-4EFB-9A1F-87668D46DF96}"/>
          </ac:spMkLst>
        </pc:spChg>
      </pc:sldChg>
      <pc:sldChg chg="add">
        <pc:chgData name="Aurelien Domont" userId="6da7715ce44349b3" providerId="LiveId" clId="{29D6A56D-AB0D-41B6-B017-3803A210466B}" dt="2023-01-12T23:15:09.118" v="7589"/>
        <pc:sldMkLst>
          <pc:docMk/>
          <pc:sldMk cId="4162893590" sldId="2230"/>
        </pc:sldMkLst>
      </pc:sldChg>
      <pc:sldChg chg="addSp modSp new del mod">
        <pc:chgData name="Aurelien Domont" userId="6da7715ce44349b3" providerId="LiveId" clId="{29D6A56D-AB0D-41B6-B017-3803A210466B}" dt="2023-01-12T04:52:14.350" v="7483" actId="47"/>
        <pc:sldMkLst>
          <pc:docMk/>
          <pc:sldMk cId="1636799408" sldId="2231"/>
        </pc:sldMkLst>
        <pc:spChg chg="add mod">
          <ac:chgData name="Aurelien Domont" userId="6da7715ce44349b3" providerId="LiveId" clId="{29D6A56D-AB0D-41B6-B017-3803A210466B}" dt="2022-11-29T03:15:25.935" v="3816" actId="207"/>
          <ac:spMkLst>
            <pc:docMk/>
            <pc:sldMk cId="1636799408" sldId="2231"/>
            <ac:spMk id="3" creationId="{BB823182-0703-8EF7-BEBB-ED680E5DF558}"/>
          </ac:spMkLst>
        </pc:spChg>
      </pc:sldChg>
      <pc:sldChg chg="addSp modSp add del mod">
        <pc:chgData name="Aurelien Domont" userId="6da7715ce44349b3" providerId="LiveId" clId="{29D6A56D-AB0D-41B6-B017-3803A210466B}" dt="2021-08-09T06:11:58.684" v="3398" actId="47"/>
        <pc:sldMkLst>
          <pc:docMk/>
          <pc:sldMk cId="2424765519" sldId="2231"/>
        </pc:sldMkLst>
        <pc:spChg chg="add mod">
          <ac:chgData name="Aurelien Domont" userId="6da7715ce44349b3" providerId="LiveId" clId="{29D6A56D-AB0D-41B6-B017-3803A210466B}" dt="2021-08-09T06:07:43.254" v="3387" actId="13822"/>
          <ac:spMkLst>
            <pc:docMk/>
            <pc:sldMk cId="2424765519" sldId="2231"/>
            <ac:spMk id="7" creationId="{B8B1A6D8-3B82-4304-8F93-BEEF51DB6C89}"/>
          </ac:spMkLst>
        </pc:spChg>
        <pc:spChg chg="mod">
          <ac:chgData name="Aurelien Domont" userId="6da7715ce44349b3" providerId="LiveId" clId="{29D6A56D-AB0D-41B6-B017-3803A210466B}" dt="2021-08-09T06:10:01.308" v="3391" actId="20577"/>
          <ac:spMkLst>
            <pc:docMk/>
            <pc:sldMk cId="2424765519" sldId="2231"/>
            <ac:spMk id="8" creationId="{F601F365-36FE-43BA-A063-30AAF326381A}"/>
          </ac:spMkLst>
        </pc:spChg>
        <pc:spChg chg="mod">
          <ac:chgData name="Aurelien Domont" userId="6da7715ce44349b3" providerId="LiveId" clId="{29D6A56D-AB0D-41B6-B017-3803A210466B}" dt="2021-08-09T06:10:08.036" v="3397" actId="20577"/>
          <ac:spMkLst>
            <pc:docMk/>
            <pc:sldMk cId="2424765519" sldId="2231"/>
            <ac:spMk id="45" creationId="{C40ABB58-A617-4C1D-B300-D06F0DBE43C3}"/>
          </ac:spMkLst>
        </pc:spChg>
      </pc:sldChg>
      <pc:sldChg chg="addSp modSp add del mod">
        <pc:chgData name="Aurelien Domont" userId="6da7715ce44349b3" providerId="LiveId" clId="{29D6A56D-AB0D-41B6-B017-3803A210466B}" dt="2021-08-19T01:44:01.410" v="3405" actId="47"/>
        <pc:sldMkLst>
          <pc:docMk/>
          <pc:sldMk cId="3689386368" sldId="2231"/>
        </pc:sldMkLst>
        <pc:spChg chg="add mod">
          <ac:chgData name="Aurelien Domont" userId="6da7715ce44349b3" providerId="LiveId" clId="{29D6A56D-AB0D-41B6-B017-3803A210466B}" dt="2021-08-19T01:38:47.969" v="3402" actId="13822"/>
          <ac:spMkLst>
            <pc:docMk/>
            <pc:sldMk cId="3689386368" sldId="2231"/>
            <ac:spMk id="7" creationId="{B143BCE9-D986-4926-A90D-1D978893AA4D}"/>
          </ac:spMkLst>
        </pc:spChg>
        <pc:spChg chg="mod">
          <ac:chgData name="Aurelien Domont" userId="6da7715ce44349b3" providerId="LiveId" clId="{29D6A56D-AB0D-41B6-B017-3803A210466B}" dt="2021-08-19T01:39:28.472" v="3404" actId="12"/>
          <ac:spMkLst>
            <pc:docMk/>
            <pc:sldMk cId="3689386368" sldId="2231"/>
            <ac:spMk id="8" creationId="{F601F365-36FE-43BA-A063-30AAF326381A}"/>
          </ac:spMkLst>
        </pc:spChg>
        <pc:spChg chg="mod">
          <ac:chgData name="Aurelien Domont" userId="6da7715ce44349b3" providerId="LiveId" clId="{29D6A56D-AB0D-41B6-B017-3803A210466B}" dt="2021-08-19T01:38:53.834" v="3403" actId="12"/>
          <ac:spMkLst>
            <pc:docMk/>
            <pc:sldMk cId="3689386368" sldId="2231"/>
            <ac:spMk id="45" creationId="{C40ABB58-A617-4C1D-B300-D06F0DBE43C3}"/>
          </ac:spMkLst>
        </pc:spChg>
      </pc:sldChg>
      <pc:sldChg chg="add del">
        <pc:chgData name="Aurelien Domont" userId="6da7715ce44349b3" providerId="LiveId" clId="{29D6A56D-AB0D-41B6-B017-3803A210466B}" dt="2021-08-09T04:36:47.536" v="3371" actId="47"/>
        <pc:sldMkLst>
          <pc:docMk/>
          <pc:sldMk cId="3775387487" sldId="2231"/>
        </pc:sldMkLst>
      </pc:sldChg>
      <pc:sldChg chg="addSp delSp modSp add del mod ord">
        <pc:chgData name="Aurelien Domont" userId="6da7715ce44349b3" providerId="LiveId" clId="{29D6A56D-AB0D-41B6-B017-3803A210466B}" dt="2023-01-12T04:30:34.426" v="7113" actId="47"/>
        <pc:sldMkLst>
          <pc:docMk/>
          <pc:sldMk cId="2129650632" sldId="2232"/>
        </pc:sldMkLst>
        <pc:spChg chg="mod">
          <ac:chgData name="Aurelien Domont" userId="6da7715ce44349b3" providerId="LiveId" clId="{29D6A56D-AB0D-41B6-B017-3803A210466B}" dt="2022-11-29T03:16:59.535" v="3829" actId="20577"/>
          <ac:spMkLst>
            <pc:docMk/>
            <pc:sldMk cId="2129650632" sldId="2232"/>
            <ac:spMk id="2" creationId="{406113FD-AA7D-4249-90D7-70AF85BE48E1}"/>
          </ac:spMkLst>
        </pc:spChg>
        <pc:spChg chg="del">
          <ac:chgData name="Aurelien Domont" userId="6da7715ce44349b3" providerId="LiveId" clId="{29D6A56D-AB0D-41B6-B017-3803A210466B}" dt="2022-11-29T03:16:51.074" v="3818" actId="478"/>
          <ac:spMkLst>
            <pc:docMk/>
            <pc:sldMk cId="2129650632" sldId="2232"/>
            <ac:spMk id="6" creationId="{8C9E1E9F-B6D1-4C9B-89F6-850F0CD08945}"/>
          </ac:spMkLst>
        </pc:spChg>
        <pc:spChg chg="add mod">
          <ac:chgData name="Aurelien Domont" userId="6da7715ce44349b3" providerId="LiveId" clId="{29D6A56D-AB0D-41B6-B017-3803A210466B}" dt="2022-11-29T03:17:14.763" v="3832" actId="207"/>
          <ac:spMkLst>
            <pc:docMk/>
            <pc:sldMk cId="2129650632" sldId="2232"/>
            <ac:spMk id="7" creationId="{46F33FFB-F803-63BC-474B-C7E0ACDBB950}"/>
          </ac:spMkLst>
        </pc:spChg>
        <pc:spChg chg="del">
          <ac:chgData name="Aurelien Domont" userId="6da7715ce44349b3" providerId="LiveId" clId="{29D6A56D-AB0D-41B6-B017-3803A210466B}" dt="2022-11-29T03:16:51.074" v="3818" actId="478"/>
          <ac:spMkLst>
            <pc:docMk/>
            <pc:sldMk cId="2129650632" sldId="2232"/>
            <ac:spMk id="8" creationId="{F601F365-36FE-43BA-A063-30AAF326381A}"/>
          </ac:spMkLst>
        </pc:spChg>
        <pc:spChg chg="del">
          <ac:chgData name="Aurelien Domont" userId="6da7715ce44349b3" providerId="LiveId" clId="{29D6A56D-AB0D-41B6-B017-3803A210466B}" dt="2022-11-29T03:16:51.074" v="3818" actId="478"/>
          <ac:spMkLst>
            <pc:docMk/>
            <pc:sldMk cId="2129650632" sldId="2232"/>
            <ac:spMk id="9" creationId="{12B01F11-E54D-4AB1-A9A7-59F137CC9151}"/>
          </ac:spMkLst>
        </pc:spChg>
        <pc:spChg chg="add mod">
          <ac:chgData name="Aurelien Domont" userId="6da7715ce44349b3" providerId="LiveId" clId="{29D6A56D-AB0D-41B6-B017-3803A210466B}" dt="2022-11-29T03:18:58.265" v="3959" actId="20577"/>
          <ac:spMkLst>
            <pc:docMk/>
            <pc:sldMk cId="2129650632" sldId="2232"/>
            <ac:spMk id="10" creationId="{6DEA5992-327C-F932-C49C-3173DAB62A08}"/>
          </ac:spMkLst>
        </pc:spChg>
        <pc:spChg chg="del">
          <ac:chgData name="Aurelien Domont" userId="6da7715ce44349b3" providerId="LiveId" clId="{29D6A56D-AB0D-41B6-B017-3803A210466B}" dt="2022-11-29T03:16:51.074" v="3818" actId="478"/>
          <ac:spMkLst>
            <pc:docMk/>
            <pc:sldMk cId="2129650632" sldId="2232"/>
            <ac:spMk id="11" creationId="{396683CE-C2F6-4990-BA65-5E87ED73768C}"/>
          </ac:spMkLst>
        </pc:spChg>
        <pc:spChg chg="del">
          <ac:chgData name="Aurelien Domont" userId="6da7715ce44349b3" providerId="LiveId" clId="{29D6A56D-AB0D-41B6-B017-3803A210466B}" dt="2022-11-29T03:16:51.074" v="3818" actId="478"/>
          <ac:spMkLst>
            <pc:docMk/>
            <pc:sldMk cId="2129650632" sldId="2232"/>
            <ac:spMk id="12" creationId="{81F2281D-E4F7-4810-BF24-5FBB0FC1DE84}"/>
          </ac:spMkLst>
        </pc:spChg>
        <pc:spChg chg="del">
          <ac:chgData name="Aurelien Domont" userId="6da7715ce44349b3" providerId="LiveId" clId="{29D6A56D-AB0D-41B6-B017-3803A210466B}" dt="2022-11-29T03:16:51.074" v="3818" actId="478"/>
          <ac:spMkLst>
            <pc:docMk/>
            <pc:sldMk cId="2129650632" sldId="2232"/>
            <ac:spMk id="45" creationId="{C40ABB58-A617-4C1D-B300-D06F0DBE43C3}"/>
          </ac:spMkLst>
        </pc:spChg>
      </pc:sldChg>
      <pc:sldChg chg="addSp modSp add del mod">
        <pc:chgData name="Aurelien Domont" userId="6da7715ce44349b3" providerId="LiveId" clId="{29D6A56D-AB0D-41B6-B017-3803A210466B}" dt="2021-08-09T04:36:08.869" v="3370" actId="47"/>
        <pc:sldMkLst>
          <pc:docMk/>
          <pc:sldMk cId="4018146897" sldId="2232"/>
        </pc:sldMkLst>
        <pc:spChg chg="add mod">
          <ac:chgData name="Aurelien Domont" userId="6da7715ce44349b3" providerId="LiveId" clId="{29D6A56D-AB0D-41B6-B017-3803A210466B}" dt="2021-08-09T03:59:17.048" v="2644" actId="1076"/>
          <ac:spMkLst>
            <pc:docMk/>
            <pc:sldMk cId="4018146897" sldId="2232"/>
            <ac:spMk id="2" creationId="{7F0FA669-67C7-4354-BA6F-3E3991E20DD8}"/>
          </ac:spMkLst>
        </pc:spChg>
        <pc:spChg chg="mod">
          <ac:chgData name="Aurelien Domont" userId="6da7715ce44349b3" providerId="LiveId" clId="{29D6A56D-AB0D-41B6-B017-3803A210466B}" dt="2021-08-09T03:54:23.374" v="2445" actId="12"/>
          <ac:spMkLst>
            <pc:docMk/>
            <pc:sldMk cId="4018146897" sldId="2232"/>
            <ac:spMk id="10" creationId="{F6F130AE-016B-49E7-B056-02422308B35C}"/>
          </ac:spMkLst>
        </pc:spChg>
        <pc:spChg chg="mod">
          <ac:chgData name="Aurelien Domont" userId="6da7715ce44349b3" providerId="LiveId" clId="{29D6A56D-AB0D-41B6-B017-3803A210466B}" dt="2021-08-09T03:59:40.957" v="2653" actId="12"/>
          <ac:spMkLst>
            <pc:docMk/>
            <pc:sldMk cId="4018146897" sldId="2232"/>
            <ac:spMk id="11" creationId="{381FC75F-03AC-4E06-95A5-77AA464D139B}"/>
          </ac:spMkLst>
        </pc:spChg>
        <pc:spChg chg="mod">
          <ac:chgData name="Aurelien Domont" userId="6da7715ce44349b3" providerId="LiveId" clId="{29D6A56D-AB0D-41B6-B017-3803A210466B}" dt="2021-08-09T03:58:48.920" v="2622" actId="12"/>
          <ac:spMkLst>
            <pc:docMk/>
            <pc:sldMk cId="4018146897" sldId="2232"/>
            <ac:spMk id="12" creationId="{F22BF9F2-93B5-4D57-85D0-BA4BB3074ECE}"/>
          </ac:spMkLst>
        </pc:spChg>
        <pc:spChg chg="mod">
          <ac:chgData name="Aurelien Domont" userId="6da7715ce44349b3" providerId="LiveId" clId="{29D6A56D-AB0D-41B6-B017-3803A210466B}" dt="2021-08-09T03:56:53.908" v="2540" actId="12"/>
          <ac:spMkLst>
            <pc:docMk/>
            <pc:sldMk cId="4018146897" sldId="2232"/>
            <ac:spMk id="46" creationId="{ECF957D7-D8F3-458B-821C-47577E93E4F6}"/>
          </ac:spMkLst>
        </pc:spChg>
      </pc:sldChg>
      <pc:sldChg chg="addSp modSp add del mod ord">
        <pc:chgData name="Aurelien Domont" userId="6da7715ce44349b3" providerId="LiveId" clId="{29D6A56D-AB0D-41B6-B017-3803A210466B}" dt="2021-08-09T04:36:08.170" v="3369" actId="47"/>
        <pc:sldMkLst>
          <pc:docMk/>
          <pc:sldMk cId="829720631" sldId="2233"/>
        </pc:sldMkLst>
        <pc:spChg chg="mod">
          <ac:chgData name="Aurelien Domont" userId="6da7715ce44349b3" providerId="LiveId" clId="{29D6A56D-AB0D-41B6-B017-3803A210466B}" dt="2021-08-09T04:18:58.203" v="3103" actId="12"/>
          <ac:spMkLst>
            <pc:docMk/>
            <pc:sldMk cId="829720631" sldId="2233"/>
            <ac:spMk id="10" creationId="{F6F130AE-016B-49E7-B056-02422308B35C}"/>
          </ac:spMkLst>
        </pc:spChg>
        <pc:spChg chg="add mod">
          <ac:chgData name="Aurelien Domont" userId="6da7715ce44349b3" providerId="LiveId" clId="{29D6A56D-AB0D-41B6-B017-3803A210466B}" dt="2021-08-09T04:02:30.843" v="2735"/>
          <ac:spMkLst>
            <pc:docMk/>
            <pc:sldMk cId="829720631" sldId="2233"/>
            <ac:spMk id="14" creationId="{67833766-A61A-4828-B350-EA238155382E}"/>
          </ac:spMkLst>
        </pc:spChg>
        <pc:spChg chg="mod">
          <ac:chgData name="Aurelien Domont" userId="6da7715ce44349b3" providerId="LiveId" clId="{29D6A56D-AB0D-41B6-B017-3803A210466B}" dt="2021-08-09T04:21:46.206" v="3193" actId="12"/>
          <ac:spMkLst>
            <pc:docMk/>
            <pc:sldMk cId="829720631" sldId="2233"/>
            <ac:spMk id="46" creationId="{ECF957D7-D8F3-458B-821C-47577E93E4F6}"/>
          </ac:spMkLst>
        </pc:spChg>
      </pc:sldChg>
      <pc:sldChg chg="addSp delSp modSp add mod">
        <pc:chgData name="Aurelien Domont" userId="6da7715ce44349b3" providerId="LiveId" clId="{29D6A56D-AB0D-41B6-B017-3803A210466B}" dt="2023-01-12T04:50:25.742" v="7480" actId="1036"/>
        <pc:sldMkLst>
          <pc:docMk/>
          <pc:sldMk cId="1203735008" sldId="2233"/>
        </pc:sldMkLst>
        <pc:spChg chg="del mod">
          <ac:chgData name="Aurelien Domont" userId="6da7715ce44349b3" providerId="LiveId" clId="{29D6A56D-AB0D-41B6-B017-3803A210466B}" dt="2022-12-22T01:54:35.981" v="6361" actId="478"/>
          <ac:spMkLst>
            <pc:docMk/>
            <pc:sldMk cId="1203735008" sldId="2233"/>
            <ac:spMk id="2" creationId="{7E6D99B0-CE8F-05A5-1BA3-4A20C3C3A0E1}"/>
          </ac:spMkLst>
        </pc:spChg>
        <pc:spChg chg="add mod">
          <ac:chgData name="Aurelien Domont" userId="6da7715ce44349b3" providerId="LiveId" clId="{29D6A56D-AB0D-41B6-B017-3803A210466B}" dt="2023-01-12T04:50:25.742" v="7480" actId="1036"/>
          <ac:spMkLst>
            <pc:docMk/>
            <pc:sldMk cId="1203735008" sldId="2233"/>
            <ac:spMk id="2" creationId="{D94CA5E2-DC9A-974F-568B-3F150BB05731}"/>
          </ac:spMkLst>
        </pc:spChg>
        <pc:spChg chg="add mod">
          <ac:chgData name="Aurelien Domont" userId="6da7715ce44349b3" providerId="LiveId" clId="{29D6A56D-AB0D-41B6-B017-3803A210466B}" dt="2023-01-12T04:50:25.742" v="7480" actId="1036"/>
          <ac:spMkLst>
            <pc:docMk/>
            <pc:sldMk cId="1203735008" sldId="2233"/>
            <ac:spMk id="3" creationId="{031230EE-BD61-E848-7557-CA81844C95D7}"/>
          </ac:spMkLst>
        </pc:spChg>
        <pc:spChg chg="del mod">
          <ac:chgData name="Aurelien Domont" userId="6da7715ce44349b3" providerId="LiveId" clId="{29D6A56D-AB0D-41B6-B017-3803A210466B}" dt="2022-12-22T01:54:35.981" v="6361" actId="478"/>
          <ac:spMkLst>
            <pc:docMk/>
            <pc:sldMk cId="1203735008" sldId="2233"/>
            <ac:spMk id="3" creationId="{DE037F3C-B820-661C-4E4B-9BC8ED69158B}"/>
          </ac:spMkLst>
        </pc:spChg>
        <pc:spChg chg="del mod">
          <ac:chgData name="Aurelien Domont" userId="6da7715ce44349b3" providerId="LiveId" clId="{29D6A56D-AB0D-41B6-B017-3803A210466B}" dt="2022-12-22T01:54:35.981" v="6361" actId="478"/>
          <ac:spMkLst>
            <pc:docMk/>
            <pc:sldMk cId="1203735008" sldId="2233"/>
            <ac:spMk id="4" creationId="{51311BAA-435E-21FF-370E-CF4EF40611B2}"/>
          </ac:spMkLst>
        </pc:spChg>
        <pc:spChg chg="add mod">
          <ac:chgData name="Aurelien Domont" userId="6da7715ce44349b3" providerId="LiveId" clId="{29D6A56D-AB0D-41B6-B017-3803A210466B}" dt="2023-01-12T04:50:25.742" v="7480" actId="1036"/>
          <ac:spMkLst>
            <pc:docMk/>
            <pc:sldMk cId="1203735008" sldId="2233"/>
            <ac:spMk id="4" creationId="{D601CAFE-6BB8-1B4B-A074-F7F090261945}"/>
          </ac:spMkLst>
        </pc:spChg>
        <pc:spChg chg="add mod">
          <ac:chgData name="Aurelien Domont" userId="6da7715ce44349b3" providerId="LiveId" clId="{29D6A56D-AB0D-41B6-B017-3803A210466B}" dt="2022-11-29T03:49:02.979" v="4002"/>
          <ac:spMkLst>
            <pc:docMk/>
            <pc:sldMk cId="1203735008" sldId="2233"/>
            <ac:spMk id="5" creationId="{A219F96A-F4B1-F39D-133F-DB6D8CECAFB0}"/>
          </ac:spMkLst>
        </pc:spChg>
        <pc:spChg chg="add mod">
          <ac:chgData name="Aurelien Domont" userId="6da7715ce44349b3" providerId="LiveId" clId="{29D6A56D-AB0D-41B6-B017-3803A210466B}" dt="2023-01-12T04:50:25.742" v="7480" actId="1036"/>
          <ac:spMkLst>
            <pc:docMk/>
            <pc:sldMk cId="1203735008" sldId="2233"/>
            <ac:spMk id="6" creationId="{27649308-7E5D-40C9-4A3A-092042ADD8B8}"/>
          </ac:spMkLst>
        </pc:spChg>
        <pc:spChg chg="del mod">
          <ac:chgData name="Aurelien Domont" userId="6da7715ce44349b3" providerId="LiveId" clId="{29D6A56D-AB0D-41B6-B017-3803A210466B}" dt="2022-12-22T01:54:35.981" v="6361" actId="478"/>
          <ac:spMkLst>
            <pc:docMk/>
            <pc:sldMk cId="1203735008" sldId="2233"/>
            <ac:spMk id="6" creationId="{DAC57BEB-E436-C9C4-E9D0-5E69ED5F674B}"/>
          </ac:spMkLst>
        </pc:spChg>
        <pc:spChg chg="del mod">
          <ac:chgData name="Aurelien Domont" userId="6da7715ce44349b3" providerId="LiveId" clId="{29D6A56D-AB0D-41B6-B017-3803A210466B}" dt="2022-12-22T01:54:35.981" v="6361" actId="478"/>
          <ac:spMkLst>
            <pc:docMk/>
            <pc:sldMk cId="1203735008" sldId="2233"/>
            <ac:spMk id="7" creationId="{3218315B-8BDE-667D-651E-28DA97D22140}"/>
          </ac:spMkLst>
        </pc:spChg>
        <pc:spChg chg="add mod">
          <ac:chgData name="Aurelien Domont" userId="6da7715ce44349b3" providerId="LiveId" clId="{29D6A56D-AB0D-41B6-B017-3803A210466B}" dt="2023-01-12T04:50:25.742" v="7480" actId="1036"/>
          <ac:spMkLst>
            <pc:docMk/>
            <pc:sldMk cId="1203735008" sldId="2233"/>
            <ac:spMk id="7" creationId="{896607FE-41E0-8EDC-0509-E9CC4CF9079B}"/>
          </ac:spMkLst>
        </pc:spChg>
        <pc:spChg chg="del mod">
          <ac:chgData name="Aurelien Domont" userId="6da7715ce44349b3" providerId="LiveId" clId="{29D6A56D-AB0D-41B6-B017-3803A210466B}" dt="2022-12-22T01:54:35.981" v="6361" actId="478"/>
          <ac:spMkLst>
            <pc:docMk/>
            <pc:sldMk cId="1203735008" sldId="2233"/>
            <ac:spMk id="8" creationId="{14A688DE-571B-EE46-0482-B2EEF634FAA0}"/>
          </ac:spMkLst>
        </pc:spChg>
        <pc:spChg chg="add mod">
          <ac:chgData name="Aurelien Domont" userId="6da7715ce44349b3" providerId="LiveId" clId="{29D6A56D-AB0D-41B6-B017-3803A210466B}" dt="2023-01-12T04:50:25.742" v="7480" actId="1036"/>
          <ac:spMkLst>
            <pc:docMk/>
            <pc:sldMk cId="1203735008" sldId="2233"/>
            <ac:spMk id="8" creationId="{2849E573-1E53-8138-A997-8423614879D8}"/>
          </ac:spMkLst>
        </pc:spChg>
        <pc:spChg chg="add mod">
          <ac:chgData name="Aurelien Domont" userId="6da7715ce44349b3" providerId="LiveId" clId="{29D6A56D-AB0D-41B6-B017-3803A210466B}" dt="2023-01-12T04:50:25.742" v="7480" actId="1036"/>
          <ac:spMkLst>
            <pc:docMk/>
            <pc:sldMk cId="1203735008" sldId="2233"/>
            <ac:spMk id="9" creationId="{AEE3211B-9B19-FC97-57D5-741F260DD883}"/>
          </ac:spMkLst>
        </pc:spChg>
        <pc:spChg chg="del mod">
          <ac:chgData name="Aurelien Domont" userId="6da7715ce44349b3" providerId="LiveId" clId="{29D6A56D-AB0D-41B6-B017-3803A210466B}" dt="2022-12-22T01:54:35.981" v="6361" actId="478"/>
          <ac:spMkLst>
            <pc:docMk/>
            <pc:sldMk cId="1203735008" sldId="2233"/>
            <ac:spMk id="9" creationId="{CC40CBC3-F2A3-CEC1-446D-60A32B1CBF65}"/>
          </ac:spMkLst>
        </pc:spChg>
        <pc:spChg chg="add mod">
          <ac:chgData name="Aurelien Domont" userId="6da7715ce44349b3" providerId="LiveId" clId="{29D6A56D-AB0D-41B6-B017-3803A210466B}" dt="2023-01-12T04:50:25.742" v="7480" actId="1036"/>
          <ac:spMkLst>
            <pc:docMk/>
            <pc:sldMk cId="1203735008" sldId="2233"/>
            <ac:spMk id="10" creationId="{1573E357-CB63-3DB7-EC12-05A4CB97DBC6}"/>
          </ac:spMkLst>
        </pc:spChg>
        <pc:spChg chg="add mod">
          <ac:chgData name="Aurelien Domont" userId="6da7715ce44349b3" providerId="LiveId" clId="{29D6A56D-AB0D-41B6-B017-3803A210466B}" dt="2023-01-12T04:50:25.742" v="7480" actId="1036"/>
          <ac:spMkLst>
            <pc:docMk/>
            <pc:sldMk cId="1203735008" sldId="2233"/>
            <ac:spMk id="11" creationId="{61C6BB3E-C380-9A95-AA14-C542CCA1A594}"/>
          </ac:spMkLst>
        </pc:spChg>
        <pc:spChg chg="add mod">
          <ac:chgData name="Aurelien Domont" userId="6da7715ce44349b3" providerId="LiveId" clId="{29D6A56D-AB0D-41B6-B017-3803A210466B}" dt="2023-01-12T04:50:25.742" v="7480" actId="1036"/>
          <ac:spMkLst>
            <pc:docMk/>
            <pc:sldMk cId="1203735008" sldId="2233"/>
            <ac:spMk id="12" creationId="{6F154BA1-0F52-81DC-49DE-3A2B003A2CCD}"/>
          </ac:spMkLst>
        </pc:spChg>
        <pc:spChg chg="add mod">
          <ac:chgData name="Aurelien Domont" userId="6da7715ce44349b3" providerId="LiveId" clId="{29D6A56D-AB0D-41B6-B017-3803A210466B}" dt="2023-01-12T04:50:25.742" v="7480" actId="1036"/>
          <ac:spMkLst>
            <pc:docMk/>
            <pc:sldMk cId="1203735008" sldId="2233"/>
            <ac:spMk id="14" creationId="{571085C8-C9D7-0D19-69BC-F77C27D02AD9}"/>
          </ac:spMkLst>
        </pc:spChg>
        <pc:spChg chg="add mod">
          <ac:chgData name="Aurelien Domont" userId="6da7715ce44349b3" providerId="LiveId" clId="{29D6A56D-AB0D-41B6-B017-3803A210466B}" dt="2023-01-12T04:50:25.742" v="7480" actId="1036"/>
          <ac:spMkLst>
            <pc:docMk/>
            <pc:sldMk cId="1203735008" sldId="2233"/>
            <ac:spMk id="15" creationId="{51F58C69-DF56-C3F9-1304-689C5D35FC8E}"/>
          </ac:spMkLst>
        </pc:spChg>
        <pc:spChg chg="mod">
          <ac:chgData name="Aurelien Domont" userId="6da7715ce44349b3" providerId="LiveId" clId="{29D6A56D-AB0D-41B6-B017-3803A210466B}" dt="2022-11-29T04:16:32.118" v="4818" actId="20577"/>
          <ac:spMkLst>
            <pc:docMk/>
            <pc:sldMk cId="1203735008" sldId="2233"/>
            <ac:spMk id="16" creationId="{6C2BB713-9637-4B9B-938F-E9768876782A}"/>
          </ac:spMkLst>
        </pc:spChg>
        <pc:spChg chg="add mod">
          <ac:chgData name="Aurelien Domont" userId="6da7715ce44349b3" providerId="LiveId" clId="{29D6A56D-AB0D-41B6-B017-3803A210466B}" dt="2023-01-12T04:50:25.742" v="7480" actId="1036"/>
          <ac:spMkLst>
            <pc:docMk/>
            <pc:sldMk cId="1203735008" sldId="2233"/>
            <ac:spMk id="17" creationId="{6D98DD28-3A3A-475E-FC3B-CAF1E0DCA4D0}"/>
          </ac:spMkLst>
        </pc:spChg>
        <pc:spChg chg="add mod">
          <ac:chgData name="Aurelien Domont" userId="6da7715ce44349b3" providerId="LiveId" clId="{29D6A56D-AB0D-41B6-B017-3803A210466B}" dt="2023-01-12T04:50:25.742" v="7480" actId="1036"/>
          <ac:spMkLst>
            <pc:docMk/>
            <pc:sldMk cId="1203735008" sldId="2233"/>
            <ac:spMk id="18" creationId="{6D2822B5-3889-FC67-C4AA-0A87FE4AD423}"/>
          </ac:spMkLst>
        </pc:spChg>
        <pc:spChg chg="add mod">
          <ac:chgData name="Aurelien Domont" userId="6da7715ce44349b3" providerId="LiveId" clId="{29D6A56D-AB0D-41B6-B017-3803A210466B}" dt="2023-01-12T04:50:25.742" v="7480" actId="1036"/>
          <ac:spMkLst>
            <pc:docMk/>
            <pc:sldMk cId="1203735008" sldId="2233"/>
            <ac:spMk id="19" creationId="{118779F3-396B-EBE9-7F1A-0D2380140C1E}"/>
          </ac:spMkLst>
        </pc:spChg>
        <pc:spChg chg="del">
          <ac:chgData name="Aurelien Domont" userId="6da7715ce44349b3" providerId="LiveId" clId="{29D6A56D-AB0D-41B6-B017-3803A210466B}" dt="2022-12-22T01:54:35.981" v="6361" actId="478"/>
          <ac:spMkLst>
            <pc:docMk/>
            <pc:sldMk cId="1203735008" sldId="2233"/>
            <ac:spMk id="19" creationId="{B9B831E6-026E-45F7-3998-4E1D68F5DCB8}"/>
          </ac:spMkLst>
        </pc:spChg>
        <pc:spChg chg="del">
          <ac:chgData name="Aurelien Domont" userId="6da7715ce44349b3" providerId="LiveId" clId="{29D6A56D-AB0D-41B6-B017-3803A210466B}" dt="2022-12-22T01:54:35.981" v="6361" actId="478"/>
          <ac:spMkLst>
            <pc:docMk/>
            <pc:sldMk cId="1203735008" sldId="2233"/>
            <ac:spMk id="20" creationId="{7F43EDBD-1F49-E1F2-2ACC-0BD0B6D74466}"/>
          </ac:spMkLst>
        </pc:spChg>
        <pc:spChg chg="add mod">
          <ac:chgData name="Aurelien Domont" userId="6da7715ce44349b3" providerId="LiveId" clId="{29D6A56D-AB0D-41B6-B017-3803A210466B}" dt="2023-01-12T04:50:25.742" v="7480" actId="1036"/>
          <ac:spMkLst>
            <pc:docMk/>
            <pc:sldMk cId="1203735008" sldId="2233"/>
            <ac:spMk id="20" creationId="{A68F1A8D-CDB7-DB55-4955-2BC8CCA3AD45}"/>
          </ac:spMkLst>
        </pc:spChg>
        <pc:spChg chg="del">
          <ac:chgData name="Aurelien Domont" userId="6da7715ce44349b3" providerId="LiveId" clId="{29D6A56D-AB0D-41B6-B017-3803A210466B}" dt="2022-12-22T01:54:35.981" v="6361" actId="478"/>
          <ac:spMkLst>
            <pc:docMk/>
            <pc:sldMk cId="1203735008" sldId="2233"/>
            <ac:spMk id="21" creationId="{0ED5CEB0-3F32-5599-CC4E-DF3049F1F031}"/>
          </ac:spMkLst>
        </pc:spChg>
        <pc:spChg chg="add mod">
          <ac:chgData name="Aurelien Domont" userId="6da7715ce44349b3" providerId="LiveId" clId="{29D6A56D-AB0D-41B6-B017-3803A210466B}" dt="2023-01-12T04:50:25.742" v="7480" actId="1036"/>
          <ac:spMkLst>
            <pc:docMk/>
            <pc:sldMk cId="1203735008" sldId="2233"/>
            <ac:spMk id="21" creationId="{66F0DAB8-53E8-17C9-4DD0-E8AF7C2E52E1}"/>
          </ac:spMkLst>
        </pc:spChg>
        <pc:spChg chg="del">
          <ac:chgData name="Aurelien Domont" userId="6da7715ce44349b3" providerId="LiveId" clId="{29D6A56D-AB0D-41B6-B017-3803A210466B}" dt="2022-12-22T01:54:35.981" v="6361" actId="478"/>
          <ac:spMkLst>
            <pc:docMk/>
            <pc:sldMk cId="1203735008" sldId="2233"/>
            <ac:spMk id="22" creationId="{89D9EC98-DAB3-157F-6EDF-5F4C7C14C82F}"/>
          </ac:spMkLst>
        </pc:spChg>
        <pc:spChg chg="del">
          <ac:chgData name="Aurelien Domont" userId="6da7715ce44349b3" providerId="LiveId" clId="{29D6A56D-AB0D-41B6-B017-3803A210466B}" dt="2022-12-22T01:54:35.981" v="6361" actId="478"/>
          <ac:spMkLst>
            <pc:docMk/>
            <pc:sldMk cId="1203735008" sldId="2233"/>
            <ac:spMk id="23" creationId="{FE7A27EA-0604-CAC3-7BBB-B9C93DCFBA6F}"/>
          </ac:spMkLst>
        </pc:spChg>
        <pc:spChg chg="del">
          <ac:chgData name="Aurelien Domont" userId="6da7715ce44349b3" providerId="LiveId" clId="{29D6A56D-AB0D-41B6-B017-3803A210466B}" dt="2022-12-22T01:54:35.981" v="6361" actId="478"/>
          <ac:spMkLst>
            <pc:docMk/>
            <pc:sldMk cId="1203735008" sldId="2233"/>
            <ac:spMk id="24" creationId="{CDBD92EB-EDFF-D257-7856-324A95EF1667}"/>
          </ac:spMkLst>
        </pc:spChg>
        <pc:spChg chg="del">
          <ac:chgData name="Aurelien Domont" userId="6da7715ce44349b3" providerId="LiveId" clId="{29D6A56D-AB0D-41B6-B017-3803A210466B}" dt="2022-12-22T01:54:35.981" v="6361" actId="478"/>
          <ac:spMkLst>
            <pc:docMk/>
            <pc:sldMk cId="1203735008" sldId="2233"/>
            <ac:spMk id="25" creationId="{95F6EACB-8789-3C37-EFF2-11EF015E9F52}"/>
          </ac:spMkLst>
        </pc:spChg>
        <pc:spChg chg="del">
          <ac:chgData name="Aurelien Domont" userId="6da7715ce44349b3" providerId="LiveId" clId="{29D6A56D-AB0D-41B6-B017-3803A210466B}" dt="2022-12-22T01:54:35.981" v="6361" actId="478"/>
          <ac:spMkLst>
            <pc:docMk/>
            <pc:sldMk cId="1203735008" sldId="2233"/>
            <ac:spMk id="26" creationId="{684C933A-2E41-F646-9FDA-487EBF98716C}"/>
          </ac:spMkLst>
        </pc:spChg>
        <pc:spChg chg="del">
          <ac:chgData name="Aurelien Domont" userId="6da7715ce44349b3" providerId="LiveId" clId="{29D6A56D-AB0D-41B6-B017-3803A210466B}" dt="2022-12-22T01:54:35.981" v="6361" actId="478"/>
          <ac:spMkLst>
            <pc:docMk/>
            <pc:sldMk cId="1203735008" sldId="2233"/>
            <ac:spMk id="27" creationId="{60F64642-2B02-EA7F-F6F4-A95EE39AB343}"/>
          </ac:spMkLst>
        </pc:spChg>
        <pc:spChg chg="del">
          <ac:chgData name="Aurelien Domont" userId="6da7715ce44349b3" providerId="LiveId" clId="{29D6A56D-AB0D-41B6-B017-3803A210466B}" dt="2022-12-22T01:54:35.981" v="6361" actId="478"/>
          <ac:spMkLst>
            <pc:docMk/>
            <pc:sldMk cId="1203735008" sldId="2233"/>
            <ac:spMk id="28" creationId="{E7E304D2-C332-7A0F-68BA-882D8BB64007}"/>
          </ac:spMkLst>
        </pc:spChg>
        <pc:spChg chg="add del mod">
          <ac:chgData name="Aurelien Domont" userId="6da7715ce44349b3" providerId="LiveId" clId="{29D6A56D-AB0D-41B6-B017-3803A210466B}" dt="2023-01-12T04:49:13.810" v="7467" actId="478"/>
          <ac:spMkLst>
            <pc:docMk/>
            <pc:sldMk cId="1203735008" sldId="2233"/>
            <ac:spMk id="31" creationId="{73595C66-47CA-2478-3076-82762DE7E436}"/>
          </ac:spMkLst>
        </pc:spChg>
        <pc:spChg chg="mod">
          <ac:chgData name="Aurelien Domont" userId="6da7715ce44349b3" providerId="LiveId" clId="{29D6A56D-AB0D-41B6-B017-3803A210466B}" dt="2023-01-12T04:49:58.636" v="7468"/>
          <ac:spMkLst>
            <pc:docMk/>
            <pc:sldMk cId="1203735008" sldId="2233"/>
            <ac:spMk id="32" creationId="{47CCFDBB-2D3B-B0F5-68EE-0C28E6014EA1}"/>
          </ac:spMkLst>
        </pc:spChg>
        <pc:spChg chg="mod">
          <ac:chgData name="Aurelien Domont" userId="6da7715ce44349b3" providerId="LiveId" clId="{29D6A56D-AB0D-41B6-B017-3803A210466B}" dt="2023-01-12T04:49:58.636" v="7468"/>
          <ac:spMkLst>
            <pc:docMk/>
            <pc:sldMk cId="1203735008" sldId="2233"/>
            <ac:spMk id="33" creationId="{6216BCD9-040A-445C-E08B-46709711FE18}"/>
          </ac:spMkLst>
        </pc:spChg>
        <pc:spChg chg="add del mod">
          <ac:chgData name="Aurelien Domont" userId="6da7715ce44349b3" providerId="LiveId" clId="{29D6A56D-AB0D-41B6-B017-3803A210466B}" dt="2023-01-12T04:49:13.810" v="7467" actId="478"/>
          <ac:spMkLst>
            <pc:docMk/>
            <pc:sldMk cId="1203735008" sldId="2233"/>
            <ac:spMk id="34" creationId="{7C2884FF-4D15-7318-3B9D-E6E5E172789E}"/>
          </ac:spMkLst>
        </pc:spChg>
        <pc:spChg chg="add del mod">
          <ac:chgData name="Aurelien Domont" userId="6da7715ce44349b3" providerId="LiveId" clId="{29D6A56D-AB0D-41B6-B017-3803A210466B}" dt="2023-01-12T04:49:13.810" v="7467" actId="478"/>
          <ac:spMkLst>
            <pc:docMk/>
            <pc:sldMk cId="1203735008" sldId="2233"/>
            <ac:spMk id="35" creationId="{7939A827-C8C8-84DA-83B9-B5D4AF45B9A7}"/>
          </ac:spMkLst>
        </pc:spChg>
        <pc:spChg chg="add del mod">
          <ac:chgData name="Aurelien Domont" userId="6da7715ce44349b3" providerId="LiveId" clId="{29D6A56D-AB0D-41B6-B017-3803A210466B}" dt="2023-01-12T04:49:13.810" v="7467" actId="478"/>
          <ac:spMkLst>
            <pc:docMk/>
            <pc:sldMk cId="1203735008" sldId="2233"/>
            <ac:spMk id="36" creationId="{8B9C7A79-2353-87EF-0ACD-CE9FE5DD09F7}"/>
          </ac:spMkLst>
        </pc:spChg>
        <pc:spChg chg="add del mod">
          <ac:chgData name="Aurelien Domont" userId="6da7715ce44349b3" providerId="LiveId" clId="{29D6A56D-AB0D-41B6-B017-3803A210466B}" dt="2023-01-12T04:49:13.810" v="7467" actId="478"/>
          <ac:spMkLst>
            <pc:docMk/>
            <pc:sldMk cId="1203735008" sldId="2233"/>
            <ac:spMk id="37" creationId="{32FF40C7-B8FB-3B25-49C5-A76EC0D4667F}"/>
          </ac:spMkLst>
        </pc:spChg>
        <pc:spChg chg="add del mod">
          <ac:chgData name="Aurelien Domont" userId="6da7715ce44349b3" providerId="LiveId" clId="{29D6A56D-AB0D-41B6-B017-3803A210466B}" dt="2023-01-12T04:49:13.810" v="7467" actId="478"/>
          <ac:spMkLst>
            <pc:docMk/>
            <pc:sldMk cId="1203735008" sldId="2233"/>
            <ac:spMk id="38" creationId="{9160E313-AA74-FF7B-F247-A16B16913466}"/>
          </ac:spMkLst>
        </pc:spChg>
        <pc:spChg chg="add del mod">
          <ac:chgData name="Aurelien Domont" userId="6da7715ce44349b3" providerId="LiveId" clId="{29D6A56D-AB0D-41B6-B017-3803A210466B}" dt="2023-01-12T04:49:13.810" v="7467" actId="478"/>
          <ac:spMkLst>
            <pc:docMk/>
            <pc:sldMk cId="1203735008" sldId="2233"/>
            <ac:spMk id="39" creationId="{3AC323F2-D03F-64F0-D159-A2869B83713B}"/>
          </ac:spMkLst>
        </pc:spChg>
        <pc:spChg chg="add del mod">
          <ac:chgData name="Aurelien Domont" userId="6da7715ce44349b3" providerId="LiveId" clId="{29D6A56D-AB0D-41B6-B017-3803A210466B}" dt="2023-01-12T04:49:13.810" v="7467" actId="478"/>
          <ac:spMkLst>
            <pc:docMk/>
            <pc:sldMk cId="1203735008" sldId="2233"/>
            <ac:spMk id="40" creationId="{BAAF6348-3EAB-51E5-C0FC-5B18E8C1661B}"/>
          </ac:spMkLst>
        </pc:spChg>
        <pc:spChg chg="add del mod">
          <ac:chgData name="Aurelien Domont" userId="6da7715ce44349b3" providerId="LiveId" clId="{29D6A56D-AB0D-41B6-B017-3803A210466B}" dt="2023-01-12T04:49:13.810" v="7467" actId="478"/>
          <ac:spMkLst>
            <pc:docMk/>
            <pc:sldMk cId="1203735008" sldId="2233"/>
            <ac:spMk id="41" creationId="{EFAAEFF0-3914-D7C6-AA70-CAE1B8BE2BCF}"/>
          </ac:spMkLst>
        </pc:spChg>
        <pc:spChg chg="add del mod">
          <ac:chgData name="Aurelien Domont" userId="6da7715ce44349b3" providerId="LiveId" clId="{29D6A56D-AB0D-41B6-B017-3803A210466B}" dt="2023-01-12T04:49:13.810" v="7467" actId="478"/>
          <ac:spMkLst>
            <pc:docMk/>
            <pc:sldMk cId="1203735008" sldId="2233"/>
            <ac:spMk id="42" creationId="{C4746256-1456-CB31-0DF5-1FC6B0F8DD02}"/>
          </ac:spMkLst>
        </pc:spChg>
        <pc:spChg chg="add del mod">
          <ac:chgData name="Aurelien Domont" userId="6da7715ce44349b3" providerId="LiveId" clId="{29D6A56D-AB0D-41B6-B017-3803A210466B}" dt="2023-01-12T04:49:13.810" v="7467" actId="478"/>
          <ac:spMkLst>
            <pc:docMk/>
            <pc:sldMk cId="1203735008" sldId="2233"/>
            <ac:spMk id="43" creationId="{06292659-919C-AE7D-557E-53D6D3E1029B}"/>
          </ac:spMkLst>
        </pc:spChg>
        <pc:spChg chg="add del mod">
          <ac:chgData name="Aurelien Domont" userId="6da7715ce44349b3" providerId="LiveId" clId="{29D6A56D-AB0D-41B6-B017-3803A210466B}" dt="2023-01-12T04:49:13.810" v="7467" actId="478"/>
          <ac:spMkLst>
            <pc:docMk/>
            <pc:sldMk cId="1203735008" sldId="2233"/>
            <ac:spMk id="44" creationId="{2FFC599C-0A4D-1041-2AF9-035CA1D46D0B}"/>
          </ac:spMkLst>
        </pc:spChg>
        <pc:spChg chg="add del mod">
          <ac:chgData name="Aurelien Domont" userId="6da7715ce44349b3" providerId="LiveId" clId="{29D6A56D-AB0D-41B6-B017-3803A210466B}" dt="2023-01-12T04:49:13.810" v="7467" actId="478"/>
          <ac:spMkLst>
            <pc:docMk/>
            <pc:sldMk cId="1203735008" sldId="2233"/>
            <ac:spMk id="45" creationId="{8D66B03A-DDFB-1A07-7FC4-99EF086AC5A9}"/>
          </ac:spMkLst>
        </pc:spChg>
        <pc:spChg chg="add del mod">
          <ac:chgData name="Aurelien Domont" userId="6da7715ce44349b3" providerId="LiveId" clId="{29D6A56D-AB0D-41B6-B017-3803A210466B}" dt="2023-01-12T04:49:13.810" v="7467" actId="478"/>
          <ac:spMkLst>
            <pc:docMk/>
            <pc:sldMk cId="1203735008" sldId="2233"/>
            <ac:spMk id="46" creationId="{91AB82ED-FA77-63B7-2F4C-11C62F1459BE}"/>
          </ac:spMkLst>
        </pc:spChg>
        <pc:spChg chg="add del mod">
          <ac:chgData name="Aurelien Domont" userId="6da7715ce44349b3" providerId="LiveId" clId="{29D6A56D-AB0D-41B6-B017-3803A210466B}" dt="2023-01-12T04:49:13.810" v="7467" actId="478"/>
          <ac:spMkLst>
            <pc:docMk/>
            <pc:sldMk cId="1203735008" sldId="2233"/>
            <ac:spMk id="47" creationId="{D48F2D35-A6E0-1B11-DA02-84BCAE19A4FA}"/>
          </ac:spMkLst>
        </pc:spChg>
        <pc:spChg chg="add del mod">
          <ac:chgData name="Aurelien Domont" userId="6da7715ce44349b3" providerId="LiveId" clId="{29D6A56D-AB0D-41B6-B017-3803A210466B}" dt="2023-01-12T04:49:13.810" v="7467" actId="478"/>
          <ac:spMkLst>
            <pc:docMk/>
            <pc:sldMk cId="1203735008" sldId="2233"/>
            <ac:spMk id="48" creationId="{D0ADA479-E529-1AFF-A79D-852632C5E313}"/>
          </ac:spMkLst>
        </pc:spChg>
        <pc:spChg chg="add del mod">
          <ac:chgData name="Aurelien Domont" userId="6da7715ce44349b3" providerId="LiveId" clId="{29D6A56D-AB0D-41B6-B017-3803A210466B}" dt="2023-01-12T04:49:13.810" v="7467" actId="478"/>
          <ac:spMkLst>
            <pc:docMk/>
            <pc:sldMk cId="1203735008" sldId="2233"/>
            <ac:spMk id="49" creationId="{82D3E930-280B-2893-56B2-213D2E984D97}"/>
          </ac:spMkLst>
        </pc:spChg>
        <pc:spChg chg="mod">
          <ac:chgData name="Aurelien Domont" userId="6da7715ce44349b3" providerId="LiveId" clId="{29D6A56D-AB0D-41B6-B017-3803A210466B}" dt="2023-01-12T04:49:58.636" v="7468"/>
          <ac:spMkLst>
            <pc:docMk/>
            <pc:sldMk cId="1203735008" sldId="2233"/>
            <ac:spMk id="52" creationId="{CA09AF66-0036-A674-16F2-8FD2D59C63BB}"/>
          </ac:spMkLst>
        </pc:spChg>
        <pc:spChg chg="mod">
          <ac:chgData name="Aurelien Domont" userId="6da7715ce44349b3" providerId="LiveId" clId="{29D6A56D-AB0D-41B6-B017-3803A210466B}" dt="2023-01-12T04:49:58.636" v="7468"/>
          <ac:spMkLst>
            <pc:docMk/>
            <pc:sldMk cId="1203735008" sldId="2233"/>
            <ac:spMk id="53" creationId="{C3A4D6E0-839C-08DE-8965-B641EC7D9B3A}"/>
          </ac:spMkLst>
        </pc:spChg>
        <pc:spChg chg="add mod">
          <ac:chgData name="Aurelien Domont" userId="6da7715ce44349b3" providerId="LiveId" clId="{29D6A56D-AB0D-41B6-B017-3803A210466B}" dt="2023-01-12T04:50:25.742" v="7480" actId="1036"/>
          <ac:spMkLst>
            <pc:docMk/>
            <pc:sldMk cId="1203735008" sldId="2233"/>
            <ac:spMk id="54" creationId="{B965BF39-D18E-0F74-B136-517A91280B76}"/>
          </ac:spMkLst>
        </pc:spChg>
        <pc:spChg chg="mod">
          <ac:chgData name="Aurelien Domont" userId="6da7715ce44349b3" providerId="LiveId" clId="{29D6A56D-AB0D-41B6-B017-3803A210466B}" dt="2022-12-22T01:54:36.501" v="6362"/>
          <ac:spMkLst>
            <pc:docMk/>
            <pc:sldMk cId="1203735008" sldId="2233"/>
            <ac:spMk id="67" creationId="{359FF6BE-0218-E288-7619-ABE33D44BFEE}"/>
          </ac:spMkLst>
        </pc:spChg>
        <pc:spChg chg="mod">
          <ac:chgData name="Aurelien Domont" userId="6da7715ce44349b3" providerId="LiveId" clId="{29D6A56D-AB0D-41B6-B017-3803A210466B}" dt="2022-12-22T01:54:36.501" v="6362"/>
          <ac:spMkLst>
            <pc:docMk/>
            <pc:sldMk cId="1203735008" sldId="2233"/>
            <ac:spMk id="68" creationId="{9FB5C833-49A3-5518-02A1-0B3128240E94}"/>
          </ac:spMkLst>
        </pc:spChg>
        <pc:spChg chg="mod">
          <ac:chgData name="Aurelien Domont" userId="6da7715ce44349b3" providerId="LiveId" clId="{29D6A56D-AB0D-41B6-B017-3803A210466B}" dt="2022-12-22T01:54:36.501" v="6362"/>
          <ac:spMkLst>
            <pc:docMk/>
            <pc:sldMk cId="1203735008" sldId="2233"/>
            <ac:spMk id="69" creationId="{A85C6053-20EA-0C77-7EED-014F92A491D8}"/>
          </ac:spMkLst>
        </pc:spChg>
        <pc:spChg chg="mod">
          <ac:chgData name="Aurelien Domont" userId="6da7715ce44349b3" providerId="LiveId" clId="{29D6A56D-AB0D-41B6-B017-3803A210466B}" dt="2022-12-22T01:54:36.501" v="6362"/>
          <ac:spMkLst>
            <pc:docMk/>
            <pc:sldMk cId="1203735008" sldId="2233"/>
            <ac:spMk id="70" creationId="{AD8AA6BD-F2EB-7834-235A-2234D30F360D}"/>
          </ac:spMkLst>
        </pc:spChg>
        <pc:grpChg chg="add mod">
          <ac:chgData name="Aurelien Domont" userId="6da7715ce44349b3" providerId="LiveId" clId="{29D6A56D-AB0D-41B6-B017-3803A210466B}" dt="2023-01-12T04:50:25.742" v="7480" actId="1036"/>
          <ac:grpSpMkLst>
            <pc:docMk/>
            <pc:sldMk cId="1203735008" sldId="2233"/>
            <ac:grpSpMk id="30" creationId="{C496E7FF-9945-3273-50E6-17EF753E712B}"/>
          </ac:grpSpMkLst>
        </pc:grpChg>
        <pc:grpChg chg="del">
          <ac:chgData name="Aurelien Domont" userId="6da7715ce44349b3" providerId="LiveId" clId="{29D6A56D-AB0D-41B6-B017-3803A210466B}" dt="2022-12-22T01:54:35.981" v="6361" actId="478"/>
          <ac:grpSpMkLst>
            <pc:docMk/>
            <pc:sldMk cId="1203735008" sldId="2233"/>
            <ac:grpSpMk id="54" creationId="{0A43C14D-180F-A44D-D60E-6823DB1887ED}"/>
          </ac:grpSpMkLst>
        </pc:grpChg>
        <pc:grpChg chg="add del mod">
          <ac:chgData name="Aurelien Domont" userId="6da7715ce44349b3" providerId="LiveId" clId="{29D6A56D-AB0D-41B6-B017-3803A210466B}" dt="2023-01-12T04:49:13.810" v="7467" actId="478"/>
          <ac:grpSpMkLst>
            <pc:docMk/>
            <pc:sldMk cId="1203735008" sldId="2233"/>
            <ac:grpSpMk id="66" creationId="{7FC5459F-D03A-3EC4-12C8-EFD574F9AC05}"/>
          </ac:grpSpMkLst>
        </pc:grpChg>
        <pc:picChg chg="add mod">
          <ac:chgData name="Aurelien Domont" userId="6da7715ce44349b3" providerId="LiveId" clId="{29D6A56D-AB0D-41B6-B017-3803A210466B}" dt="2023-01-12T04:50:25.742" v="7480" actId="1036"/>
          <ac:picMkLst>
            <pc:docMk/>
            <pc:sldMk cId="1203735008" sldId="2233"/>
            <ac:picMk id="22" creationId="{34D8EA00-19E8-DA60-424A-DCD4C55C8932}"/>
          </ac:picMkLst>
        </pc:picChg>
        <pc:picChg chg="add mod">
          <ac:chgData name="Aurelien Domont" userId="6da7715ce44349b3" providerId="LiveId" clId="{29D6A56D-AB0D-41B6-B017-3803A210466B}" dt="2023-01-12T04:50:25.742" v="7480" actId="1036"/>
          <ac:picMkLst>
            <pc:docMk/>
            <pc:sldMk cId="1203735008" sldId="2233"/>
            <ac:picMk id="23" creationId="{17E6A427-9512-3981-84F8-011AB90020B0}"/>
          </ac:picMkLst>
        </pc:picChg>
        <pc:picChg chg="add mod">
          <ac:chgData name="Aurelien Domont" userId="6da7715ce44349b3" providerId="LiveId" clId="{29D6A56D-AB0D-41B6-B017-3803A210466B}" dt="2023-01-12T04:50:25.742" v="7480" actId="1036"/>
          <ac:picMkLst>
            <pc:docMk/>
            <pc:sldMk cId="1203735008" sldId="2233"/>
            <ac:picMk id="24" creationId="{F7A47BA1-E075-D68D-4F2C-C47D5888B8C6}"/>
          </ac:picMkLst>
        </pc:picChg>
        <pc:picChg chg="add mod">
          <ac:chgData name="Aurelien Domont" userId="6da7715ce44349b3" providerId="LiveId" clId="{29D6A56D-AB0D-41B6-B017-3803A210466B}" dt="2023-01-12T04:50:25.742" v="7480" actId="1036"/>
          <ac:picMkLst>
            <pc:docMk/>
            <pc:sldMk cId="1203735008" sldId="2233"/>
            <ac:picMk id="25" creationId="{D0FB236E-BCC9-C3EC-1585-6DC53EEB24DB}"/>
          </ac:picMkLst>
        </pc:picChg>
        <pc:picChg chg="add mod">
          <ac:chgData name="Aurelien Domont" userId="6da7715ce44349b3" providerId="LiveId" clId="{29D6A56D-AB0D-41B6-B017-3803A210466B}" dt="2023-01-12T04:50:25.742" v="7480" actId="1036"/>
          <ac:picMkLst>
            <pc:docMk/>
            <pc:sldMk cId="1203735008" sldId="2233"/>
            <ac:picMk id="26" creationId="{12F45C6E-4C43-1DF0-59A0-CB294B266E11}"/>
          </ac:picMkLst>
        </pc:picChg>
        <pc:picChg chg="add mod">
          <ac:chgData name="Aurelien Domont" userId="6da7715ce44349b3" providerId="LiveId" clId="{29D6A56D-AB0D-41B6-B017-3803A210466B}" dt="2023-01-12T04:50:25.742" v="7480" actId="1036"/>
          <ac:picMkLst>
            <pc:docMk/>
            <pc:sldMk cId="1203735008" sldId="2233"/>
            <ac:picMk id="27" creationId="{343C6695-BCEA-2DB1-B0D5-1AB34ECAC54A}"/>
          </ac:picMkLst>
        </pc:picChg>
        <pc:picChg chg="add mod">
          <ac:chgData name="Aurelien Domont" userId="6da7715ce44349b3" providerId="LiveId" clId="{29D6A56D-AB0D-41B6-B017-3803A210466B}" dt="2023-01-12T04:50:25.742" v="7480" actId="1036"/>
          <ac:picMkLst>
            <pc:docMk/>
            <pc:sldMk cId="1203735008" sldId="2233"/>
            <ac:picMk id="28" creationId="{37843053-1691-A42E-9D0E-9422B514E283}"/>
          </ac:picMkLst>
        </pc:picChg>
        <pc:picChg chg="del">
          <ac:chgData name="Aurelien Domont" userId="6da7715ce44349b3" providerId="LiveId" clId="{29D6A56D-AB0D-41B6-B017-3803A210466B}" dt="2022-12-22T01:54:35.981" v="6361" actId="478"/>
          <ac:picMkLst>
            <pc:docMk/>
            <pc:sldMk cId="1203735008" sldId="2233"/>
            <ac:picMk id="29" creationId="{21E5706E-F901-E221-DE07-2FE9C787109E}"/>
          </ac:picMkLst>
        </pc:picChg>
        <pc:picChg chg="add mod">
          <ac:chgData name="Aurelien Domont" userId="6da7715ce44349b3" providerId="LiveId" clId="{29D6A56D-AB0D-41B6-B017-3803A210466B}" dt="2023-01-12T04:50:25.742" v="7480" actId="1036"/>
          <ac:picMkLst>
            <pc:docMk/>
            <pc:sldMk cId="1203735008" sldId="2233"/>
            <ac:picMk id="29" creationId="{E5F3F312-B451-C726-D6D9-4A3F095517D1}"/>
          </ac:picMkLst>
        </pc:picChg>
        <pc:picChg chg="del">
          <ac:chgData name="Aurelien Domont" userId="6da7715ce44349b3" providerId="LiveId" clId="{29D6A56D-AB0D-41B6-B017-3803A210466B}" dt="2022-12-22T01:54:35.981" v="6361" actId="478"/>
          <ac:picMkLst>
            <pc:docMk/>
            <pc:sldMk cId="1203735008" sldId="2233"/>
            <ac:picMk id="30" creationId="{0FA2C915-8460-B095-3F8E-8F1EA977C32A}"/>
          </ac:picMkLst>
        </pc:picChg>
        <pc:picChg chg="del">
          <ac:chgData name="Aurelien Domont" userId="6da7715ce44349b3" providerId="LiveId" clId="{29D6A56D-AB0D-41B6-B017-3803A210466B}" dt="2022-12-22T01:54:35.981" v="6361" actId="478"/>
          <ac:picMkLst>
            <pc:docMk/>
            <pc:sldMk cId="1203735008" sldId="2233"/>
            <ac:picMk id="32" creationId="{F3C3BCEF-82D4-8700-FC0B-F36A35AAA22F}"/>
          </ac:picMkLst>
        </pc:picChg>
        <pc:picChg chg="del">
          <ac:chgData name="Aurelien Domont" userId="6da7715ce44349b3" providerId="LiveId" clId="{29D6A56D-AB0D-41B6-B017-3803A210466B}" dt="2022-12-22T01:54:35.981" v="6361" actId="478"/>
          <ac:picMkLst>
            <pc:docMk/>
            <pc:sldMk cId="1203735008" sldId="2233"/>
            <ac:picMk id="33" creationId="{95F3D5DD-67C8-8F85-6A01-E891316F075E}"/>
          </ac:picMkLst>
        </pc:picChg>
        <pc:picChg chg="add del mod">
          <ac:chgData name="Aurelien Domont" userId="6da7715ce44349b3" providerId="LiveId" clId="{29D6A56D-AB0D-41B6-B017-3803A210466B}" dt="2023-01-12T04:49:13.810" v="7467" actId="478"/>
          <ac:picMkLst>
            <pc:docMk/>
            <pc:sldMk cId="1203735008" sldId="2233"/>
            <ac:picMk id="50" creationId="{F8A3AA72-E6FA-A9AE-741E-C84DA70A2CDB}"/>
          </ac:picMkLst>
        </pc:picChg>
        <pc:picChg chg="add del mod">
          <ac:chgData name="Aurelien Domont" userId="6da7715ce44349b3" providerId="LiveId" clId="{29D6A56D-AB0D-41B6-B017-3803A210466B}" dt="2023-01-12T04:49:13.810" v="7467" actId="478"/>
          <ac:picMkLst>
            <pc:docMk/>
            <pc:sldMk cId="1203735008" sldId="2233"/>
            <ac:picMk id="51" creationId="{9F1B9312-8D39-DDA1-4FDB-23FD19725AB8}"/>
          </ac:picMkLst>
        </pc:picChg>
        <pc:picChg chg="del">
          <ac:chgData name="Aurelien Domont" userId="6da7715ce44349b3" providerId="LiveId" clId="{29D6A56D-AB0D-41B6-B017-3803A210466B}" dt="2022-12-22T01:54:35.981" v="6361" actId="478"/>
          <ac:picMkLst>
            <pc:docMk/>
            <pc:sldMk cId="1203735008" sldId="2233"/>
            <ac:picMk id="52" creationId="{0B29405B-C1F4-91C0-08B4-295E9BC6B0BE}"/>
          </ac:picMkLst>
        </pc:picChg>
        <pc:picChg chg="del">
          <ac:chgData name="Aurelien Domont" userId="6da7715ce44349b3" providerId="LiveId" clId="{29D6A56D-AB0D-41B6-B017-3803A210466B}" dt="2022-12-22T01:54:35.981" v="6361" actId="478"/>
          <ac:picMkLst>
            <pc:docMk/>
            <pc:sldMk cId="1203735008" sldId="2233"/>
            <ac:picMk id="53" creationId="{1A6BA872-1A66-B82B-8BB2-A145A75EBA53}"/>
          </ac:picMkLst>
        </pc:picChg>
        <pc:picChg chg="add del mod">
          <ac:chgData name="Aurelien Domont" userId="6da7715ce44349b3" providerId="LiveId" clId="{29D6A56D-AB0D-41B6-B017-3803A210466B}" dt="2023-01-12T04:49:13.810" v="7467" actId="478"/>
          <ac:picMkLst>
            <pc:docMk/>
            <pc:sldMk cId="1203735008" sldId="2233"/>
            <ac:picMk id="60" creationId="{F76B9803-6C33-18A2-A31E-8C248A759D96}"/>
          </ac:picMkLst>
        </pc:picChg>
        <pc:picChg chg="add del mod">
          <ac:chgData name="Aurelien Domont" userId="6da7715ce44349b3" providerId="LiveId" clId="{29D6A56D-AB0D-41B6-B017-3803A210466B}" dt="2023-01-12T04:49:13.810" v="7467" actId="478"/>
          <ac:picMkLst>
            <pc:docMk/>
            <pc:sldMk cId="1203735008" sldId="2233"/>
            <ac:picMk id="61" creationId="{B9788513-155D-AF3D-A219-925EC312D86E}"/>
          </ac:picMkLst>
        </pc:picChg>
        <pc:picChg chg="add del mod">
          <ac:chgData name="Aurelien Domont" userId="6da7715ce44349b3" providerId="LiveId" clId="{29D6A56D-AB0D-41B6-B017-3803A210466B}" dt="2023-01-12T04:49:13.810" v="7467" actId="478"/>
          <ac:picMkLst>
            <pc:docMk/>
            <pc:sldMk cId="1203735008" sldId="2233"/>
            <ac:picMk id="62" creationId="{F3603B4C-4133-105D-2487-59E465A93257}"/>
          </ac:picMkLst>
        </pc:picChg>
        <pc:picChg chg="add del mod">
          <ac:chgData name="Aurelien Domont" userId="6da7715ce44349b3" providerId="LiveId" clId="{29D6A56D-AB0D-41B6-B017-3803A210466B}" dt="2023-01-12T04:49:13.810" v="7467" actId="478"/>
          <ac:picMkLst>
            <pc:docMk/>
            <pc:sldMk cId="1203735008" sldId="2233"/>
            <ac:picMk id="63" creationId="{41DD5EE1-6FB1-AB33-9293-DB228582B193}"/>
          </ac:picMkLst>
        </pc:picChg>
        <pc:picChg chg="add del mod">
          <ac:chgData name="Aurelien Domont" userId="6da7715ce44349b3" providerId="LiveId" clId="{29D6A56D-AB0D-41B6-B017-3803A210466B}" dt="2023-01-12T04:49:13.810" v="7467" actId="478"/>
          <ac:picMkLst>
            <pc:docMk/>
            <pc:sldMk cId="1203735008" sldId="2233"/>
            <ac:picMk id="64" creationId="{B13FE3F8-9F70-446B-8E56-64D2DA65EAD2}"/>
          </ac:picMkLst>
        </pc:picChg>
        <pc:picChg chg="add del mod">
          <ac:chgData name="Aurelien Domont" userId="6da7715ce44349b3" providerId="LiveId" clId="{29D6A56D-AB0D-41B6-B017-3803A210466B}" dt="2023-01-12T04:49:13.810" v="7467" actId="478"/>
          <ac:picMkLst>
            <pc:docMk/>
            <pc:sldMk cId="1203735008" sldId="2233"/>
            <ac:picMk id="65" creationId="{1EB33250-D0AF-9DA5-1BF8-C0205FFAA7EB}"/>
          </ac:picMkLst>
        </pc:picChg>
        <pc:cxnChg chg="del">
          <ac:chgData name="Aurelien Domont" userId="6da7715ce44349b3" providerId="LiveId" clId="{29D6A56D-AB0D-41B6-B017-3803A210466B}" dt="2022-12-22T01:54:35.981" v="6361" actId="478"/>
          <ac:cxnSpMkLst>
            <pc:docMk/>
            <pc:sldMk cId="1203735008" sldId="2233"/>
            <ac:cxnSpMk id="10" creationId="{C90FF42E-85FC-B14D-5BC1-6358739A2227}"/>
          </ac:cxnSpMkLst>
        </pc:cxnChg>
        <pc:cxnChg chg="del mod">
          <ac:chgData name="Aurelien Domont" userId="6da7715ce44349b3" providerId="LiveId" clId="{29D6A56D-AB0D-41B6-B017-3803A210466B}" dt="2022-12-22T01:54:35.981" v="6361" actId="478"/>
          <ac:cxnSpMkLst>
            <pc:docMk/>
            <pc:sldMk cId="1203735008" sldId="2233"/>
            <ac:cxnSpMk id="11" creationId="{AA75F6A0-5594-7AE5-06FE-E4B554345D1D}"/>
          </ac:cxnSpMkLst>
        </pc:cxnChg>
        <pc:cxnChg chg="del">
          <ac:chgData name="Aurelien Domont" userId="6da7715ce44349b3" providerId="LiveId" clId="{29D6A56D-AB0D-41B6-B017-3803A210466B}" dt="2022-12-22T01:54:35.981" v="6361" actId="478"/>
          <ac:cxnSpMkLst>
            <pc:docMk/>
            <pc:sldMk cId="1203735008" sldId="2233"/>
            <ac:cxnSpMk id="12" creationId="{FF1A3A0D-E6F5-B612-1307-4479B8694F4C}"/>
          </ac:cxnSpMkLst>
        </pc:cxnChg>
        <pc:cxnChg chg="del">
          <ac:chgData name="Aurelien Domont" userId="6da7715ce44349b3" providerId="LiveId" clId="{29D6A56D-AB0D-41B6-B017-3803A210466B}" dt="2022-12-22T01:54:35.981" v="6361" actId="478"/>
          <ac:cxnSpMkLst>
            <pc:docMk/>
            <pc:sldMk cId="1203735008" sldId="2233"/>
            <ac:cxnSpMk id="14" creationId="{D9B47FF6-2607-F356-B91A-F6F6D72021A8}"/>
          </ac:cxnSpMkLst>
        </pc:cxnChg>
        <pc:cxnChg chg="del">
          <ac:chgData name="Aurelien Domont" userId="6da7715ce44349b3" providerId="LiveId" clId="{29D6A56D-AB0D-41B6-B017-3803A210466B}" dt="2022-12-22T01:54:35.981" v="6361" actId="478"/>
          <ac:cxnSpMkLst>
            <pc:docMk/>
            <pc:sldMk cId="1203735008" sldId="2233"/>
            <ac:cxnSpMk id="15" creationId="{A3F34614-2EDD-70D7-B55A-5F8322A70152}"/>
          </ac:cxnSpMkLst>
        </pc:cxnChg>
        <pc:cxnChg chg="del">
          <ac:chgData name="Aurelien Domont" userId="6da7715ce44349b3" providerId="LiveId" clId="{29D6A56D-AB0D-41B6-B017-3803A210466B}" dt="2022-12-22T01:54:35.981" v="6361" actId="478"/>
          <ac:cxnSpMkLst>
            <pc:docMk/>
            <pc:sldMk cId="1203735008" sldId="2233"/>
            <ac:cxnSpMk id="17" creationId="{DA6085AF-6033-B59E-227F-FC441BCCEFF7}"/>
          </ac:cxnSpMkLst>
        </pc:cxnChg>
        <pc:cxnChg chg="del">
          <ac:chgData name="Aurelien Domont" userId="6da7715ce44349b3" providerId="LiveId" clId="{29D6A56D-AB0D-41B6-B017-3803A210466B}" dt="2022-12-22T01:54:35.981" v="6361" actId="478"/>
          <ac:cxnSpMkLst>
            <pc:docMk/>
            <pc:sldMk cId="1203735008" sldId="2233"/>
            <ac:cxnSpMk id="18" creationId="{5AA74F4F-2F44-7079-4649-24D3860EA521}"/>
          </ac:cxnSpMkLst>
        </pc:cxnChg>
      </pc:sldChg>
      <pc:sldChg chg="modSp add del mod">
        <pc:chgData name="Aurelien Domont" userId="6da7715ce44349b3" providerId="LiveId" clId="{29D6A56D-AB0D-41B6-B017-3803A210466B}" dt="2021-08-09T04:36:07.478" v="3368" actId="47"/>
        <pc:sldMkLst>
          <pc:docMk/>
          <pc:sldMk cId="2640507418" sldId="2234"/>
        </pc:sldMkLst>
        <pc:spChg chg="mod">
          <ac:chgData name="Aurelien Domont" userId="6da7715ce44349b3" providerId="LiveId" clId="{29D6A56D-AB0D-41B6-B017-3803A210466B}" dt="2021-08-09T04:33:02.108" v="3302" actId="20577"/>
          <ac:spMkLst>
            <pc:docMk/>
            <pc:sldMk cId="2640507418" sldId="2234"/>
            <ac:spMk id="45" creationId="{C40ABB58-A617-4C1D-B300-D06F0DBE43C3}"/>
          </ac:spMkLst>
        </pc:spChg>
      </pc:sldChg>
      <pc:sldChg chg="addSp delSp modSp add mod">
        <pc:chgData name="Aurelien Domont" userId="6da7715ce44349b3" providerId="LiveId" clId="{29D6A56D-AB0D-41B6-B017-3803A210466B}" dt="2022-12-22T01:46:32.010" v="6222" actId="20577"/>
        <pc:sldMkLst>
          <pc:docMk/>
          <pc:sldMk cId="3130013861" sldId="2234"/>
        </pc:sldMkLst>
        <pc:spChg chg="del">
          <ac:chgData name="Aurelien Domont" userId="6da7715ce44349b3" providerId="LiveId" clId="{29D6A56D-AB0D-41B6-B017-3803A210466B}" dt="2022-11-29T04:17:08.918" v="4821" actId="478"/>
          <ac:spMkLst>
            <pc:docMk/>
            <pc:sldMk cId="3130013861" sldId="2234"/>
            <ac:spMk id="2" creationId="{7E6D99B0-CE8F-05A5-1BA3-4A20C3C3A0E1}"/>
          </ac:spMkLst>
        </pc:spChg>
        <pc:spChg chg="del">
          <ac:chgData name="Aurelien Domont" userId="6da7715ce44349b3" providerId="LiveId" clId="{29D6A56D-AB0D-41B6-B017-3803A210466B}" dt="2022-11-29T04:17:08.918" v="4821" actId="478"/>
          <ac:spMkLst>
            <pc:docMk/>
            <pc:sldMk cId="3130013861" sldId="2234"/>
            <ac:spMk id="3" creationId="{DE037F3C-B820-661C-4E4B-9BC8ED69158B}"/>
          </ac:spMkLst>
        </pc:spChg>
        <pc:spChg chg="del">
          <ac:chgData name="Aurelien Domont" userId="6da7715ce44349b3" providerId="LiveId" clId="{29D6A56D-AB0D-41B6-B017-3803A210466B}" dt="2022-11-29T04:17:08.918" v="4821" actId="478"/>
          <ac:spMkLst>
            <pc:docMk/>
            <pc:sldMk cId="3130013861" sldId="2234"/>
            <ac:spMk id="4" creationId="{51311BAA-435E-21FF-370E-CF4EF40611B2}"/>
          </ac:spMkLst>
        </pc:spChg>
        <pc:spChg chg="del">
          <ac:chgData name="Aurelien Domont" userId="6da7715ce44349b3" providerId="LiveId" clId="{29D6A56D-AB0D-41B6-B017-3803A210466B}" dt="2022-11-29T04:17:08.918" v="4821" actId="478"/>
          <ac:spMkLst>
            <pc:docMk/>
            <pc:sldMk cId="3130013861" sldId="2234"/>
            <ac:spMk id="6" creationId="{DAC57BEB-E436-C9C4-E9D0-5E69ED5F674B}"/>
          </ac:spMkLst>
        </pc:spChg>
        <pc:spChg chg="del">
          <ac:chgData name="Aurelien Domont" userId="6da7715ce44349b3" providerId="LiveId" clId="{29D6A56D-AB0D-41B6-B017-3803A210466B}" dt="2022-11-29T04:17:08.918" v="4821" actId="478"/>
          <ac:spMkLst>
            <pc:docMk/>
            <pc:sldMk cId="3130013861" sldId="2234"/>
            <ac:spMk id="7" creationId="{3218315B-8BDE-667D-651E-28DA97D22140}"/>
          </ac:spMkLst>
        </pc:spChg>
        <pc:spChg chg="del">
          <ac:chgData name="Aurelien Domont" userId="6da7715ce44349b3" providerId="LiveId" clId="{29D6A56D-AB0D-41B6-B017-3803A210466B}" dt="2022-11-29T04:17:08.918" v="4821" actId="478"/>
          <ac:spMkLst>
            <pc:docMk/>
            <pc:sldMk cId="3130013861" sldId="2234"/>
            <ac:spMk id="8" creationId="{14A688DE-571B-EE46-0482-B2EEF634FAA0}"/>
          </ac:spMkLst>
        </pc:spChg>
        <pc:spChg chg="del">
          <ac:chgData name="Aurelien Domont" userId="6da7715ce44349b3" providerId="LiveId" clId="{29D6A56D-AB0D-41B6-B017-3803A210466B}" dt="2022-11-29T04:17:08.918" v="4821" actId="478"/>
          <ac:spMkLst>
            <pc:docMk/>
            <pc:sldMk cId="3130013861" sldId="2234"/>
            <ac:spMk id="9" creationId="{CC40CBC3-F2A3-CEC1-446D-60A32B1CBF65}"/>
          </ac:spMkLst>
        </pc:spChg>
        <pc:spChg chg="mod">
          <ac:chgData name="Aurelien Domont" userId="6da7715ce44349b3" providerId="LiveId" clId="{29D6A56D-AB0D-41B6-B017-3803A210466B}" dt="2022-12-22T01:46:32.010" v="6222" actId="20577"/>
          <ac:spMkLst>
            <pc:docMk/>
            <pc:sldMk cId="3130013861" sldId="2234"/>
            <ac:spMk id="16" creationId="{6C2BB713-9637-4B9B-938F-E9768876782A}"/>
          </ac:spMkLst>
        </pc:spChg>
        <pc:spChg chg="del">
          <ac:chgData name="Aurelien Domont" userId="6da7715ce44349b3" providerId="LiveId" clId="{29D6A56D-AB0D-41B6-B017-3803A210466B}" dt="2022-11-29T04:17:08.918" v="4821" actId="478"/>
          <ac:spMkLst>
            <pc:docMk/>
            <pc:sldMk cId="3130013861" sldId="2234"/>
            <ac:spMk id="19" creationId="{B9B831E6-026E-45F7-3998-4E1D68F5DCB8}"/>
          </ac:spMkLst>
        </pc:spChg>
        <pc:spChg chg="del">
          <ac:chgData name="Aurelien Domont" userId="6da7715ce44349b3" providerId="LiveId" clId="{29D6A56D-AB0D-41B6-B017-3803A210466B}" dt="2022-11-29T04:17:08.918" v="4821" actId="478"/>
          <ac:spMkLst>
            <pc:docMk/>
            <pc:sldMk cId="3130013861" sldId="2234"/>
            <ac:spMk id="20" creationId="{7F43EDBD-1F49-E1F2-2ACC-0BD0B6D74466}"/>
          </ac:spMkLst>
        </pc:spChg>
        <pc:spChg chg="del">
          <ac:chgData name="Aurelien Domont" userId="6da7715ce44349b3" providerId="LiveId" clId="{29D6A56D-AB0D-41B6-B017-3803A210466B}" dt="2022-11-29T04:17:08.918" v="4821" actId="478"/>
          <ac:spMkLst>
            <pc:docMk/>
            <pc:sldMk cId="3130013861" sldId="2234"/>
            <ac:spMk id="21" creationId="{0ED5CEB0-3F32-5599-CC4E-DF3049F1F031}"/>
          </ac:spMkLst>
        </pc:spChg>
        <pc:spChg chg="del">
          <ac:chgData name="Aurelien Domont" userId="6da7715ce44349b3" providerId="LiveId" clId="{29D6A56D-AB0D-41B6-B017-3803A210466B}" dt="2022-11-29T04:17:08.918" v="4821" actId="478"/>
          <ac:spMkLst>
            <pc:docMk/>
            <pc:sldMk cId="3130013861" sldId="2234"/>
            <ac:spMk id="22" creationId="{89D9EC98-DAB3-157F-6EDF-5F4C7C14C82F}"/>
          </ac:spMkLst>
        </pc:spChg>
        <pc:spChg chg="del">
          <ac:chgData name="Aurelien Domont" userId="6da7715ce44349b3" providerId="LiveId" clId="{29D6A56D-AB0D-41B6-B017-3803A210466B}" dt="2022-11-29T04:17:08.918" v="4821" actId="478"/>
          <ac:spMkLst>
            <pc:docMk/>
            <pc:sldMk cId="3130013861" sldId="2234"/>
            <ac:spMk id="23" creationId="{FE7A27EA-0604-CAC3-7BBB-B9C93DCFBA6F}"/>
          </ac:spMkLst>
        </pc:spChg>
        <pc:spChg chg="del">
          <ac:chgData name="Aurelien Domont" userId="6da7715ce44349b3" providerId="LiveId" clId="{29D6A56D-AB0D-41B6-B017-3803A210466B}" dt="2022-11-29T04:17:08.918" v="4821" actId="478"/>
          <ac:spMkLst>
            <pc:docMk/>
            <pc:sldMk cId="3130013861" sldId="2234"/>
            <ac:spMk id="24" creationId="{CDBD92EB-EDFF-D257-7856-324A95EF1667}"/>
          </ac:spMkLst>
        </pc:spChg>
        <pc:spChg chg="del">
          <ac:chgData name="Aurelien Domont" userId="6da7715ce44349b3" providerId="LiveId" clId="{29D6A56D-AB0D-41B6-B017-3803A210466B}" dt="2022-11-29T04:17:08.918" v="4821" actId="478"/>
          <ac:spMkLst>
            <pc:docMk/>
            <pc:sldMk cId="3130013861" sldId="2234"/>
            <ac:spMk id="25" creationId="{95F6EACB-8789-3C37-EFF2-11EF015E9F52}"/>
          </ac:spMkLst>
        </pc:spChg>
        <pc:spChg chg="del">
          <ac:chgData name="Aurelien Domont" userId="6da7715ce44349b3" providerId="LiveId" clId="{29D6A56D-AB0D-41B6-B017-3803A210466B}" dt="2022-11-29T04:17:08.918" v="4821" actId="478"/>
          <ac:spMkLst>
            <pc:docMk/>
            <pc:sldMk cId="3130013861" sldId="2234"/>
            <ac:spMk id="26" creationId="{684C933A-2E41-F646-9FDA-487EBF98716C}"/>
          </ac:spMkLst>
        </pc:spChg>
        <pc:spChg chg="del">
          <ac:chgData name="Aurelien Domont" userId="6da7715ce44349b3" providerId="LiveId" clId="{29D6A56D-AB0D-41B6-B017-3803A210466B}" dt="2022-11-29T04:17:08.918" v="4821" actId="478"/>
          <ac:spMkLst>
            <pc:docMk/>
            <pc:sldMk cId="3130013861" sldId="2234"/>
            <ac:spMk id="27" creationId="{60F64642-2B02-EA7F-F6F4-A95EE39AB343}"/>
          </ac:spMkLst>
        </pc:spChg>
        <pc:spChg chg="del">
          <ac:chgData name="Aurelien Domont" userId="6da7715ce44349b3" providerId="LiveId" clId="{29D6A56D-AB0D-41B6-B017-3803A210466B}" dt="2022-11-29T04:17:08.918" v="4821" actId="478"/>
          <ac:spMkLst>
            <pc:docMk/>
            <pc:sldMk cId="3130013861" sldId="2234"/>
            <ac:spMk id="28" creationId="{E7E304D2-C332-7A0F-68BA-882D8BB64007}"/>
          </ac:spMkLst>
        </pc:spChg>
        <pc:spChg chg="add mod">
          <ac:chgData name="Aurelien Domont" userId="6da7715ce44349b3" providerId="LiveId" clId="{29D6A56D-AB0D-41B6-B017-3803A210466B}" dt="2022-11-29T04:20:45.338" v="4873" actId="207"/>
          <ac:spMkLst>
            <pc:docMk/>
            <pc:sldMk cId="3130013861" sldId="2234"/>
            <ac:spMk id="31" creationId="{4963CA7C-AB93-EE05-4B3D-7813C2F624C1}"/>
          </ac:spMkLst>
        </pc:spChg>
        <pc:spChg chg="add mod">
          <ac:chgData name="Aurelien Domont" userId="6da7715ce44349b3" providerId="LiveId" clId="{29D6A56D-AB0D-41B6-B017-3803A210466B}" dt="2022-11-29T04:20:45.338" v="4873" actId="207"/>
          <ac:spMkLst>
            <pc:docMk/>
            <pc:sldMk cId="3130013861" sldId="2234"/>
            <ac:spMk id="34" creationId="{DBCB0BB9-8BC5-3F31-71D1-09968B243E25}"/>
          </ac:spMkLst>
        </pc:spChg>
        <pc:grpChg chg="del">
          <ac:chgData name="Aurelien Domont" userId="6da7715ce44349b3" providerId="LiveId" clId="{29D6A56D-AB0D-41B6-B017-3803A210466B}" dt="2022-11-29T04:17:08.918" v="4821" actId="478"/>
          <ac:grpSpMkLst>
            <pc:docMk/>
            <pc:sldMk cId="3130013861" sldId="2234"/>
            <ac:grpSpMk id="54" creationId="{0A43C14D-180F-A44D-D60E-6823DB1887ED}"/>
          </ac:grpSpMkLst>
        </pc:grpChg>
        <pc:picChg chg="del">
          <ac:chgData name="Aurelien Domont" userId="6da7715ce44349b3" providerId="LiveId" clId="{29D6A56D-AB0D-41B6-B017-3803A210466B}" dt="2022-11-29T04:17:08.918" v="4821" actId="478"/>
          <ac:picMkLst>
            <pc:docMk/>
            <pc:sldMk cId="3130013861" sldId="2234"/>
            <ac:picMk id="29" creationId="{21E5706E-F901-E221-DE07-2FE9C787109E}"/>
          </ac:picMkLst>
        </pc:picChg>
        <pc:picChg chg="del">
          <ac:chgData name="Aurelien Domont" userId="6da7715ce44349b3" providerId="LiveId" clId="{29D6A56D-AB0D-41B6-B017-3803A210466B}" dt="2022-11-29T04:17:08.918" v="4821" actId="478"/>
          <ac:picMkLst>
            <pc:docMk/>
            <pc:sldMk cId="3130013861" sldId="2234"/>
            <ac:picMk id="30" creationId="{0FA2C915-8460-B095-3F8E-8F1EA977C32A}"/>
          </ac:picMkLst>
        </pc:picChg>
        <pc:picChg chg="del">
          <ac:chgData name="Aurelien Domont" userId="6da7715ce44349b3" providerId="LiveId" clId="{29D6A56D-AB0D-41B6-B017-3803A210466B}" dt="2022-11-29T04:17:08.918" v="4821" actId="478"/>
          <ac:picMkLst>
            <pc:docMk/>
            <pc:sldMk cId="3130013861" sldId="2234"/>
            <ac:picMk id="32" creationId="{F3C3BCEF-82D4-8700-FC0B-F36A35AAA22F}"/>
          </ac:picMkLst>
        </pc:picChg>
        <pc:picChg chg="del">
          <ac:chgData name="Aurelien Domont" userId="6da7715ce44349b3" providerId="LiveId" clId="{29D6A56D-AB0D-41B6-B017-3803A210466B}" dt="2022-11-29T04:17:08.918" v="4821" actId="478"/>
          <ac:picMkLst>
            <pc:docMk/>
            <pc:sldMk cId="3130013861" sldId="2234"/>
            <ac:picMk id="33" creationId="{95F3D5DD-67C8-8F85-6A01-E891316F075E}"/>
          </ac:picMkLst>
        </pc:picChg>
        <pc:picChg chg="del">
          <ac:chgData name="Aurelien Domont" userId="6da7715ce44349b3" providerId="LiveId" clId="{29D6A56D-AB0D-41B6-B017-3803A210466B}" dt="2022-11-29T04:17:08.918" v="4821" actId="478"/>
          <ac:picMkLst>
            <pc:docMk/>
            <pc:sldMk cId="3130013861" sldId="2234"/>
            <ac:picMk id="52" creationId="{0B29405B-C1F4-91C0-08B4-295E9BC6B0BE}"/>
          </ac:picMkLst>
        </pc:picChg>
        <pc:picChg chg="del">
          <ac:chgData name="Aurelien Domont" userId="6da7715ce44349b3" providerId="LiveId" clId="{29D6A56D-AB0D-41B6-B017-3803A210466B}" dt="2022-11-29T04:17:08.918" v="4821" actId="478"/>
          <ac:picMkLst>
            <pc:docMk/>
            <pc:sldMk cId="3130013861" sldId="2234"/>
            <ac:picMk id="53" creationId="{1A6BA872-1A66-B82B-8BB2-A145A75EBA53}"/>
          </ac:picMkLst>
        </pc:picChg>
        <pc:cxnChg chg="del">
          <ac:chgData name="Aurelien Domont" userId="6da7715ce44349b3" providerId="LiveId" clId="{29D6A56D-AB0D-41B6-B017-3803A210466B}" dt="2022-11-29T04:17:08.918" v="4821" actId="478"/>
          <ac:cxnSpMkLst>
            <pc:docMk/>
            <pc:sldMk cId="3130013861" sldId="2234"/>
            <ac:cxnSpMk id="10" creationId="{C90FF42E-85FC-B14D-5BC1-6358739A2227}"/>
          </ac:cxnSpMkLst>
        </pc:cxnChg>
        <pc:cxnChg chg="del mod">
          <ac:chgData name="Aurelien Domont" userId="6da7715ce44349b3" providerId="LiveId" clId="{29D6A56D-AB0D-41B6-B017-3803A210466B}" dt="2022-11-29T04:17:08.918" v="4821" actId="478"/>
          <ac:cxnSpMkLst>
            <pc:docMk/>
            <pc:sldMk cId="3130013861" sldId="2234"/>
            <ac:cxnSpMk id="11" creationId="{AA75F6A0-5594-7AE5-06FE-E4B554345D1D}"/>
          </ac:cxnSpMkLst>
        </pc:cxnChg>
        <pc:cxnChg chg="del">
          <ac:chgData name="Aurelien Domont" userId="6da7715ce44349b3" providerId="LiveId" clId="{29D6A56D-AB0D-41B6-B017-3803A210466B}" dt="2022-11-29T04:17:08.918" v="4821" actId="478"/>
          <ac:cxnSpMkLst>
            <pc:docMk/>
            <pc:sldMk cId="3130013861" sldId="2234"/>
            <ac:cxnSpMk id="12" creationId="{FF1A3A0D-E6F5-B612-1307-4479B8694F4C}"/>
          </ac:cxnSpMkLst>
        </pc:cxnChg>
        <pc:cxnChg chg="del">
          <ac:chgData name="Aurelien Domont" userId="6da7715ce44349b3" providerId="LiveId" clId="{29D6A56D-AB0D-41B6-B017-3803A210466B}" dt="2022-11-29T04:17:08.918" v="4821" actId="478"/>
          <ac:cxnSpMkLst>
            <pc:docMk/>
            <pc:sldMk cId="3130013861" sldId="2234"/>
            <ac:cxnSpMk id="14" creationId="{D9B47FF6-2607-F356-B91A-F6F6D72021A8}"/>
          </ac:cxnSpMkLst>
        </pc:cxnChg>
        <pc:cxnChg chg="del">
          <ac:chgData name="Aurelien Domont" userId="6da7715ce44349b3" providerId="LiveId" clId="{29D6A56D-AB0D-41B6-B017-3803A210466B}" dt="2022-11-29T04:17:08.918" v="4821" actId="478"/>
          <ac:cxnSpMkLst>
            <pc:docMk/>
            <pc:sldMk cId="3130013861" sldId="2234"/>
            <ac:cxnSpMk id="15" creationId="{A3F34614-2EDD-70D7-B55A-5F8322A70152}"/>
          </ac:cxnSpMkLst>
        </pc:cxnChg>
        <pc:cxnChg chg="del">
          <ac:chgData name="Aurelien Domont" userId="6da7715ce44349b3" providerId="LiveId" clId="{29D6A56D-AB0D-41B6-B017-3803A210466B}" dt="2022-11-29T04:17:08.918" v="4821" actId="478"/>
          <ac:cxnSpMkLst>
            <pc:docMk/>
            <pc:sldMk cId="3130013861" sldId="2234"/>
            <ac:cxnSpMk id="17" creationId="{DA6085AF-6033-B59E-227F-FC441BCCEFF7}"/>
          </ac:cxnSpMkLst>
        </pc:cxnChg>
        <pc:cxnChg chg="del">
          <ac:chgData name="Aurelien Domont" userId="6da7715ce44349b3" providerId="LiveId" clId="{29D6A56D-AB0D-41B6-B017-3803A210466B}" dt="2022-11-29T04:17:08.918" v="4821" actId="478"/>
          <ac:cxnSpMkLst>
            <pc:docMk/>
            <pc:sldMk cId="3130013861" sldId="2234"/>
            <ac:cxnSpMk id="18" creationId="{5AA74F4F-2F44-7079-4649-24D3860EA521}"/>
          </ac:cxnSpMkLst>
        </pc:cxnChg>
      </pc:sldChg>
      <pc:sldChg chg="addSp delSp modSp add del mod">
        <pc:chgData name="Aurelien Domont" userId="6da7715ce44349b3" providerId="LiveId" clId="{29D6A56D-AB0D-41B6-B017-3803A210466B}" dt="2022-12-22T01:50:39.298" v="6350" actId="47"/>
        <pc:sldMkLst>
          <pc:docMk/>
          <pc:sldMk cId="2866816170" sldId="2235"/>
        </pc:sldMkLst>
        <pc:spChg chg="add del">
          <ac:chgData name="Aurelien Domont" userId="6da7715ce44349b3" providerId="LiveId" clId="{29D6A56D-AB0D-41B6-B017-3803A210466B}" dt="2022-11-29T04:25:51.506" v="4989"/>
          <ac:spMkLst>
            <pc:docMk/>
            <pc:sldMk cId="2866816170" sldId="2235"/>
            <ac:spMk id="2" creationId="{F3AB5DAA-0F34-9A22-D7BC-D6CA7F4AB560}"/>
          </ac:spMkLst>
        </pc:spChg>
        <pc:spChg chg="add mod">
          <ac:chgData name="Aurelien Domont" userId="6da7715ce44349b3" providerId="LiveId" clId="{29D6A56D-AB0D-41B6-B017-3803A210466B}" dt="2022-11-29T04:57:01.386" v="5652" actId="1076"/>
          <ac:spMkLst>
            <pc:docMk/>
            <pc:sldMk cId="2866816170" sldId="2235"/>
            <ac:spMk id="4" creationId="{8B77FD9B-9749-CACA-4ACE-751348B4488D}"/>
          </ac:spMkLst>
        </pc:spChg>
        <pc:spChg chg="add del mod">
          <ac:chgData name="Aurelien Domont" userId="6da7715ce44349b3" providerId="LiveId" clId="{29D6A56D-AB0D-41B6-B017-3803A210466B}" dt="2022-11-29T04:56:55.139" v="5648" actId="478"/>
          <ac:spMkLst>
            <pc:docMk/>
            <pc:sldMk cId="2866816170" sldId="2235"/>
            <ac:spMk id="6" creationId="{08EECF1A-160E-2C1A-E73C-CE14004A266F}"/>
          </ac:spMkLst>
        </pc:spChg>
        <pc:spChg chg="add del mod">
          <ac:chgData name="Aurelien Domont" userId="6da7715ce44349b3" providerId="LiveId" clId="{29D6A56D-AB0D-41B6-B017-3803A210466B}" dt="2022-11-29T04:56:58.372" v="5650" actId="478"/>
          <ac:spMkLst>
            <pc:docMk/>
            <pc:sldMk cId="2866816170" sldId="2235"/>
            <ac:spMk id="7" creationId="{841FBF62-2FF9-6E96-3EA2-B369025C1AE8}"/>
          </ac:spMkLst>
        </pc:spChg>
        <pc:spChg chg="add mod">
          <ac:chgData name="Aurelien Domont" userId="6da7715ce44349b3" providerId="LiveId" clId="{29D6A56D-AB0D-41B6-B017-3803A210466B}" dt="2022-11-29T04:57:01.386" v="5652" actId="1076"/>
          <ac:spMkLst>
            <pc:docMk/>
            <pc:sldMk cId="2866816170" sldId="2235"/>
            <ac:spMk id="8" creationId="{2D5D4638-E2C2-821C-A9C5-DDC3AFC61C77}"/>
          </ac:spMkLst>
        </pc:spChg>
        <pc:spChg chg="add del mod">
          <ac:chgData name="Aurelien Domont" userId="6da7715ce44349b3" providerId="LiveId" clId="{29D6A56D-AB0D-41B6-B017-3803A210466B}" dt="2022-11-29T04:56:55.139" v="5648" actId="478"/>
          <ac:spMkLst>
            <pc:docMk/>
            <pc:sldMk cId="2866816170" sldId="2235"/>
            <ac:spMk id="9" creationId="{51955A18-937D-1C52-FB80-755DD7124762}"/>
          </ac:spMkLst>
        </pc:spChg>
        <pc:spChg chg="add del mod">
          <ac:chgData name="Aurelien Domont" userId="6da7715ce44349b3" providerId="LiveId" clId="{29D6A56D-AB0D-41B6-B017-3803A210466B}" dt="2022-11-29T04:56:58.372" v="5650" actId="478"/>
          <ac:spMkLst>
            <pc:docMk/>
            <pc:sldMk cId="2866816170" sldId="2235"/>
            <ac:spMk id="10" creationId="{D89ADFF8-2720-3219-8EFA-F71780A0437D}"/>
          </ac:spMkLst>
        </pc:spChg>
        <pc:spChg chg="add del mod">
          <ac:chgData name="Aurelien Domont" userId="6da7715ce44349b3" providerId="LiveId" clId="{29D6A56D-AB0D-41B6-B017-3803A210466B}" dt="2022-11-29T04:58:51.579" v="5680" actId="478"/>
          <ac:spMkLst>
            <pc:docMk/>
            <pc:sldMk cId="2866816170" sldId="2235"/>
            <ac:spMk id="11" creationId="{A239D1D4-9DC4-A64B-2419-DB01837EA8F5}"/>
          </ac:spMkLst>
        </pc:spChg>
        <pc:spChg chg="add mod">
          <ac:chgData name="Aurelien Domont" userId="6da7715ce44349b3" providerId="LiveId" clId="{29D6A56D-AB0D-41B6-B017-3803A210466B}" dt="2022-11-29T04:58:44.048" v="5674" actId="108"/>
          <ac:spMkLst>
            <pc:docMk/>
            <pc:sldMk cId="2866816170" sldId="2235"/>
            <ac:spMk id="12" creationId="{4CF1D344-601B-5326-5CDF-F80414545876}"/>
          </ac:spMkLst>
        </pc:spChg>
        <pc:spChg chg="add del mod">
          <ac:chgData name="Aurelien Domont" userId="6da7715ce44349b3" providerId="LiveId" clId="{29D6A56D-AB0D-41B6-B017-3803A210466B}" dt="2022-11-29T04:56:55.139" v="5648" actId="478"/>
          <ac:spMkLst>
            <pc:docMk/>
            <pc:sldMk cId="2866816170" sldId="2235"/>
            <ac:spMk id="14" creationId="{69E79032-54CE-24E7-9139-40F51AD9C83F}"/>
          </ac:spMkLst>
        </pc:spChg>
        <pc:spChg chg="add del mod">
          <ac:chgData name="Aurelien Domont" userId="6da7715ce44349b3" providerId="LiveId" clId="{29D6A56D-AB0D-41B6-B017-3803A210466B}" dt="2022-11-29T04:56:58.372" v="5650" actId="478"/>
          <ac:spMkLst>
            <pc:docMk/>
            <pc:sldMk cId="2866816170" sldId="2235"/>
            <ac:spMk id="15" creationId="{9B81B8FD-B51E-F5E2-95C3-56B4B84169DB}"/>
          </ac:spMkLst>
        </pc:spChg>
        <pc:spChg chg="mod">
          <ac:chgData name="Aurelien Domont" userId="6da7715ce44349b3" providerId="LiveId" clId="{29D6A56D-AB0D-41B6-B017-3803A210466B}" dt="2022-11-29T04:53:44.129" v="5491" actId="20577"/>
          <ac:spMkLst>
            <pc:docMk/>
            <pc:sldMk cId="2866816170" sldId="2235"/>
            <ac:spMk id="16" creationId="{6C2BB713-9637-4B9B-938F-E9768876782A}"/>
          </ac:spMkLst>
        </pc:spChg>
        <pc:spChg chg="add mod">
          <ac:chgData name="Aurelien Domont" userId="6da7715ce44349b3" providerId="LiveId" clId="{29D6A56D-AB0D-41B6-B017-3803A210466B}" dt="2022-11-29T04:58:49.842" v="5679" actId="108"/>
          <ac:spMkLst>
            <pc:docMk/>
            <pc:sldMk cId="2866816170" sldId="2235"/>
            <ac:spMk id="17" creationId="{B70ABEEE-E4D1-1BA5-CAE1-5E9AF7B2ED95}"/>
          </ac:spMkLst>
        </pc:spChg>
        <pc:spChg chg="add del mod">
          <ac:chgData name="Aurelien Domont" userId="6da7715ce44349b3" providerId="LiveId" clId="{29D6A56D-AB0D-41B6-B017-3803A210466B}" dt="2022-11-29T04:56:55.139" v="5648" actId="478"/>
          <ac:spMkLst>
            <pc:docMk/>
            <pc:sldMk cId="2866816170" sldId="2235"/>
            <ac:spMk id="18" creationId="{295AD9BB-F935-2945-7F21-F6034F4E5796}"/>
          </ac:spMkLst>
        </pc:spChg>
        <pc:spChg chg="add del mod">
          <ac:chgData name="Aurelien Domont" userId="6da7715ce44349b3" providerId="LiveId" clId="{29D6A56D-AB0D-41B6-B017-3803A210466B}" dt="2022-11-29T04:56:58.372" v="5650" actId="478"/>
          <ac:spMkLst>
            <pc:docMk/>
            <pc:sldMk cId="2866816170" sldId="2235"/>
            <ac:spMk id="19" creationId="{1DF9B3CE-7CB8-DA60-45DA-C31C4B29E08E}"/>
          </ac:spMkLst>
        </pc:spChg>
        <pc:spChg chg="add mod">
          <ac:chgData name="Aurelien Domont" userId="6da7715ce44349b3" providerId="LiveId" clId="{29D6A56D-AB0D-41B6-B017-3803A210466B}" dt="2022-11-29T04:57:26.611" v="5655"/>
          <ac:spMkLst>
            <pc:docMk/>
            <pc:sldMk cId="2866816170" sldId="2235"/>
            <ac:spMk id="20" creationId="{5CCE27CD-2A71-10D3-5C95-78421A753D4E}"/>
          </ac:spMkLst>
        </pc:spChg>
        <pc:spChg chg="add mod">
          <ac:chgData name="Aurelien Domont" userId="6da7715ce44349b3" providerId="LiveId" clId="{29D6A56D-AB0D-41B6-B017-3803A210466B}" dt="2022-11-29T04:57:47.387" v="5657"/>
          <ac:spMkLst>
            <pc:docMk/>
            <pc:sldMk cId="2866816170" sldId="2235"/>
            <ac:spMk id="21" creationId="{A8DC912A-162C-2B39-2ED7-778F351B5FE6}"/>
          </ac:spMkLst>
        </pc:spChg>
        <pc:spChg chg="add mod">
          <ac:chgData name="Aurelien Domont" userId="6da7715ce44349b3" providerId="LiveId" clId="{29D6A56D-AB0D-41B6-B017-3803A210466B}" dt="2022-11-29T04:58:48.126" v="5675" actId="108"/>
          <ac:spMkLst>
            <pc:docMk/>
            <pc:sldMk cId="2866816170" sldId="2235"/>
            <ac:spMk id="22" creationId="{2C7C58A2-DA86-092E-D8DB-520BFE4A188A}"/>
          </ac:spMkLst>
        </pc:spChg>
        <pc:spChg chg="add mod">
          <ac:chgData name="Aurelien Domont" userId="6da7715ce44349b3" providerId="LiveId" clId="{29D6A56D-AB0D-41B6-B017-3803A210466B}" dt="2022-11-29T04:58:49.568" v="5678" actId="108"/>
          <ac:spMkLst>
            <pc:docMk/>
            <pc:sldMk cId="2866816170" sldId="2235"/>
            <ac:spMk id="23" creationId="{05FEEAB4-84F6-2EBC-64B4-0804FDE48937}"/>
          </ac:spMkLst>
        </pc:spChg>
        <pc:spChg chg="add mod">
          <ac:chgData name="Aurelien Domont" userId="6da7715ce44349b3" providerId="LiveId" clId="{29D6A56D-AB0D-41B6-B017-3803A210466B}" dt="2022-11-29T04:57:36.271" v="5656"/>
          <ac:spMkLst>
            <pc:docMk/>
            <pc:sldMk cId="2866816170" sldId="2235"/>
            <ac:spMk id="24" creationId="{77A387C0-37E8-A677-4944-6A89EEF60F1E}"/>
          </ac:spMkLst>
        </pc:spChg>
        <pc:spChg chg="add mod">
          <ac:chgData name="Aurelien Domont" userId="6da7715ce44349b3" providerId="LiveId" clId="{29D6A56D-AB0D-41B6-B017-3803A210466B}" dt="2022-11-29T04:57:54.876" v="5658"/>
          <ac:spMkLst>
            <pc:docMk/>
            <pc:sldMk cId="2866816170" sldId="2235"/>
            <ac:spMk id="25" creationId="{D518B713-24C3-924F-C9CF-E00BEFB601D0}"/>
          </ac:spMkLst>
        </pc:spChg>
        <pc:spChg chg="add mod">
          <ac:chgData name="Aurelien Domont" userId="6da7715ce44349b3" providerId="LiveId" clId="{29D6A56D-AB0D-41B6-B017-3803A210466B}" dt="2022-11-29T04:58:48.868" v="5676" actId="108"/>
          <ac:spMkLst>
            <pc:docMk/>
            <pc:sldMk cId="2866816170" sldId="2235"/>
            <ac:spMk id="26" creationId="{899248AC-31E5-BEA2-A4D1-BF6CC0E331B5}"/>
          </ac:spMkLst>
        </pc:spChg>
        <pc:spChg chg="add mod">
          <ac:chgData name="Aurelien Domont" userId="6da7715ce44349b3" providerId="LiveId" clId="{29D6A56D-AB0D-41B6-B017-3803A210466B}" dt="2022-11-29T04:58:49.215" v="5677" actId="108"/>
          <ac:spMkLst>
            <pc:docMk/>
            <pc:sldMk cId="2866816170" sldId="2235"/>
            <ac:spMk id="27" creationId="{C19187E4-75DF-47D1-5772-79C9E90827B2}"/>
          </ac:spMkLst>
        </pc:spChg>
        <pc:spChg chg="del">
          <ac:chgData name="Aurelien Domont" userId="6da7715ce44349b3" providerId="LiveId" clId="{29D6A56D-AB0D-41B6-B017-3803A210466B}" dt="2022-11-29T04:22:08.522" v="4987" actId="478"/>
          <ac:spMkLst>
            <pc:docMk/>
            <pc:sldMk cId="2866816170" sldId="2235"/>
            <ac:spMk id="31" creationId="{4963CA7C-AB93-EE05-4B3D-7813C2F624C1}"/>
          </ac:spMkLst>
        </pc:spChg>
        <pc:spChg chg="del">
          <ac:chgData name="Aurelien Domont" userId="6da7715ce44349b3" providerId="LiveId" clId="{29D6A56D-AB0D-41B6-B017-3803A210466B}" dt="2022-11-29T04:22:08.522" v="4987" actId="478"/>
          <ac:spMkLst>
            <pc:docMk/>
            <pc:sldMk cId="2866816170" sldId="2235"/>
            <ac:spMk id="34" creationId="{DBCB0BB9-8BC5-3F31-71D1-09968B243E25}"/>
          </ac:spMkLst>
        </pc:spChg>
        <pc:picChg chg="add del mod">
          <ac:chgData name="Aurelien Domont" userId="6da7715ce44349b3" providerId="LiveId" clId="{29D6A56D-AB0D-41B6-B017-3803A210466B}" dt="2022-11-29T04:32:55.210" v="5330" actId="478"/>
          <ac:picMkLst>
            <pc:docMk/>
            <pc:sldMk cId="2866816170" sldId="2235"/>
            <ac:picMk id="3" creationId="{6081DEED-EF77-4430-3107-2BCAB626F46E}"/>
          </ac:picMkLst>
        </pc:picChg>
      </pc:sldChg>
      <pc:sldChg chg="add del">
        <pc:chgData name="Aurelien Domont" userId="6da7715ce44349b3" providerId="LiveId" clId="{29D6A56D-AB0D-41B6-B017-3803A210466B}" dt="2022-11-29T04:58:02.806" v="5659" actId="47"/>
        <pc:sldMkLst>
          <pc:docMk/>
          <pc:sldMk cId="294753466" sldId="2236"/>
        </pc:sldMkLst>
      </pc:sldChg>
      <pc:sldChg chg="addSp delSp modSp add del mod">
        <pc:chgData name="Aurelien Domont" userId="6da7715ce44349b3" providerId="LiveId" clId="{29D6A56D-AB0D-41B6-B017-3803A210466B}" dt="2022-12-22T01:52:28.791" v="6357" actId="47"/>
        <pc:sldMkLst>
          <pc:docMk/>
          <pc:sldMk cId="879272378" sldId="2236"/>
        </pc:sldMkLst>
        <pc:spChg chg="add mod">
          <ac:chgData name="Aurelien Domont" userId="6da7715ce44349b3" providerId="LiveId" clId="{29D6A56D-AB0D-41B6-B017-3803A210466B}" dt="2022-12-22T01:42:46.318" v="6139" actId="20577"/>
          <ac:spMkLst>
            <pc:docMk/>
            <pc:sldMk cId="879272378" sldId="2236"/>
            <ac:spMk id="2" creationId="{348A7EA7-3990-4563-9792-0C87DE3BBA5A}"/>
          </ac:spMkLst>
        </pc:spChg>
        <pc:spChg chg="add mod">
          <ac:chgData name="Aurelien Domont" userId="6da7715ce44349b3" providerId="LiveId" clId="{29D6A56D-AB0D-41B6-B017-3803A210466B}" dt="2022-11-30T03:46:50.903" v="6111" actId="20577"/>
          <ac:spMkLst>
            <pc:docMk/>
            <pc:sldMk cId="879272378" sldId="2236"/>
            <ac:spMk id="3" creationId="{1E0F6651-FD5F-7A00-89E6-DC83F95A2828}"/>
          </ac:spMkLst>
        </pc:spChg>
        <pc:spChg chg="add del mod">
          <ac:chgData name="Aurelien Domont" userId="6da7715ce44349b3" providerId="LiveId" clId="{29D6A56D-AB0D-41B6-B017-3803A210466B}" dt="2022-11-29T05:14:06.292" v="5863" actId="478"/>
          <ac:spMkLst>
            <pc:docMk/>
            <pc:sldMk cId="879272378" sldId="2236"/>
            <ac:spMk id="3" creationId="{E7002A25-7A42-8921-ED61-0BBC8C1403E1}"/>
          </ac:spMkLst>
        </pc:spChg>
        <pc:spChg chg="add del mod">
          <ac:chgData name="Aurelien Domont" userId="6da7715ce44349b3" providerId="LiveId" clId="{29D6A56D-AB0D-41B6-B017-3803A210466B}" dt="2022-11-29T05:14:06.292" v="5863" actId="478"/>
          <ac:spMkLst>
            <pc:docMk/>
            <pc:sldMk cId="879272378" sldId="2236"/>
            <ac:spMk id="4" creationId="{781AE23B-F565-CBFA-6DA6-A18438916D0A}"/>
          </ac:spMkLst>
        </pc:spChg>
        <pc:spChg chg="mod">
          <ac:chgData name="Aurelien Domont" userId="6da7715ce44349b3" providerId="LiveId" clId="{29D6A56D-AB0D-41B6-B017-3803A210466B}" dt="2022-11-29T05:28:24.889" v="6049" actId="2085"/>
          <ac:spMkLst>
            <pc:docMk/>
            <pc:sldMk cId="879272378" sldId="2236"/>
            <ac:spMk id="6" creationId="{80C2FA24-C3FF-4F99-8694-BA262AB8070A}"/>
          </ac:spMkLst>
        </pc:spChg>
        <pc:spChg chg="del">
          <ac:chgData name="Aurelien Domont" userId="6da7715ce44349b3" providerId="LiveId" clId="{29D6A56D-AB0D-41B6-B017-3803A210466B}" dt="2022-11-29T05:11:02.227" v="5682" actId="478"/>
          <ac:spMkLst>
            <pc:docMk/>
            <pc:sldMk cId="879272378" sldId="2236"/>
            <ac:spMk id="7" creationId="{AA474FA7-23F8-48D3-A4A1-46C7E7EF8CBF}"/>
          </ac:spMkLst>
        </pc:spChg>
        <pc:spChg chg="mod">
          <ac:chgData name="Aurelien Domont" userId="6da7715ce44349b3" providerId="LiveId" clId="{29D6A56D-AB0D-41B6-B017-3803A210466B}" dt="2022-11-29T05:28:24.889" v="6049" actId="2085"/>
          <ac:spMkLst>
            <pc:docMk/>
            <pc:sldMk cId="879272378" sldId="2236"/>
            <ac:spMk id="8" creationId="{44D82846-5412-4854-9CE9-6BD4A4D3F201}"/>
          </ac:spMkLst>
        </pc:spChg>
        <pc:spChg chg="mod">
          <ac:chgData name="Aurelien Domont" userId="6da7715ce44349b3" providerId="LiveId" clId="{29D6A56D-AB0D-41B6-B017-3803A210466B}" dt="2022-11-29T05:19:48.860" v="5953" actId="1036"/>
          <ac:spMkLst>
            <pc:docMk/>
            <pc:sldMk cId="879272378" sldId="2236"/>
            <ac:spMk id="10" creationId="{F6F130AE-016B-49E7-B056-02422308B35C}"/>
          </ac:spMkLst>
        </pc:spChg>
        <pc:spChg chg="mod">
          <ac:chgData name="Aurelien Domont" userId="6da7715ce44349b3" providerId="LiveId" clId="{29D6A56D-AB0D-41B6-B017-3803A210466B}" dt="2022-11-29T05:19:48.860" v="5953" actId="1036"/>
          <ac:spMkLst>
            <pc:docMk/>
            <pc:sldMk cId="879272378" sldId="2236"/>
            <ac:spMk id="11" creationId="{381FC75F-03AC-4E06-95A5-77AA464D139B}"/>
          </ac:spMkLst>
        </pc:spChg>
        <pc:spChg chg="mod">
          <ac:chgData name="Aurelien Domont" userId="6da7715ce44349b3" providerId="LiveId" clId="{29D6A56D-AB0D-41B6-B017-3803A210466B}" dt="2022-11-29T05:19:48.860" v="5953" actId="1036"/>
          <ac:spMkLst>
            <pc:docMk/>
            <pc:sldMk cId="879272378" sldId="2236"/>
            <ac:spMk id="12" creationId="{F22BF9F2-93B5-4D57-85D0-BA4BB3074ECE}"/>
          </ac:spMkLst>
        </pc:spChg>
        <pc:spChg chg="add del mod">
          <ac:chgData name="Aurelien Domont" userId="6da7715ce44349b3" providerId="LiveId" clId="{29D6A56D-AB0D-41B6-B017-3803A210466B}" dt="2022-11-29T05:14:06.292" v="5863" actId="478"/>
          <ac:spMkLst>
            <pc:docMk/>
            <pc:sldMk cId="879272378" sldId="2236"/>
            <ac:spMk id="15" creationId="{975D36A6-98A2-0419-693A-5F09AFAB6097}"/>
          </ac:spMkLst>
        </pc:spChg>
        <pc:spChg chg="mod">
          <ac:chgData name="Aurelien Domont" userId="6da7715ce44349b3" providerId="LiveId" clId="{29D6A56D-AB0D-41B6-B017-3803A210466B}" dt="2022-11-29T05:21:12.747" v="6031" actId="20577"/>
          <ac:spMkLst>
            <pc:docMk/>
            <pc:sldMk cId="879272378" sldId="2236"/>
            <ac:spMk id="16" creationId="{6C2BB713-9637-4B9B-938F-E9768876782A}"/>
          </ac:spMkLst>
        </pc:spChg>
        <pc:spChg chg="add del mod">
          <ac:chgData name="Aurelien Domont" userId="6da7715ce44349b3" providerId="LiveId" clId="{29D6A56D-AB0D-41B6-B017-3803A210466B}" dt="2022-11-29T05:14:06.292" v="5863" actId="478"/>
          <ac:spMkLst>
            <pc:docMk/>
            <pc:sldMk cId="879272378" sldId="2236"/>
            <ac:spMk id="17" creationId="{3CD1413D-31BD-7188-5DB7-138880B7260D}"/>
          </ac:spMkLst>
        </pc:spChg>
        <pc:spChg chg="add del mod">
          <ac:chgData name="Aurelien Domont" userId="6da7715ce44349b3" providerId="LiveId" clId="{29D6A56D-AB0D-41B6-B017-3803A210466B}" dt="2022-11-29T05:14:06.292" v="5863" actId="478"/>
          <ac:spMkLst>
            <pc:docMk/>
            <pc:sldMk cId="879272378" sldId="2236"/>
            <ac:spMk id="18" creationId="{A669031F-590B-C5FA-4AB7-DB12BF957B7B}"/>
          </ac:spMkLst>
        </pc:spChg>
        <pc:spChg chg="add del mod">
          <ac:chgData name="Aurelien Domont" userId="6da7715ce44349b3" providerId="LiveId" clId="{29D6A56D-AB0D-41B6-B017-3803A210466B}" dt="2022-11-29T05:14:06.292" v="5863" actId="478"/>
          <ac:spMkLst>
            <pc:docMk/>
            <pc:sldMk cId="879272378" sldId="2236"/>
            <ac:spMk id="19" creationId="{D4AE81FC-74FC-2C66-EA1F-D94BE08CB1D2}"/>
          </ac:spMkLst>
        </pc:spChg>
        <pc:spChg chg="add del mod">
          <ac:chgData name="Aurelien Domont" userId="6da7715ce44349b3" providerId="LiveId" clId="{29D6A56D-AB0D-41B6-B017-3803A210466B}" dt="2022-11-29T05:14:06.292" v="5863" actId="478"/>
          <ac:spMkLst>
            <pc:docMk/>
            <pc:sldMk cId="879272378" sldId="2236"/>
            <ac:spMk id="20" creationId="{4B224040-8B77-77E0-33AF-4DEB44AB51FD}"/>
          </ac:spMkLst>
        </pc:spChg>
        <pc:spChg chg="add del mod">
          <ac:chgData name="Aurelien Domont" userId="6da7715ce44349b3" providerId="LiveId" clId="{29D6A56D-AB0D-41B6-B017-3803A210466B}" dt="2022-11-29T05:14:06.292" v="5863" actId="478"/>
          <ac:spMkLst>
            <pc:docMk/>
            <pc:sldMk cId="879272378" sldId="2236"/>
            <ac:spMk id="21" creationId="{90BAFFA1-FA15-8A73-9A2A-C8EFC896EB18}"/>
          </ac:spMkLst>
        </pc:spChg>
        <pc:spChg chg="add del mod">
          <ac:chgData name="Aurelien Domont" userId="6da7715ce44349b3" providerId="LiveId" clId="{29D6A56D-AB0D-41B6-B017-3803A210466B}" dt="2022-11-29T05:14:06.292" v="5863" actId="478"/>
          <ac:spMkLst>
            <pc:docMk/>
            <pc:sldMk cId="879272378" sldId="2236"/>
            <ac:spMk id="22" creationId="{B290AD2D-A409-0481-995E-B134D22A7ECF}"/>
          </ac:spMkLst>
        </pc:spChg>
        <pc:spChg chg="add del mod">
          <ac:chgData name="Aurelien Domont" userId="6da7715ce44349b3" providerId="LiveId" clId="{29D6A56D-AB0D-41B6-B017-3803A210466B}" dt="2022-11-29T05:14:06.292" v="5863" actId="478"/>
          <ac:spMkLst>
            <pc:docMk/>
            <pc:sldMk cId="879272378" sldId="2236"/>
            <ac:spMk id="23" creationId="{426DA3C2-4EB4-2D9D-BC1B-43F933FAAC01}"/>
          </ac:spMkLst>
        </pc:spChg>
        <pc:spChg chg="add del mod">
          <ac:chgData name="Aurelien Domont" userId="6da7715ce44349b3" providerId="LiveId" clId="{29D6A56D-AB0D-41B6-B017-3803A210466B}" dt="2022-11-29T05:14:06.292" v="5863" actId="478"/>
          <ac:spMkLst>
            <pc:docMk/>
            <pc:sldMk cId="879272378" sldId="2236"/>
            <ac:spMk id="24" creationId="{0E46DAF4-0B2D-29D1-B6E9-265C804C8A6B}"/>
          </ac:spMkLst>
        </pc:spChg>
        <pc:spChg chg="add del mod">
          <ac:chgData name="Aurelien Domont" userId="6da7715ce44349b3" providerId="LiveId" clId="{29D6A56D-AB0D-41B6-B017-3803A210466B}" dt="2022-11-29T05:14:06.292" v="5863" actId="478"/>
          <ac:spMkLst>
            <pc:docMk/>
            <pc:sldMk cId="879272378" sldId="2236"/>
            <ac:spMk id="25" creationId="{06872871-EDC4-A711-50C6-E56CCC7BD526}"/>
          </ac:spMkLst>
        </pc:spChg>
        <pc:spChg chg="add del mod">
          <ac:chgData name="Aurelien Domont" userId="6da7715ce44349b3" providerId="LiveId" clId="{29D6A56D-AB0D-41B6-B017-3803A210466B}" dt="2022-11-29T05:14:06.292" v="5863" actId="478"/>
          <ac:spMkLst>
            <pc:docMk/>
            <pc:sldMk cId="879272378" sldId="2236"/>
            <ac:spMk id="26" creationId="{F3C08E5C-6A54-4DCC-1DBC-1735DA7773CA}"/>
          </ac:spMkLst>
        </pc:spChg>
        <pc:spChg chg="add del mod">
          <ac:chgData name="Aurelien Domont" userId="6da7715ce44349b3" providerId="LiveId" clId="{29D6A56D-AB0D-41B6-B017-3803A210466B}" dt="2022-11-29T05:14:06.292" v="5863" actId="478"/>
          <ac:spMkLst>
            <pc:docMk/>
            <pc:sldMk cId="879272378" sldId="2236"/>
            <ac:spMk id="27" creationId="{D554F2C4-7FD0-C45B-3FC7-AA946A489AC5}"/>
          </ac:spMkLst>
        </pc:spChg>
        <pc:spChg chg="add del mod">
          <ac:chgData name="Aurelien Domont" userId="6da7715ce44349b3" providerId="LiveId" clId="{29D6A56D-AB0D-41B6-B017-3803A210466B}" dt="2022-11-29T05:14:06.292" v="5863" actId="478"/>
          <ac:spMkLst>
            <pc:docMk/>
            <pc:sldMk cId="879272378" sldId="2236"/>
            <ac:spMk id="28" creationId="{A3CBCA54-BC69-E9B8-871E-A9A1F1F531A1}"/>
          </ac:spMkLst>
        </pc:spChg>
        <pc:spChg chg="add del mod">
          <ac:chgData name="Aurelien Domont" userId="6da7715ce44349b3" providerId="LiveId" clId="{29D6A56D-AB0D-41B6-B017-3803A210466B}" dt="2022-11-29T05:14:06.292" v="5863" actId="478"/>
          <ac:spMkLst>
            <pc:docMk/>
            <pc:sldMk cId="879272378" sldId="2236"/>
            <ac:spMk id="29" creationId="{5C7BBFEF-84B9-BD86-D378-D36745F6ACC4}"/>
          </ac:spMkLst>
        </pc:spChg>
        <pc:spChg chg="add del mod">
          <ac:chgData name="Aurelien Domont" userId="6da7715ce44349b3" providerId="LiveId" clId="{29D6A56D-AB0D-41B6-B017-3803A210466B}" dt="2022-11-29T05:14:06.292" v="5863" actId="478"/>
          <ac:spMkLst>
            <pc:docMk/>
            <pc:sldMk cId="879272378" sldId="2236"/>
            <ac:spMk id="30" creationId="{904C4058-08C8-B411-3792-4367764CFE2B}"/>
          </ac:spMkLst>
        </pc:spChg>
        <pc:spChg chg="add del mod">
          <ac:chgData name="Aurelien Domont" userId="6da7715ce44349b3" providerId="LiveId" clId="{29D6A56D-AB0D-41B6-B017-3803A210466B}" dt="2022-11-29T05:14:06.292" v="5863" actId="478"/>
          <ac:spMkLst>
            <pc:docMk/>
            <pc:sldMk cId="879272378" sldId="2236"/>
            <ac:spMk id="31" creationId="{840CA88A-76C3-5535-5738-8A3BC72A2726}"/>
          </ac:spMkLst>
        </pc:spChg>
        <pc:spChg chg="add del mod">
          <ac:chgData name="Aurelien Domont" userId="6da7715ce44349b3" providerId="LiveId" clId="{29D6A56D-AB0D-41B6-B017-3803A210466B}" dt="2022-11-29T05:14:06.292" v="5863" actId="478"/>
          <ac:spMkLst>
            <pc:docMk/>
            <pc:sldMk cId="879272378" sldId="2236"/>
            <ac:spMk id="32" creationId="{35CC9D7B-420C-CCE6-E72F-E4FA9800F63D}"/>
          </ac:spMkLst>
        </pc:spChg>
        <pc:spChg chg="add del mod">
          <ac:chgData name="Aurelien Domont" userId="6da7715ce44349b3" providerId="LiveId" clId="{29D6A56D-AB0D-41B6-B017-3803A210466B}" dt="2022-11-29T05:14:06.292" v="5863" actId="478"/>
          <ac:spMkLst>
            <pc:docMk/>
            <pc:sldMk cId="879272378" sldId="2236"/>
            <ac:spMk id="33" creationId="{06872301-C5BE-C967-2569-A68B7E6A5C82}"/>
          </ac:spMkLst>
        </pc:spChg>
        <pc:spChg chg="add del mod">
          <ac:chgData name="Aurelien Domont" userId="6da7715ce44349b3" providerId="LiveId" clId="{29D6A56D-AB0D-41B6-B017-3803A210466B}" dt="2022-11-29T05:14:06.292" v="5863" actId="478"/>
          <ac:spMkLst>
            <pc:docMk/>
            <pc:sldMk cId="879272378" sldId="2236"/>
            <ac:spMk id="34" creationId="{F830D057-D932-B5CA-328A-6B39FBF4555D}"/>
          </ac:spMkLst>
        </pc:spChg>
        <pc:spChg chg="add mod">
          <ac:chgData name="Aurelien Domont" userId="6da7715ce44349b3" providerId="LiveId" clId="{29D6A56D-AB0D-41B6-B017-3803A210466B}" dt="2022-11-29T05:15:02.752" v="5879" actId="207"/>
          <ac:spMkLst>
            <pc:docMk/>
            <pc:sldMk cId="879272378" sldId="2236"/>
            <ac:spMk id="38" creationId="{8C2A9F12-7E73-9F03-49B5-EF8B30F24028}"/>
          </ac:spMkLst>
        </pc:spChg>
        <pc:spChg chg="add mod">
          <ac:chgData name="Aurelien Domont" userId="6da7715ce44349b3" providerId="LiveId" clId="{29D6A56D-AB0D-41B6-B017-3803A210466B}" dt="2022-11-29T05:15:02.752" v="5879" actId="207"/>
          <ac:spMkLst>
            <pc:docMk/>
            <pc:sldMk cId="879272378" sldId="2236"/>
            <ac:spMk id="39" creationId="{FF2C83B2-1141-FAE4-3089-2D9E4F00F305}"/>
          </ac:spMkLst>
        </pc:spChg>
        <pc:spChg chg="add mod">
          <ac:chgData name="Aurelien Domont" userId="6da7715ce44349b3" providerId="LiveId" clId="{29D6A56D-AB0D-41B6-B017-3803A210466B}" dt="2022-11-29T05:15:02.752" v="5879" actId="207"/>
          <ac:spMkLst>
            <pc:docMk/>
            <pc:sldMk cId="879272378" sldId="2236"/>
            <ac:spMk id="40" creationId="{FA3DEBE5-EE33-381C-F002-8F9A1FA899BD}"/>
          </ac:spMkLst>
        </pc:spChg>
        <pc:spChg chg="add mod">
          <ac:chgData name="Aurelien Domont" userId="6da7715ce44349b3" providerId="LiveId" clId="{29D6A56D-AB0D-41B6-B017-3803A210466B}" dt="2022-11-29T05:15:02.752" v="5879" actId="207"/>
          <ac:spMkLst>
            <pc:docMk/>
            <pc:sldMk cId="879272378" sldId="2236"/>
            <ac:spMk id="41" creationId="{D67E99AC-D97A-B4BC-18B9-D859F564E054}"/>
          </ac:spMkLst>
        </pc:spChg>
        <pc:spChg chg="add mod">
          <ac:chgData name="Aurelien Domont" userId="6da7715ce44349b3" providerId="LiveId" clId="{29D6A56D-AB0D-41B6-B017-3803A210466B}" dt="2022-11-29T05:15:02.752" v="5879" actId="207"/>
          <ac:spMkLst>
            <pc:docMk/>
            <pc:sldMk cId="879272378" sldId="2236"/>
            <ac:spMk id="42" creationId="{03FB9B71-CBD8-8C30-916D-45CACB614694}"/>
          </ac:spMkLst>
        </pc:spChg>
        <pc:spChg chg="add mod">
          <ac:chgData name="Aurelien Domont" userId="6da7715ce44349b3" providerId="LiveId" clId="{29D6A56D-AB0D-41B6-B017-3803A210466B}" dt="2022-11-29T05:15:02.752" v="5879" actId="207"/>
          <ac:spMkLst>
            <pc:docMk/>
            <pc:sldMk cId="879272378" sldId="2236"/>
            <ac:spMk id="43" creationId="{39B397F5-0815-3A75-4670-08BDF041A280}"/>
          </ac:spMkLst>
        </pc:spChg>
        <pc:spChg chg="mod">
          <ac:chgData name="Aurelien Domont" userId="6da7715ce44349b3" providerId="LiveId" clId="{29D6A56D-AB0D-41B6-B017-3803A210466B}" dt="2022-11-29T05:28:24.889" v="6049" actId="2085"/>
          <ac:spMkLst>
            <pc:docMk/>
            <pc:sldMk cId="879272378" sldId="2236"/>
            <ac:spMk id="44" creationId="{B37241D5-D790-45E8-BF55-A1BE78BE73CE}"/>
          </ac:spMkLst>
        </pc:spChg>
        <pc:spChg chg="del">
          <ac:chgData name="Aurelien Domont" userId="6da7715ce44349b3" providerId="LiveId" clId="{29D6A56D-AB0D-41B6-B017-3803A210466B}" dt="2022-11-29T05:11:02.227" v="5682" actId="478"/>
          <ac:spMkLst>
            <pc:docMk/>
            <pc:sldMk cId="879272378" sldId="2236"/>
            <ac:spMk id="46" creationId="{ECF957D7-D8F3-458B-821C-47577E93E4F6}"/>
          </ac:spMkLst>
        </pc:spChg>
        <pc:spChg chg="add mod">
          <ac:chgData name="Aurelien Domont" userId="6da7715ce44349b3" providerId="LiveId" clId="{29D6A56D-AB0D-41B6-B017-3803A210466B}" dt="2022-11-29T05:15:02.752" v="5879" actId="207"/>
          <ac:spMkLst>
            <pc:docMk/>
            <pc:sldMk cId="879272378" sldId="2236"/>
            <ac:spMk id="47" creationId="{57F624A1-C6C7-1D77-8D39-71930279B70D}"/>
          </ac:spMkLst>
        </pc:spChg>
        <pc:spChg chg="add mod">
          <ac:chgData name="Aurelien Domont" userId="6da7715ce44349b3" providerId="LiveId" clId="{29D6A56D-AB0D-41B6-B017-3803A210466B}" dt="2022-11-29T05:15:02.752" v="5879" actId="207"/>
          <ac:spMkLst>
            <pc:docMk/>
            <pc:sldMk cId="879272378" sldId="2236"/>
            <ac:spMk id="48" creationId="{DD8E832A-4E74-E51B-8B37-CA8042524489}"/>
          </ac:spMkLst>
        </pc:spChg>
        <pc:spChg chg="add mod">
          <ac:chgData name="Aurelien Domont" userId="6da7715ce44349b3" providerId="LiveId" clId="{29D6A56D-AB0D-41B6-B017-3803A210466B}" dt="2022-11-29T05:15:02.752" v="5879" actId="207"/>
          <ac:spMkLst>
            <pc:docMk/>
            <pc:sldMk cId="879272378" sldId="2236"/>
            <ac:spMk id="49" creationId="{7298AD05-11CE-0FBE-647E-02DAC8996A62}"/>
          </ac:spMkLst>
        </pc:spChg>
        <pc:spChg chg="add mod">
          <ac:chgData name="Aurelien Domont" userId="6da7715ce44349b3" providerId="LiveId" clId="{29D6A56D-AB0D-41B6-B017-3803A210466B}" dt="2022-11-29T05:15:02.752" v="5879" actId="207"/>
          <ac:spMkLst>
            <pc:docMk/>
            <pc:sldMk cId="879272378" sldId="2236"/>
            <ac:spMk id="50" creationId="{84296596-9406-42FC-CDB0-79FBBC39CA19}"/>
          </ac:spMkLst>
        </pc:spChg>
        <pc:spChg chg="add mod">
          <ac:chgData name="Aurelien Domont" userId="6da7715ce44349b3" providerId="LiveId" clId="{29D6A56D-AB0D-41B6-B017-3803A210466B}" dt="2022-11-29T05:15:02.752" v="5879" actId="207"/>
          <ac:spMkLst>
            <pc:docMk/>
            <pc:sldMk cId="879272378" sldId="2236"/>
            <ac:spMk id="51" creationId="{19344D4B-9740-39DD-3F47-3DA5FCA3FC84}"/>
          </ac:spMkLst>
        </pc:spChg>
        <pc:spChg chg="add mod">
          <ac:chgData name="Aurelien Domont" userId="6da7715ce44349b3" providerId="LiveId" clId="{29D6A56D-AB0D-41B6-B017-3803A210466B}" dt="2022-11-29T05:15:02.752" v="5879" actId="207"/>
          <ac:spMkLst>
            <pc:docMk/>
            <pc:sldMk cId="879272378" sldId="2236"/>
            <ac:spMk id="52" creationId="{2013470C-8E1E-CB77-3EB8-2852A3C27C6F}"/>
          </ac:spMkLst>
        </pc:spChg>
        <pc:spChg chg="add mod">
          <ac:chgData name="Aurelien Domont" userId="6da7715ce44349b3" providerId="LiveId" clId="{29D6A56D-AB0D-41B6-B017-3803A210466B}" dt="2022-11-29T05:19:35.813" v="5932" actId="1036"/>
          <ac:spMkLst>
            <pc:docMk/>
            <pc:sldMk cId="879272378" sldId="2236"/>
            <ac:spMk id="54" creationId="{495ED347-7FDF-1C2A-EC03-CEDF01B3EDC4}"/>
          </ac:spMkLst>
        </pc:spChg>
        <pc:spChg chg="add mod">
          <ac:chgData name="Aurelien Domont" userId="6da7715ce44349b3" providerId="LiveId" clId="{29D6A56D-AB0D-41B6-B017-3803A210466B}" dt="2022-11-29T05:19:35.813" v="5932" actId="1036"/>
          <ac:spMkLst>
            <pc:docMk/>
            <pc:sldMk cId="879272378" sldId="2236"/>
            <ac:spMk id="55" creationId="{7A54ACF6-3479-C619-88A1-B047A502C94A}"/>
          </ac:spMkLst>
        </pc:spChg>
        <pc:spChg chg="add mod">
          <ac:chgData name="Aurelien Domont" userId="6da7715ce44349b3" providerId="LiveId" clId="{29D6A56D-AB0D-41B6-B017-3803A210466B}" dt="2022-11-30T03:46:34.315" v="6077"/>
          <ac:spMkLst>
            <pc:docMk/>
            <pc:sldMk cId="879272378" sldId="2236"/>
            <ac:spMk id="56" creationId="{5A66721C-EB86-49CF-0CC9-44F2ABE76409}"/>
          </ac:spMkLst>
        </pc:spChg>
        <pc:spChg chg="add mod">
          <ac:chgData name="Aurelien Domont" userId="6da7715ce44349b3" providerId="LiveId" clId="{29D6A56D-AB0D-41B6-B017-3803A210466B}" dt="2022-11-29T05:19:35.813" v="5932" actId="1036"/>
          <ac:spMkLst>
            <pc:docMk/>
            <pc:sldMk cId="879272378" sldId="2236"/>
            <ac:spMk id="57" creationId="{434E4DD4-DA40-F24D-A220-C6E3E9A473B0}"/>
          </ac:spMkLst>
        </pc:spChg>
        <pc:spChg chg="add mod">
          <ac:chgData name="Aurelien Domont" userId="6da7715ce44349b3" providerId="LiveId" clId="{29D6A56D-AB0D-41B6-B017-3803A210466B}" dt="2022-11-29T05:19:35.813" v="5932" actId="1036"/>
          <ac:spMkLst>
            <pc:docMk/>
            <pc:sldMk cId="879272378" sldId="2236"/>
            <ac:spMk id="58" creationId="{C3DB1682-19A5-929F-4BBE-A3245A0A630F}"/>
          </ac:spMkLst>
        </pc:spChg>
        <pc:spChg chg="add mod">
          <ac:chgData name="Aurelien Domont" userId="6da7715ce44349b3" providerId="LiveId" clId="{29D6A56D-AB0D-41B6-B017-3803A210466B}" dt="2022-11-29T05:19:35.813" v="5932" actId="1036"/>
          <ac:spMkLst>
            <pc:docMk/>
            <pc:sldMk cId="879272378" sldId="2236"/>
            <ac:spMk id="59" creationId="{5CBE555C-77A8-529F-317A-362FFFF7B8B8}"/>
          </ac:spMkLst>
        </pc:spChg>
        <pc:spChg chg="add mod">
          <ac:chgData name="Aurelien Domont" userId="6da7715ce44349b3" providerId="LiveId" clId="{29D6A56D-AB0D-41B6-B017-3803A210466B}" dt="2022-11-29T05:19:29.150" v="5929" actId="1036"/>
          <ac:spMkLst>
            <pc:docMk/>
            <pc:sldMk cId="879272378" sldId="2236"/>
            <ac:spMk id="60" creationId="{6231A93B-867A-7B7F-6DE5-6B31BC24832D}"/>
          </ac:spMkLst>
        </pc:spChg>
        <pc:spChg chg="add mod">
          <ac:chgData name="Aurelien Domont" userId="6da7715ce44349b3" providerId="LiveId" clId="{29D6A56D-AB0D-41B6-B017-3803A210466B}" dt="2022-11-29T05:19:29.150" v="5929" actId="1036"/>
          <ac:spMkLst>
            <pc:docMk/>
            <pc:sldMk cId="879272378" sldId="2236"/>
            <ac:spMk id="61" creationId="{F7EB08D9-F554-B21F-3FFB-E8612D143E86}"/>
          </ac:spMkLst>
        </pc:spChg>
        <pc:spChg chg="add mod">
          <ac:chgData name="Aurelien Domont" userId="6da7715ce44349b3" providerId="LiveId" clId="{29D6A56D-AB0D-41B6-B017-3803A210466B}" dt="2022-11-29T05:19:29.150" v="5929" actId="1036"/>
          <ac:spMkLst>
            <pc:docMk/>
            <pc:sldMk cId="879272378" sldId="2236"/>
            <ac:spMk id="62" creationId="{DF6DDC82-9732-9F50-B9B8-3E96707E0E04}"/>
          </ac:spMkLst>
        </pc:spChg>
        <pc:spChg chg="add mod">
          <ac:chgData name="Aurelien Domont" userId="6da7715ce44349b3" providerId="LiveId" clId="{29D6A56D-AB0D-41B6-B017-3803A210466B}" dt="2022-11-29T05:19:29.150" v="5929" actId="1036"/>
          <ac:spMkLst>
            <pc:docMk/>
            <pc:sldMk cId="879272378" sldId="2236"/>
            <ac:spMk id="63" creationId="{FA44308B-6117-A74C-3885-04B05EC75A25}"/>
          </ac:spMkLst>
        </pc:spChg>
        <pc:spChg chg="add mod">
          <ac:chgData name="Aurelien Domont" userId="6da7715ce44349b3" providerId="LiveId" clId="{29D6A56D-AB0D-41B6-B017-3803A210466B}" dt="2022-11-29T05:19:29.150" v="5929" actId="1036"/>
          <ac:spMkLst>
            <pc:docMk/>
            <pc:sldMk cId="879272378" sldId="2236"/>
            <ac:spMk id="64" creationId="{D386557E-0D0F-8B4D-AEFC-BEE853D5EBE2}"/>
          </ac:spMkLst>
        </pc:spChg>
        <pc:spChg chg="add mod">
          <ac:chgData name="Aurelien Domont" userId="6da7715ce44349b3" providerId="LiveId" clId="{29D6A56D-AB0D-41B6-B017-3803A210466B}" dt="2022-11-29T05:19:29.150" v="5929" actId="1036"/>
          <ac:spMkLst>
            <pc:docMk/>
            <pc:sldMk cId="879272378" sldId="2236"/>
            <ac:spMk id="65" creationId="{0B1DF7C9-FB37-E7C0-8B84-1C68528E741F}"/>
          </ac:spMkLst>
        </pc:spChg>
        <pc:spChg chg="add del mod">
          <ac:chgData name="Aurelien Domont" userId="6da7715ce44349b3" providerId="LiveId" clId="{29D6A56D-AB0D-41B6-B017-3803A210466B}" dt="2022-11-29T05:18:43.797" v="5919" actId="478"/>
          <ac:spMkLst>
            <pc:docMk/>
            <pc:sldMk cId="879272378" sldId="2236"/>
            <ac:spMk id="66" creationId="{2B1A2B04-EFC3-019B-2C95-FC91529CD4F7}"/>
          </ac:spMkLst>
        </pc:spChg>
        <pc:spChg chg="add del mod">
          <ac:chgData name="Aurelien Domont" userId="6da7715ce44349b3" providerId="LiveId" clId="{29D6A56D-AB0D-41B6-B017-3803A210466B}" dt="2022-11-29T05:18:43.797" v="5919" actId="478"/>
          <ac:spMkLst>
            <pc:docMk/>
            <pc:sldMk cId="879272378" sldId="2236"/>
            <ac:spMk id="67" creationId="{C3D8F284-4F6B-33CF-92A4-7BCDCB0355D6}"/>
          </ac:spMkLst>
        </pc:spChg>
        <pc:spChg chg="add del mod">
          <ac:chgData name="Aurelien Domont" userId="6da7715ce44349b3" providerId="LiveId" clId="{29D6A56D-AB0D-41B6-B017-3803A210466B}" dt="2022-11-29T05:18:43.797" v="5919" actId="478"/>
          <ac:spMkLst>
            <pc:docMk/>
            <pc:sldMk cId="879272378" sldId="2236"/>
            <ac:spMk id="68" creationId="{0213E659-845D-46A4-6128-DED72AE968D6}"/>
          </ac:spMkLst>
        </pc:spChg>
        <pc:spChg chg="add del mod">
          <ac:chgData name="Aurelien Domont" userId="6da7715ce44349b3" providerId="LiveId" clId="{29D6A56D-AB0D-41B6-B017-3803A210466B}" dt="2022-11-29T05:18:43.797" v="5919" actId="478"/>
          <ac:spMkLst>
            <pc:docMk/>
            <pc:sldMk cId="879272378" sldId="2236"/>
            <ac:spMk id="69" creationId="{6E172765-AA76-E85E-115F-FB5827DFF71B}"/>
          </ac:spMkLst>
        </pc:spChg>
        <pc:spChg chg="add del mod">
          <ac:chgData name="Aurelien Domont" userId="6da7715ce44349b3" providerId="LiveId" clId="{29D6A56D-AB0D-41B6-B017-3803A210466B}" dt="2022-11-29T05:18:43.797" v="5919" actId="478"/>
          <ac:spMkLst>
            <pc:docMk/>
            <pc:sldMk cId="879272378" sldId="2236"/>
            <ac:spMk id="70" creationId="{977179AF-222B-C950-0EBF-BBA3159FF115}"/>
          </ac:spMkLst>
        </pc:spChg>
        <pc:spChg chg="add del mod">
          <ac:chgData name="Aurelien Domont" userId="6da7715ce44349b3" providerId="LiveId" clId="{29D6A56D-AB0D-41B6-B017-3803A210466B}" dt="2022-11-29T05:18:43.797" v="5919" actId="478"/>
          <ac:spMkLst>
            <pc:docMk/>
            <pc:sldMk cId="879272378" sldId="2236"/>
            <ac:spMk id="71" creationId="{D6E6D59B-34D3-7A78-2618-92AAB56B2FB7}"/>
          </ac:spMkLst>
        </pc:spChg>
        <pc:spChg chg="add del mod">
          <ac:chgData name="Aurelien Domont" userId="6da7715ce44349b3" providerId="LiveId" clId="{29D6A56D-AB0D-41B6-B017-3803A210466B}" dt="2022-11-29T05:18:43.797" v="5919" actId="478"/>
          <ac:spMkLst>
            <pc:docMk/>
            <pc:sldMk cId="879272378" sldId="2236"/>
            <ac:spMk id="72" creationId="{740A5758-5256-1BCF-C914-BAD0ACF216B4}"/>
          </ac:spMkLst>
        </pc:spChg>
        <pc:spChg chg="add del mod">
          <ac:chgData name="Aurelien Domont" userId="6da7715ce44349b3" providerId="LiveId" clId="{29D6A56D-AB0D-41B6-B017-3803A210466B}" dt="2022-11-29T05:18:43.797" v="5919" actId="478"/>
          <ac:spMkLst>
            <pc:docMk/>
            <pc:sldMk cId="879272378" sldId="2236"/>
            <ac:spMk id="73" creationId="{38D93215-0F90-583F-B14B-1767B2C1855F}"/>
          </ac:spMkLst>
        </pc:spChg>
        <pc:spChg chg="add del mod">
          <ac:chgData name="Aurelien Domont" userId="6da7715ce44349b3" providerId="LiveId" clId="{29D6A56D-AB0D-41B6-B017-3803A210466B}" dt="2022-11-29T05:18:43.797" v="5919" actId="478"/>
          <ac:spMkLst>
            <pc:docMk/>
            <pc:sldMk cId="879272378" sldId="2236"/>
            <ac:spMk id="74" creationId="{2AF685CD-BECC-0600-B839-E25511163952}"/>
          </ac:spMkLst>
        </pc:spChg>
        <pc:spChg chg="add del mod">
          <ac:chgData name="Aurelien Domont" userId="6da7715ce44349b3" providerId="LiveId" clId="{29D6A56D-AB0D-41B6-B017-3803A210466B}" dt="2022-11-29T05:18:43.797" v="5919" actId="478"/>
          <ac:spMkLst>
            <pc:docMk/>
            <pc:sldMk cId="879272378" sldId="2236"/>
            <ac:spMk id="75" creationId="{EFF1203C-6980-7A85-5A32-726B6DC2F933}"/>
          </ac:spMkLst>
        </pc:spChg>
        <pc:spChg chg="add del mod">
          <ac:chgData name="Aurelien Domont" userId="6da7715ce44349b3" providerId="LiveId" clId="{29D6A56D-AB0D-41B6-B017-3803A210466B}" dt="2022-11-29T05:18:43.797" v="5919" actId="478"/>
          <ac:spMkLst>
            <pc:docMk/>
            <pc:sldMk cId="879272378" sldId="2236"/>
            <ac:spMk id="76" creationId="{8FBBF58C-6896-8E9D-A3B5-42DC5C0CFC30}"/>
          </ac:spMkLst>
        </pc:spChg>
        <pc:spChg chg="add del mod">
          <ac:chgData name="Aurelien Domont" userId="6da7715ce44349b3" providerId="LiveId" clId="{29D6A56D-AB0D-41B6-B017-3803A210466B}" dt="2022-11-29T05:18:43.797" v="5919" actId="478"/>
          <ac:spMkLst>
            <pc:docMk/>
            <pc:sldMk cId="879272378" sldId="2236"/>
            <ac:spMk id="77" creationId="{C6C66616-6213-704D-D1F3-7240719FE7C0}"/>
          </ac:spMkLst>
        </pc:spChg>
        <pc:grpChg chg="add del mod">
          <ac:chgData name="Aurelien Domont" userId="6da7715ce44349b3" providerId="LiveId" clId="{29D6A56D-AB0D-41B6-B017-3803A210466B}" dt="2022-11-29T05:15:19.043" v="5880" actId="478"/>
          <ac:grpSpMkLst>
            <pc:docMk/>
            <pc:sldMk cId="879272378" sldId="2236"/>
            <ac:grpSpMk id="53" creationId="{177CA17A-7209-2BD2-06D9-2453C676B706}"/>
          </ac:grpSpMkLst>
        </pc:grpChg>
        <pc:picChg chg="add del mod">
          <ac:chgData name="Aurelien Domont" userId="6da7715ce44349b3" providerId="LiveId" clId="{29D6A56D-AB0D-41B6-B017-3803A210466B}" dt="2022-11-29T05:22:24.370" v="6036" actId="478"/>
          <ac:picMkLst>
            <pc:docMk/>
            <pc:sldMk cId="879272378" sldId="2236"/>
            <ac:picMk id="35" creationId="{E921544D-49A3-DA8B-56B9-F6A44CC44BAC}"/>
          </ac:picMkLst>
        </pc:picChg>
        <pc:picChg chg="add mod">
          <ac:chgData name="Aurelien Domont" userId="6da7715ce44349b3" providerId="LiveId" clId="{29D6A56D-AB0D-41B6-B017-3803A210466B}" dt="2022-11-29T05:22:05.147" v="6033" actId="1076"/>
          <ac:picMkLst>
            <pc:docMk/>
            <pc:sldMk cId="879272378" sldId="2236"/>
            <ac:picMk id="36" creationId="{711CDEEF-7D23-103E-1E29-74E7377B7666}"/>
          </ac:picMkLst>
        </pc:picChg>
        <pc:picChg chg="add del mod">
          <ac:chgData name="Aurelien Domont" userId="6da7715ce44349b3" providerId="LiveId" clId="{29D6A56D-AB0D-41B6-B017-3803A210466B}" dt="2022-11-29T05:22:09.749" v="6034" actId="478"/>
          <ac:picMkLst>
            <pc:docMk/>
            <pc:sldMk cId="879272378" sldId="2236"/>
            <ac:picMk id="37" creationId="{CD7898A2-AE58-6967-32B9-461B6401E42F}"/>
          </ac:picMkLst>
        </pc:picChg>
        <pc:picChg chg="add mod">
          <ac:chgData name="Aurelien Domont" userId="6da7715ce44349b3" providerId="LiveId" clId="{29D6A56D-AB0D-41B6-B017-3803A210466B}" dt="2022-11-29T05:22:21.490" v="6035" actId="571"/>
          <ac:picMkLst>
            <pc:docMk/>
            <pc:sldMk cId="879272378" sldId="2236"/>
            <ac:picMk id="78" creationId="{CEDA95BF-9572-1510-7BB4-DBDE2D974FC6}"/>
          </ac:picMkLst>
        </pc:picChg>
        <pc:picChg chg="add mod">
          <ac:chgData name="Aurelien Domont" userId="6da7715ce44349b3" providerId="LiveId" clId="{29D6A56D-AB0D-41B6-B017-3803A210466B}" dt="2022-11-29T05:22:54.560" v="6042" actId="1076"/>
          <ac:picMkLst>
            <pc:docMk/>
            <pc:sldMk cId="879272378" sldId="2236"/>
            <ac:picMk id="80" creationId="{3EAB7A9D-4789-792C-AFEE-99D26A3748D2}"/>
          </ac:picMkLst>
        </pc:picChg>
        <pc:cxnChg chg="del">
          <ac:chgData name="Aurelien Domont" userId="6da7715ce44349b3" providerId="LiveId" clId="{29D6A56D-AB0D-41B6-B017-3803A210466B}" dt="2022-11-29T05:12:16.295" v="5801" actId="478"/>
          <ac:cxnSpMkLst>
            <pc:docMk/>
            <pc:sldMk cId="879272378" sldId="2236"/>
            <ac:cxnSpMk id="9" creationId="{938E2F11-EEE6-4CE3-AA18-0A0EFEAFC83C}"/>
          </ac:cxnSpMkLst>
        </pc:cxnChg>
        <pc:cxnChg chg="mod">
          <ac:chgData name="Aurelien Domont" userId="6da7715ce44349b3" providerId="LiveId" clId="{29D6A56D-AB0D-41B6-B017-3803A210466B}" dt="2022-11-29T05:19:57.090" v="5957" actId="14100"/>
          <ac:cxnSpMkLst>
            <pc:docMk/>
            <pc:sldMk cId="879272378" sldId="2236"/>
            <ac:cxnSpMk id="14" creationId="{BD538E77-947C-4FAE-B4B2-3DD1EF8F7624}"/>
          </ac:cxnSpMkLst>
        </pc:cxnChg>
        <pc:cxnChg chg="mod">
          <ac:chgData name="Aurelien Domont" userId="6da7715ce44349b3" providerId="LiveId" clId="{29D6A56D-AB0D-41B6-B017-3803A210466B}" dt="2022-11-29T05:19:57.090" v="5957" actId="14100"/>
          <ac:cxnSpMkLst>
            <pc:docMk/>
            <pc:sldMk cId="879272378" sldId="2236"/>
            <ac:cxnSpMk id="45" creationId="{B4F81B7A-6305-4E8C-BB6C-F5EA082CC1F4}"/>
          </ac:cxnSpMkLst>
        </pc:cxnChg>
      </pc:sldChg>
      <pc:sldChg chg="add del">
        <pc:chgData name="Aurelien Domont" userId="6da7715ce44349b3" providerId="LiveId" clId="{29D6A56D-AB0D-41B6-B017-3803A210466B}" dt="2022-11-29T03:15:04.872" v="3813" actId="47"/>
        <pc:sldMkLst>
          <pc:docMk/>
          <pc:sldMk cId="2721199826" sldId="2239"/>
        </pc:sldMkLst>
      </pc:sldChg>
      <pc:sldChg chg="add del">
        <pc:chgData name="Aurelien Domont" userId="6da7715ce44349b3" providerId="LiveId" clId="{29D6A56D-AB0D-41B6-B017-3803A210466B}" dt="2023-05-22T03:52:23.852" v="8373"/>
        <pc:sldMkLst>
          <pc:docMk/>
          <pc:sldMk cId="1534399825" sldId="2240"/>
        </pc:sldMkLst>
      </pc:sldChg>
      <pc:sldChg chg="delSp modSp add mod">
        <pc:chgData name="Aurelien Domont" userId="6da7715ce44349b3" providerId="LiveId" clId="{29D6A56D-AB0D-41B6-B017-3803A210466B}" dt="2022-12-22T02:07:44.609" v="6415" actId="20577"/>
        <pc:sldMkLst>
          <pc:docMk/>
          <pc:sldMk cId="843871502" sldId="2241"/>
        </pc:sldMkLst>
        <pc:spChg chg="mod">
          <ac:chgData name="Aurelien Domont" userId="6da7715ce44349b3" providerId="LiveId" clId="{29D6A56D-AB0D-41B6-B017-3803A210466B}" dt="2022-12-22T01:53:13.192" v="6360" actId="20577"/>
          <ac:spMkLst>
            <pc:docMk/>
            <pc:sldMk cId="843871502" sldId="2241"/>
            <ac:spMk id="2" creationId="{348A7EA7-3990-4563-9792-0C87DE3BBA5A}"/>
          </ac:spMkLst>
        </pc:spChg>
        <pc:spChg chg="del">
          <ac:chgData name="Aurelien Domont" userId="6da7715ce44349b3" providerId="LiveId" clId="{29D6A56D-AB0D-41B6-B017-3803A210466B}" dt="2022-12-22T01:48:19.479" v="6228" actId="478"/>
          <ac:spMkLst>
            <pc:docMk/>
            <pc:sldMk cId="843871502" sldId="2241"/>
            <ac:spMk id="3" creationId="{1E0F6651-FD5F-7A00-89E6-DC83F95A2828}"/>
          </ac:spMkLst>
        </pc:spChg>
        <pc:spChg chg="mod">
          <ac:chgData name="Aurelien Domont" userId="6da7715ce44349b3" providerId="LiveId" clId="{29D6A56D-AB0D-41B6-B017-3803A210466B}" dt="2022-12-22T02:06:17.084" v="6412" actId="20577"/>
          <ac:spMkLst>
            <pc:docMk/>
            <pc:sldMk cId="843871502" sldId="2241"/>
            <ac:spMk id="11" creationId="{381FC75F-03AC-4E06-95A5-77AA464D139B}"/>
          </ac:spMkLst>
        </pc:spChg>
        <pc:spChg chg="mod">
          <ac:chgData name="Aurelien Domont" userId="6da7715ce44349b3" providerId="LiveId" clId="{29D6A56D-AB0D-41B6-B017-3803A210466B}" dt="2022-12-22T02:07:44.609" v="6415" actId="20577"/>
          <ac:spMkLst>
            <pc:docMk/>
            <pc:sldMk cId="843871502" sldId="2241"/>
            <ac:spMk id="16" creationId="{6C2BB713-9637-4B9B-938F-E9768876782A}"/>
          </ac:spMkLst>
        </pc:spChg>
      </pc:sldChg>
      <pc:sldChg chg="addSp delSp modSp add del mod">
        <pc:chgData name="Aurelien Domont" userId="6da7715ce44349b3" providerId="LiveId" clId="{29D6A56D-AB0D-41B6-B017-3803A210466B}" dt="2022-12-22T02:49:48.660" v="7063" actId="47"/>
        <pc:sldMkLst>
          <pc:docMk/>
          <pc:sldMk cId="262843525" sldId="2242"/>
        </pc:sldMkLst>
        <pc:spChg chg="del">
          <ac:chgData name="Aurelien Domont" userId="6da7715ce44349b3" providerId="LiveId" clId="{29D6A56D-AB0D-41B6-B017-3803A210466B}" dt="2022-12-22T02:09:33.507" v="6468" actId="478"/>
          <ac:spMkLst>
            <pc:docMk/>
            <pc:sldMk cId="262843525" sldId="2242"/>
            <ac:spMk id="2" creationId="{348A7EA7-3990-4563-9792-0C87DE3BBA5A}"/>
          </ac:spMkLst>
        </pc:spChg>
        <pc:spChg chg="add mod">
          <ac:chgData name="Aurelien Domont" userId="6da7715ce44349b3" providerId="LiveId" clId="{29D6A56D-AB0D-41B6-B017-3803A210466B}" dt="2022-12-22T02:38:21.162" v="6807" actId="1035"/>
          <ac:spMkLst>
            <pc:docMk/>
            <pc:sldMk cId="262843525" sldId="2242"/>
            <ac:spMk id="3" creationId="{EA450401-54A0-7F29-864C-FB4D088FE8F3}"/>
          </ac:spMkLst>
        </pc:spChg>
        <pc:spChg chg="add mod">
          <ac:chgData name="Aurelien Domont" userId="6da7715ce44349b3" providerId="LiveId" clId="{29D6A56D-AB0D-41B6-B017-3803A210466B}" dt="2022-12-22T02:38:21.162" v="6807" actId="1035"/>
          <ac:spMkLst>
            <pc:docMk/>
            <pc:sldMk cId="262843525" sldId="2242"/>
            <ac:spMk id="4" creationId="{9B9FBDF8-9371-81CA-B78A-4CB64754C987}"/>
          </ac:spMkLst>
        </pc:spChg>
        <pc:spChg chg="del">
          <ac:chgData name="Aurelien Domont" userId="6da7715ce44349b3" providerId="LiveId" clId="{29D6A56D-AB0D-41B6-B017-3803A210466B}" dt="2022-12-22T02:09:33.507" v="6468" actId="478"/>
          <ac:spMkLst>
            <pc:docMk/>
            <pc:sldMk cId="262843525" sldId="2242"/>
            <ac:spMk id="6" creationId="{80C2FA24-C3FF-4F99-8694-BA262AB8070A}"/>
          </ac:spMkLst>
        </pc:spChg>
        <pc:spChg chg="del">
          <ac:chgData name="Aurelien Domont" userId="6da7715ce44349b3" providerId="LiveId" clId="{29D6A56D-AB0D-41B6-B017-3803A210466B}" dt="2022-12-22T02:09:33.507" v="6468" actId="478"/>
          <ac:spMkLst>
            <pc:docMk/>
            <pc:sldMk cId="262843525" sldId="2242"/>
            <ac:spMk id="8" creationId="{44D82846-5412-4854-9CE9-6BD4A4D3F201}"/>
          </ac:spMkLst>
        </pc:spChg>
        <pc:spChg chg="add mod">
          <ac:chgData name="Aurelien Domont" userId="6da7715ce44349b3" providerId="LiveId" clId="{29D6A56D-AB0D-41B6-B017-3803A210466B}" dt="2022-12-22T02:38:21.162" v="6807" actId="1035"/>
          <ac:spMkLst>
            <pc:docMk/>
            <pc:sldMk cId="262843525" sldId="2242"/>
            <ac:spMk id="9" creationId="{C184ECF8-D1D8-2F4F-A2D2-5C9BC2A88792}"/>
          </ac:spMkLst>
        </pc:spChg>
        <pc:spChg chg="del">
          <ac:chgData name="Aurelien Domont" userId="6da7715ce44349b3" providerId="LiveId" clId="{29D6A56D-AB0D-41B6-B017-3803A210466B}" dt="2022-12-22T02:09:33.507" v="6468" actId="478"/>
          <ac:spMkLst>
            <pc:docMk/>
            <pc:sldMk cId="262843525" sldId="2242"/>
            <ac:spMk id="10" creationId="{F6F130AE-016B-49E7-B056-02422308B35C}"/>
          </ac:spMkLst>
        </pc:spChg>
        <pc:spChg chg="del">
          <ac:chgData name="Aurelien Domont" userId="6da7715ce44349b3" providerId="LiveId" clId="{29D6A56D-AB0D-41B6-B017-3803A210466B}" dt="2022-12-22T02:09:33.507" v="6468" actId="478"/>
          <ac:spMkLst>
            <pc:docMk/>
            <pc:sldMk cId="262843525" sldId="2242"/>
            <ac:spMk id="11" creationId="{381FC75F-03AC-4E06-95A5-77AA464D139B}"/>
          </ac:spMkLst>
        </pc:spChg>
        <pc:spChg chg="del">
          <ac:chgData name="Aurelien Domont" userId="6da7715ce44349b3" providerId="LiveId" clId="{29D6A56D-AB0D-41B6-B017-3803A210466B}" dt="2022-12-22T02:09:33.507" v="6468" actId="478"/>
          <ac:spMkLst>
            <pc:docMk/>
            <pc:sldMk cId="262843525" sldId="2242"/>
            <ac:spMk id="12" creationId="{F22BF9F2-93B5-4D57-85D0-BA4BB3074ECE}"/>
          </ac:spMkLst>
        </pc:spChg>
        <pc:spChg chg="add mod">
          <ac:chgData name="Aurelien Domont" userId="6da7715ce44349b3" providerId="LiveId" clId="{29D6A56D-AB0D-41B6-B017-3803A210466B}" dt="2022-12-22T02:38:21.162" v="6807" actId="1035"/>
          <ac:spMkLst>
            <pc:docMk/>
            <pc:sldMk cId="262843525" sldId="2242"/>
            <ac:spMk id="15" creationId="{56B4B888-3570-F317-2A33-A8E979355DF5}"/>
          </ac:spMkLst>
        </pc:spChg>
        <pc:spChg chg="mod">
          <ac:chgData name="Aurelien Domont" userId="6da7715ce44349b3" providerId="LiveId" clId="{29D6A56D-AB0D-41B6-B017-3803A210466B}" dt="2022-12-22T02:09:28.156" v="6467" actId="20577"/>
          <ac:spMkLst>
            <pc:docMk/>
            <pc:sldMk cId="262843525" sldId="2242"/>
            <ac:spMk id="16" creationId="{6C2BB713-9637-4B9B-938F-E9768876782A}"/>
          </ac:spMkLst>
        </pc:spChg>
        <pc:spChg chg="add mod">
          <ac:chgData name="Aurelien Domont" userId="6da7715ce44349b3" providerId="LiveId" clId="{29D6A56D-AB0D-41B6-B017-3803A210466B}" dt="2022-12-22T02:38:21.162" v="6807" actId="1035"/>
          <ac:spMkLst>
            <pc:docMk/>
            <pc:sldMk cId="262843525" sldId="2242"/>
            <ac:spMk id="17" creationId="{8B6FB289-0775-989C-9510-556B672BEBE9}"/>
          </ac:spMkLst>
        </pc:spChg>
        <pc:spChg chg="add mod">
          <ac:chgData name="Aurelien Domont" userId="6da7715ce44349b3" providerId="LiveId" clId="{29D6A56D-AB0D-41B6-B017-3803A210466B}" dt="2022-12-22T02:38:21.162" v="6807" actId="1035"/>
          <ac:spMkLst>
            <pc:docMk/>
            <pc:sldMk cId="262843525" sldId="2242"/>
            <ac:spMk id="19" creationId="{066B3D28-B8E5-3542-6B84-9DE7FC5DC58C}"/>
          </ac:spMkLst>
        </pc:spChg>
        <pc:spChg chg="add del mod ord">
          <ac:chgData name="Aurelien Domont" userId="6da7715ce44349b3" providerId="LiveId" clId="{29D6A56D-AB0D-41B6-B017-3803A210466B}" dt="2022-12-22T02:37:08.758" v="6729" actId="478"/>
          <ac:spMkLst>
            <pc:docMk/>
            <pc:sldMk cId="262843525" sldId="2242"/>
            <ac:spMk id="32" creationId="{50CE43FF-6A6E-895B-69FB-40A1A56FD2AF}"/>
          </ac:spMkLst>
        </pc:spChg>
        <pc:spChg chg="add mod">
          <ac:chgData name="Aurelien Domont" userId="6da7715ce44349b3" providerId="LiveId" clId="{29D6A56D-AB0D-41B6-B017-3803A210466B}" dt="2022-12-22T02:38:44.492" v="6812" actId="2085"/>
          <ac:spMkLst>
            <pc:docMk/>
            <pc:sldMk cId="262843525" sldId="2242"/>
            <ac:spMk id="33" creationId="{1305D0E2-DC72-79F1-A139-E76CB18DA80E}"/>
          </ac:spMkLst>
        </pc:spChg>
        <pc:spChg chg="del">
          <ac:chgData name="Aurelien Domont" userId="6da7715ce44349b3" providerId="LiveId" clId="{29D6A56D-AB0D-41B6-B017-3803A210466B}" dt="2022-12-22T02:09:33.507" v="6468" actId="478"/>
          <ac:spMkLst>
            <pc:docMk/>
            <pc:sldMk cId="262843525" sldId="2242"/>
            <ac:spMk id="44" creationId="{B37241D5-D790-45E8-BF55-A1BE78BE73CE}"/>
          </ac:spMkLst>
        </pc:spChg>
        <pc:spChg chg="del">
          <ac:chgData name="Aurelien Domont" userId="6da7715ce44349b3" providerId="LiveId" clId="{29D6A56D-AB0D-41B6-B017-3803A210466B}" dt="2022-12-22T02:09:33.507" v="6468" actId="478"/>
          <ac:spMkLst>
            <pc:docMk/>
            <pc:sldMk cId="262843525" sldId="2242"/>
            <ac:spMk id="54" creationId="{495ED347-7FDF-1C2A-EC03-CEDF01B3EDC4}"/>
          </ac:spMkLst>
        </pc:spChg>
        <pc:spChg chg="del">
          <ac:chgData name="Aurelien Domont" userId="6da7715ce44349b3" providerId="LiveId" clId="{29D6A56D-AB0D-41B6-B017-3803A210466B}" dt="2022-12-22T02:09:33.507" v="6468" actId="478"/>
          <ac:spMkLst>
            <pc:docMk/>
            <pc:sldMk cId="262843525" sldId="2242"/>
            <ac:spMk id="55" creationId="{7A54ACF6-3479-C619-88A1-B047A502C94A}"/>
          </ac:spMkLst>
        </pc:spChg>
        <pc:spChg chg="del">
          <ac:chgData name="Aurelien Domont" userId="6da7715ce44349b3" providerId="LiveId" clId="{29D6A56D-AB0D-41B6-B017-3803A210466B}" dt="2022-12-22T02:09:33.507" v="6468" actId="478"/>
          <ac:spMkLst>
            <pc:docMk/>
            <pc:sldMk cId="262843525" sldId="2242"/>
            <ac:spMk id="56" creationId="{5A66721C-EB86-49CF-0CC9-44F2ABE76409}"/>
          </ac:spMkLst>
        </pc:spChg>
        <pc:spChg chg="del">
          <ac:chgData name="Aurelien Domont" userId="6da7715ce44349b3" providerId="LiveId" clId="{29D6A56D-AB0D-41B6-B017-3803A210466B}" dt="2022-12-22T02:09:33.507" v="6468" actId="478"/>
          <ac:spMkLst>
            <pc:docMk/>
            <pc:sldMk cId="262843525" sldId="2242"/>
            <ac:spMk id="57" creationId="{434E4DD4-DA40-F24D-A220-C6E3E9A473B0}"/>
          </ac:spMkLst>
        </pc:spChg>
        <pc:spChg chg="del">
          <ac:chgData name="Aurelien Domont" userId="6da7715ce44349b3" providerId="LiveId" clId="{29D6A56D-AB0D-41B6-B017-3803A210466B}" dt="2022-12-22T02:09:33.507" v="6468" actId="478"/>
          <ac:spMkLst>
            <pc:docMk/>
            <pc:sldMk cId="262843525" sldId="2242"/>
            <ac:spMk id="58" creationId="{C3DB1682-19A5-929F-4BBE-A3245A0A630F}"/>
          </ac:spMkLst>
        </pc:spChg>
        <pc:spChg chg="del">
          <ac:chgData name="Aurelien Domont" userId="6da7715ce44349b3" providerId="LiveId" clId="{29D6A56D-AB0D-41B6-B017-3803A210466B}" dt="2022-12-22T02:09:33.507" v="6468" actId="478"/>
          <ac:spMkLst>
            <pc:docMk/>
            <pc:sldMk cId="262843525" sldId="2242"/>
            <ac:spMk id="59" creationId="{5CBE555C-77A8-529F-317A-362FFFF7B8B8}"/>
          </ac:spMkLst>
        </pc:spChg>
        <pc:spChg chg="del">
          <ac:chgData name="Aurelien Domont" userId="6da7715ce44349b3" providerId="LiveId" clId="{29D6A56D-AB0D-41B6-B017-3803A210466B}" dt="2022-12-22T02:09:33.507" v="6468" actId="478"/>
          <ac:spMkLst>
            <pc:docMk/>
            <pc:sldMk cId="262843525" sldId="2242"/>
            <ac:spMk id="60" creationId="{6231A93B-867A-7B7F-6DE5-6B31BC24832D}"/>
          </ac:spMkLst>
        </pc:spChg>
        <pc:spChg chg="del">
          <ac:chgData name="Aurelien Domont" userId="6da7715ce44349b3" providerId="LiveId" clId="{29D6A56D-AB0D-41B6-B017-3803A210466B}" dt="2022-12-22T02:09:33.507" v="6468" actId="478"/>
          <ac:spMkLst>
            <pc:docMk/>
            <pc:sldMk cId="262843525" sldId="2242"/>
            <ac:spMk id="61" creationId="{F7EB08D9-F554-B21F-3FFB-E8612D143E86}"/>
          </ac:spMkLst>
        </pc:spChg>
        <pc:spChg chg="del">
          <ac:chgData name="Aurelien Domont" userId="6da7715ce44349b3" providerId="LiveId" clId="{29D6A56D-AB0D-41B6-B017-3803A210466B}" dt="2022-12-22T02:09:33.507" v="6468" actId="478"/>
          <ac:spMkLst>
            <pc:docMk/>
            <pc:sldMk cId="262843525" sldId="2242"/>
            <ac:spMk id="62" creationId="{DF6DDC82-9732-9F50-B9B8-3E96707E0E04}"/>
          </ac:spMkLst>
        </pc:spChg>
        <pc:spChg chg="del">
          <ac:chgData name="Aurelien Domont" userId="6da7715ce44349b3" providerId="LiveId" clId="{29D6A56D-AB0D-41B6-B017-3803A210466B}" dt="2022-12-22T02:09:33.507" v="6468" actId="478"/>
          <ac:spMkLst>
            <pc:docMk/>
            <pc:sldMk cId="262843525" sldId="2242"/>
            <ac:spMk id="63" creationId="{FA44308B-6117-A74C-3885-04B05EC75A25}"/>
          </ac:spMkLst>
        </pc:spChg>
        <pc:spChg chg="del">
          <ac:chgData name="Aurelien Domont" userId="6da7715ce44349b3" providerId="LiveId" clId="{29D6A56D-AB0D-41B6-B017-3803A210466B}" dt="2022-12-22T02:09:33.507" v="6468" actId="478"/>
          <ac:spMkLst>
            <pc:docMk/>
            <pc:sldMk cId="262843525" sldId="2242"/>
            <ac:spMk id="64" creationId="{D386557E-0D0F-8B4D-AEFC-BEE853D5EBE2}"/>
          </ac:spMkLst>
        </pc:spChg>
        <pc:spChg chg="del">
          <ac:chgData name="Aurelien Domont" userId="6da7715ce44349b3" providerId="LiveId" clId="{29D6A56D-AB0D-41B6-B017-3803A210466B}" dt="2022-12-22T02:09:33.507" v="6468" actId="478"/>
          <ac:spMkLst>
            <pc:docMk/>
            <pc:sldMk cId="262843525" sldId="2242"/>
            <ac:spMk id="65" creationId="{0B1DF7C9-FB37-E7C0-8B84-1C68528E741F}"/>
          </ac:spMkLst>
        </pc:spChg>
        <pc:picChg chg="add del mod">
          <ac:chgData name="Aurelien Domont" userId="6da7715ce44349b3" providerId="LiveId" clId="{29D6A56D-AB0D-41B6-B017-3803A210466B}" dt="2022-12-22T02:32:22.988" v="6659" actId="478"/>
          <ac:picMkLst>
            <pc:docMk/>
            <pc:sldMk cId="262843525" sldId="2242"/>
            <ac:picMk id="23" creationId="{D582B402-263D-E8F3-3608-998668A977EF}"/>
          </ac:picMkLst>
        </pc:picChg>
        <pc:picChg chg="add del mod">
          <ac:chgData name="Aurelien Domont" userId="6da7715ce44349b3" providerId="LiveId" clId="{29D6A56D-AB0D-41B6-B017-3803A210466B}" dt="2022-12-22T02:31:46.409" v="6645" actId="478"/>
          <ac:picMkLst>
            <pc:docMk/>
            <pc:sldMk cId="262843525" sldId="2242"/>
            <ac:picMk id="25" creationId="{575866E0-4085-34BF-D1CA-568FC9F5EEE4}"/>
          </ac:picMkLst>
        </pc:picChg>
        <pc:picChg chg="add mod">
          <ac:chgData name="Aurelien Domont" userId="6da7715ce44349b3" providerId="LiveId" clId="{29D6A56D-AB0D-41B6-B017-3803A210466B}" dt="2022-12-22T02:38:21.162" v="6807" actId="1035"/>
          <ac:picMkLst>
            <pc:docMk/>
            <pc:sldMk cId="262843525" sldId="2242"/>
            <ac:picMk id="27" creationId="{E56A2071-4F51-C148-1C35-30AB9525F3F4}"/>
          </ac:picMkLst>
        </pc:picChg>
        <pc:picChg chg="add mod">
          <ac:chgData name="Aurelien Domont" userId="6da7715ce44349b3" providerId="LiveId" clId="{29D6A56D-AB0D-41B6-B017-3803A210466B}" dt="2022-12-22T02:38:21.162" v="6807" actId="1035"/>
          <ac:picMkLst>
            <pc:docMk/>
            <pc:sldMk cId="262843525" sldId="2242"/>
            <ac:picMk id="29" creationId="{EF7ADB60-CCDB-7DCA-2F02-0070B20E670F}"/>
          </ac:picMkLst>
        </pc:picChg>
        <pc:picChg chg="add mod">
          <ac:chgData name="Aurelien Domont" userId="6da7715ce44349b3" providerId="LiveId" clId="{29D6A56D-AB0D-41B6-B017-3803A210466B}" dt="2022-12-22T02:38:21.162" v="6807" actId="1035"/>
          <ac:picMkLst>
            <pc:docMk/>
            <pc:sldMk cId="262843525" sldId="2242"/>
            <ac:picMk id="31" creationId="{3A99DED6-2185-EF27-6E39-838C939FBE7A}"/>
          </ac:picMkLst>
        </pc:picChg>
        <pc:picChg chg="del">
          <ac:chgData name="Aurelien Domont" userId="6da7715ce44349b3" providerId="LiveId" clId="{29D6A56D-AB0D-41B6-B017-3803A210466B}" dt="2022-12-22T02:09:33.507" v="6468" actId="478"/>
          <ac:picMkLst>
            <pc:docMk/>
            <pc:sldMk cId="262843525" sldId="2242"/>
            <ac:picMk id="36" creationId="{711CDEEF-7D23-103E-1E29-74E7377B7666}"/>
          </ac:picMkLst>
        </pc:picChg>
        <pc:picChg chg="del">
          <ac:chgData name="Aurelien Domont" userId="6da7715ce44349b3" providerId="LiveId" clId="{29D6A56D-AB0D-41B6-B017-3803A210466B}" dt="2022-12-22T02:09:33.507" v="6468" actId="478"/>
          <ac:picMkLst>
            <pc:docMk/>
            <pc:sldMk cId="262843525" sldId="2242"/>
            <ac:picMk id="78" creationId="{CEDA95BF-9572-1510-7BB4-DBDE2D974FC6}"/>
          </ac:picMkLst>
        </pc:picChg>
        <pc:picChg chg="del">
          <ac:chgData name="Aurelien Domont" userId="6da7715ce44349b3" providerId="LiveId" clId="{29D6A56D-AB0D-41B6-B017-3803A210466B}" dt="2022-12-22T02:09:33.507" v="6468" actId="478"/>
          <ac:picMkLst>
            <pc:docMk/>
            <pc:sldMk cId="262843525" sldId="2242"/>
            <ac:picMk id="80" creationId="{3EAB7A9D-4789-792C-AFEE-99D26A3748D2}"/>
          </ac:picMkLst>
        </pc:picChg>
        <pc:cxnChg chg="add mod">
          <ac:chgData name="Aurelien Domont" userId="6da7715ce44349b3" providerId="LiveId" clId="{29D6A56D-AB0D-41B6-B017-3803A210466B}" dt="2022-12-22T02:38:21.162" v="6807" actId="1035"/>
          <ac:cxnSpMkLst>
            <pc:docMk/>
            <pc:sldMk cId="262843525" sldId="2242"/>
            <ac:cxnSpMk id="7" creationId="{DEEF1AEB-AC86-6EF3-F5C8-58FA99C659BF}"/>
          </ac:cxnSpMkLst>
        </pc:cxnChg>
        <pc:cxnChg chg="del">
          <ac:chgData name="Aurelien Domont" userId="6da7715ce44349b3" providerId="LiveId" clId="{29D6A56D-AB0D-41B6-B017-3803A210466B}" dt="2022-12-22T02:09:33.507" v="6468" actId="478"/>
          <ac:cxnSpMkLst>
            <pc:docMk/>
            <pc:sldMk cId="262843525" sldId="2242"/>
            <ac:cxnSpMk id="14" creationId="{BD538E77-947C-4FAE-B4B2-3DD1EF8F7624}"/>
          </ac:cxnSpMkLst>
        </pc:cxnChg>
        <pc:cxnChg chg="add mod">
          <ac:chgData name="Aurelien Domont" userId="6da7715ce44349b3" providerId="LiveId" clId="{29D6A56D-AB0D-41B6-B017-3803A210466B}" dt="2022-12-22T02:38:21.162" v="6807" actId="1035"/>
          <ac:cxnSpMkLst>
            <pc:docMk/>
            <pc:sldMk cId="262843525" sldId="2242"/>
            <ac:cxnSpMk id="18" creationId="{CD63B38F-2D16-9AFB-4731-3AB2E4E8D498}"/>
          </ac:cxnSpMkLst>
        </pc:cxnChg>
        <pc:cxnChg chg="del">
          <ac:chgData name="Aurelien Domont" userId="6da7715ce44349b3" providerId="LiveId" clId="{29D6A56D-AB0D-41B6-B017-3803A210466B}" dt="2022-12-22T02:09:33.507" v="6468" actId="478"/>
          <ac:cxnSpMkLst>
            <pc:docMk/>
            <pc:sldMk cId="262843525" sldId="2242"/>
            <ac:cxnSpMk id="45" creationId="{B4F81B7A-6305-4E8C-BB6C-F5EA082CC1F4}"/>
          </ac:cxnSpMkLst>
        </pc:cxnChg>
      </pc:sldChg>
      <pc:sldChg chg="addSp delSp modSp add mod">
        <pc:chgData name="Aurelien Domont" userId="6da7715ce44349b3" providerId="LiveId" clId="{29D6A56D-AB0D-41B6-B017-3803A210466B}" dt="2023-01-12T04:52:58.654" v="7490" actId="1035"/>
        <pc:sldMkLst>
          <pc:docMk/>
          <pc:sldMk cId="3430291042" sldId="2243"/>
        </pc:sldMkLst>
        <pc:spChg chg="add mod">
          <ac:chgData name="Aurelien Domont" userId="6da7715ce44349b3" providerId="LiveId" clId="{29D6A56D-AB0D-41B6-B017-3803A210466B}" dt="2022-12-22T02:41:10.030" v="6883" actId="1036"/>
          <ac:spMkLst>
            <pc:docMk/>
            <pc:sldMk cId="3430291042" sldId="2243"/>
            <ac:spMk id="2" creationId="{37C45936-8205-4EBD-981B-A2D169BC42A4}"/>
          </ac:spMkLst>
        </pc:spChg>
        <pc:spChg chg="mod">
          <ac:chgData name="Aurelien Domont" userId="6da7715ce44349b3" providerId="LiveId" clId="{29D6A56D-AB0D-41B6-B017-3803A210466B}" dt="2022-12-22T02:41:10.030" v="6883" actId="1036"/>
          <ac:spMkLst>
            <pc:docMk/>
            <pc:sldMk cId="3430291042" sldId="2243"/>
            <ac:spMk id="3" creationId="{EA450401-54A0-7F29-864C-FB4D088FE8F3}"/>
          </ac:spMkLst>
        </pc:spChg>
        <pc:spChg chg="mod">
          <ac:chgData name="Aurelien Domont" userId="6da7715ce44349b3" providerId="LiveId" clId="{29D6A56D-AB0D-41B6-B017-3803A210466B}" dt="2022-12-22T02:41:10.030" v="6883" actId="1036"/>
          <ac:spMkLst>
            <pc:docMk/>
            <pc:sldMk cId="3430291042" sldId="2243"/>
            <ac:spMk id="4" creationId="{9B9FBDF8-9371-81CA-B78A-4CB64754C987}"/>
          </ac:spMkLst>
        </pc:spChg>
        <pc:spChg chg="add mod">
          <ac:chgData name="Aurelien Domont" userId="6da7715ce44349b3" providerId="LiveId" clId="{29D6A56D-AB0D-41B6-B017-3803A210466B}" dt="2022-12-22T02:49:25.451" v="7060" actId="1036"/>
          <ac:spMkLst>
            <pc:docMk/>
            <pc:sldMk cId="3430291042" sldId="2243"/>
            <ac:spMk id="6" creationId="{4B038958-A2A8-6280-7307-C6A1E607AE7F}"/>
          </ac:spMkLst>
        </pc:spChg>
        <pc:spChg chg="add mod">
          <ac:chgData name="Aurelien Domont" userId="6da7715ce44349b3" providerId="LiveId" clId="{29D6A56D-AB0D-41B6-B017-3803A210466B}" dt="2022-12-22T02:49:25.451" v="7060" actId="1036"/>
          <ac:spMkLst>
            <pc:docMk/>
            <pc:sldMk cId="3430291042" sldId="2243"/>
            <ac:spMk id="8" creationId="{C8D8E6CA-BB88-6989-EE33-EDC8134F95A9}"/>
          </ac:spMkLst>
        </pc:spChg>
        <pc:spChg chg="mod">
          <ac:chgData name="Aurelien Domont" userId="6da7715ce44349b3" providerId="LiveId" clId="{29D6A56D-AB0D-41B6-B017-3803A210466B}" dt="2022-12-22T23:17:35.953" v="7098" actId="179"/>
          <ac:spMkLst>
            <pc:docMk/>
            <pc:sldMk cId="3430291042" sldId="2243"/>
            <ac:spMk id="9" creationId="{C184ECF8-D1D8-2F4F-A2D2-5C9BC2A88792}"/>
          </ac:spMkLst>
        </pc:spChg>
        <pc:spChg chg="add mod">
          <ac:chgData name="Aurelien Domont" userId="6da7715ce44349b3" providerId="LiveId" clId="{29D6A56D-AB0D-41B6-B017-3803A210466B}" dt="2022-12-22T02:49:25.451" v="7060" actId="1036"/>
          <ac:spMkLst>
            <pc:docMk/>
            <pc:sldMk cId="3430291042" sldId="2243"/>
            <ac:spMk id="10" creationId="{A84D7B7B-5F92-F4A6-7DAE-FD2298354B68}"/>
          </ac:spMkLst>
        </pc:spChg>
        <pc:spChg chg="add mod">
          <ac:chgData name="Aurelien Domont" userId="6da7715ce44349b3" providerId="LiveId" clId="{29D6A56D-AB0D-41B6-B017-3803A210466B}" dt="2022-12-22T02:49:25.451" v="7060" actId="1036"/>
          <ac:spMkLst>
            <pc:docMk/>
            <pc:sldMk cId="3430291042" sldId="2243"/>
            <ac:spMk id="11" creationId="{EC1235CE-FAA8-FD31-FEF8-68B02890540A}"/>
          </ac:spMkLst>
        </pc:spChg>
        <pc:spChg chg="add del mod">
          <ac:chgData name="Aurelien Domont" userId="6da7715ce44349b3" providerId="LiveId" clId="{29D6A56D-AB0D-41B6-B017-3803A210466B}" dt="2022-12-22T02:44:16.509" v="6938" actId="478"/>
          <ac:spMkLst>
            <pc:docMk/>
            <pc:sldMk cId="3430291042" sldId="2243"/>
            <ac:spMk id="12" creationId="{AD903880-D120-21B0-13E9-280A272E7492}"/>
          </ac:spMkLst>
        </pc:spChg>
        <pc:spChg chg="add mod">
          <ac:chgData name="Aurelien Domont" userId="6da7715ce44349b3" providerId="LiveId" clId="{29D6A56D-AB0D-41B6-B017-3803A210466B}" dt="2022-12-22T02:49:25.451" v="7060" actId="1036"/>
          <ac:spMkLst>
            <pc:docMk/>
            <pc:sldMk cId="3430291042" sldId="2243"/>
            <ac:spMk id="14" creationId="{1E0D2E98-AF15-1F97-5ABD-894172E59E3E}"/>
          </ac:spMkLst>
        </pc:spChg>
        <pc:spChg chg="mod">
          <ac:chgData name="Aurelien Domont" userId="6da7715ce44349b3" providerId="LiveId" clId="{29D6A56D-AB0D-41B6-B017-3803A210466B}" dt="2022-12-22T02:41:10.030" v="6883" actId="1036"/>
          <ac:spMkLst>
            <pc:docMk/>
            <pc:sldMk cId="3430291042" sldId="2243"/>
            <ac:spMk id="15" creationId="{56B4B888-3570-F317-2A33-A8E979355DF5}"/>
          </ac:spMkLst>
        </pc:spChg>
        <pc:spChg chg="mod">
          <ac:chgData name="Aurelien Domont" userId="6da7715ce44349b3" providerId="LiveId" clId="{29D6A56D-AB0D-41B6-B017-3803A210466B}" dt="2022-12-22T02:49:44.473" v="7062" actId="20577"/>
          <ac:spMkLst>
            <pc:docMk/>
            <pc:sldMk cId="3430291042" sldId="2243"/>
            <ac:spMk id="16" creationId="{6C2BB713-9637-4B9B-938F-E9768876782A}"/>
          </ac:spMkLst>
        </pc:spChg>
        <pc:spChg chg="mod">
          <ac:chgData name="Aurelien Domont" userId="6da7715ce44349b3" providerId="LiveId" clId="{29D6A56D-AB0D-41B6-B017-3803A210466B}" dt="2022-12-22T02:41:10.030" v="6883" actId="1036"/>
          <ac:spMkLst>
            <pc:docMk/>
            <pc:sldMk cId="3430291042" sldId="2243"/>
            <ac:spMk id="17" creationId="{8B6FB289-0775-989C-9510-556B672BEBE9}"/>
          </ac:spMkLst>
        </pc:spChg>
        <pc:spChg chg="mod">
          <ac:chgData name="Aurelien Domont" userId="6da7715ce44349b3" providerId="LiveId" clId="{29D6A56D-AB0D-41B6-B017-3803A210466B}" dt="2022-12-22T02:41:10.030" v="6883" actId="1036"/>
          <ac:spMkLst>
            <pc:docMk/>
            <pc:sldMk cId="3430291042" sldId="2243"/>
            <ac:spMk id="19" creationId="{066B3D28-B8E5-3542-6B84-9DE7FC5DC58C}"/>
          </ac:spMkLst>
        </pc:spChg>
        <pc:spChg chg="add mod">
          <ac:chgData name="Aurelien Domont" userId="6da7715ce44349b3" providerId="LiveId" clId="{29D6A56D-AB0D-41B6-B017-3803A210466B}" dt="2022-12-22T02:49:25.451" v="7060" actId="1036"/>
          <ac:spMkLst>
            <pc:docMk/>
            <pc:sldMk cId="3430291042" sldId="2243"/>
            <ac:spMk id="20" creationId="{1E3BC9B5-3A1B-B69A-1BA4-6C0727BAA167}"/>
          </ac:spMkLst>
        </pc:spChg>
        <pc:spChg chg="add mod">
          <ac:chgData name="Aurelien Domont" userId="6da7715ce44349b3" providerId="LiveId" clId="{29D6A56D-AB0D-41B6-B017-3803A210466B}" dt="2022-12-22T02:49:25.451" v="7060" actId="1036"/>
          <ac:spMkLst>
            <pc:docMk/>
            <pc:sldMk cId="3430291042" sldId="2243"/>
            <ac:spMk id="21" creationId="{81780AF8-0CF3-9271-63AB-6D7233F0ABDC}"/>
          </ac:spMkLst>
        </pc:spChg>
        <pc:spChg chg="add mod">
          <ac:chgData name="Aurelien Domont" userId="6da7715ce44349b3" providerId="LiveId" clId="{29D6A56D-AB0D-41B6-B017-3803A210466B}" dt="2022-12-22T02:47:23.855" v="7021" actId="1035"/>
          <ac:spMkLst>
            <pc:docMk/>
            <pc:sldMk cId="3430291042" sldId="2243"/>
            <ac:spMk id="22" creationId="{5CAF78C5-3FDB-55BA-8E5E-928CC096F261}"/>
          </ac:spMkLst>
        </pc:spChg>
        <pc:spChg chg="add del mod">
          <ac:chgData name="Aurelien Domont" userId="6da7715ce44349b3" providerId="LiveId" clId="{29D6A56D-AB0D-41B6-B017-3803A210466B}" dt="2022-12-22T02:43:15.449" v="6919" actId="478"/>
          <ac:spMkLst>
            <pc:docMk/>
            <pc:sldMk cId="3430291042" sldId="2243"/>
            <ac:spMk id="23" creationId="{61D829DF-1E61-04F3-8B54-19E729D77CA9}"/>
          </ac:spMkLst>
        </pc:spChg>
        <pc:spChg chg="add del mod">
          <ac:chgData name="Aurelien Domont" userId="6da7715ce44349b3" providerId="LiveId" clId="{29D6A56D-AB0D-41B6-B017-3803A210466B}" dt="2022-12-22T02:49:25.451" v="7060" actId="1036"/>
          <ac:spMkLst>
            <pc:docMk/>
            <pc:sldMk cId="3430291042" sldId="2243"/>
            <ac:spMk id="24" creationId="{276F0C7B-2D2C-B079-2CA6-256011679C5E}"/>
          </ac:spMkLst>
        </pc:spChg>
        <pc:spChg chg="add mod">
          <ac:chgData name="Aurelien Domont" userId="6da7715ce44349b3" providerId="LiveId" clId="{29D6A56D-AB0D-41B6-B017-3803A210466B}" dt="2022-12-22T02:49:25.451" v="7060" actId="1036"/>
          <ac:spMkLst>
            <pc:docMk/>
            <pc:sldMk cId="3430291042" sldId="2243"/>
            <ac:spMk id="25" creationId="{919CCB0D-0BDC-A477-A1BA-213659826114}"/>
          </ac:spMkLst>
        </pc:spChg>
        <pc:spChg chg="add del mod">
          <ac:chgData name="Aurelien Domont" userId="6da7715ce44349b3" providerId="LiveId" clId="{29D6A56D-AB0D-41B6-B017-3803A210466B}" dt="2022-12-22T02:43:26.802" v="6922" actId="478"/>
          <ac:spMkLst>
            <pc:docMk/>
            <pc:sldMk cId="3430291042" sldId="2243"/>
            <ac:spMk id="26" creationId="{5511880B-8B19-602A-4AFE-BE836E6B7A93}"/>
          </ac:spMkLst>
        </pc:spChg>
        <pc:spChg chg="add del mod">
          <ac:chgData name="Aurelien Domont" userId="6da7715ce44349b3" providerId="LiveId" clId="{29D6A56D-AB0D-41B6-B017-3803A210466B}" dt="2022-12-22T02:43:26.802" v="6922" actId="478"/>
          <ac:spMkLst>
            <pc:docMk/>
            <pc:sldMk cId="3430291042" sldId="2243"/>
            <ac:spMk id="28" creationId="{6F70E044-2576-CB3A-4A12-F22C0C79B5DC}"/>
          </ac:spMkLst>
        </pc:spChg>
        <pc:spChg chg="add mod">
          <ac:chgData name="Aurelien Domont" userId="6da7715ce44349b3" providerId="LiveId" clId="{29D6A56D-AB0D-41B6-B017-3803A210466B}" dt="2022-12-22T02:49:25.451" v="7060" actId="1036"/>
          <ac:spMkLst>
            <pc:docMk/>
            <pc:sldMk cId="3430291042" sldId="2243"/>
            <ac:spMk id="30" creationId="{E2C4C1B1-9371-1DC9-C09D-6C3B363824CC}"/>
          </ac:spMkLst>
        </pc:spChg>
        <pc:spChg chg="mod">
          <ac:chgData name="Aurelien Domont" userId="6da7715ce44349b3" providerId="LiveId" clId="{29D6A56D-AB0D-41B6-B017-3803A210466B}" dt="2022-12-22T02:41:31.170" v="6891" actId="14100"/>
          <ac:spMkLst>
            <pc:docMk/>
            <pc:sldMk cId="3430291042" sldId="2243"/>
            <ac:spMk id="32" creationId="{50CE43FF-6A6E-895B-69FB-40A1A56FD2AF}"/>
          </ac:spMkLst>
        </pc:spChg>
        <pc:spChg chg="add del mod">
          <ac:chgData name="Aurelien Domont" userId="6da7715ce44349b3" providerId="LiveId" clId="{29D6A56D-AB0D-41B6-B017-3803A210466B}" dt="2022-12-22T02:45:02.386" v="6966" actId="478"/>
          <ac:spMkLst>
            <pc:docMk/>
            <pc:sldMk cId="3430291042" sldId="2243"/>
            <ac:spMk id="33" creationId="{05B589C5-BEF0-FCDC-AC62-E7F29316A3B7}"/>
          </ac:spMkLst>
        </pc:spChg>
        <pc:spChg chg="add del mod">
          <ac:chgData name="Aurelien Domont" userId="6da7715ce44349b3" providerId="LiveId" clId="{29D6A56D-AB0D-41B6-B017-3803A210466B}" dt="2022-12-22T02:43:26.802" v="6922" actId="478"/>
          <ac:spMkLst>
            <pc:docMk/>
            <pc:sldMk cId="3430291042" sldId="2243"/>
            <ac:spMk id="34" creationId="{DD4B0AFF-AB64-42B9-26A9-4343B05BE510}"/>
          </ac:spMkLst>
        </pc:spChg>
        <pc:spChg chg="add del mod">
          <ac:chgData name="Aurelien Domont" userId="6da7715ce44349b3" providerId="LiveId" clId="{29D6A56D-AB0D-41B6-B017-3803A210466B}" dt="2022-12-22T02:43:26.802" v="6922" actId="478"/>
          <ac:spMkLst>
            <pc:docMk/>
            <pc:sldMk cId="3430291042" sldId="2243"/>
            <ac:spMk id="35" creationId="{422EE17C-0B81-7ED1-A8BF-ABF789C6A550}"/>
          </ac:spMkLst>
        </pc:spChg>
        <pc:spChg chg="add mod">
          <ac:chgData name="Aurelien Domont" userId="6da7715ce44349b3" providerId="LiveId" clId="{29D6A56D-AB0D-41B6-B017-3803A210466B}" dt="2022-12-22T02:49:25.451" v="7060" actId="1036"/>
          <ac:spMkLst>
            <pc:docMk/>
            <pc:sldMk cId="3430291042" sldId="2243"/>
            <ac:spMk id="36" creationId="{F6844F40-1F0A-01BA-4DD6-036005152350}"/>
          </ac:spMkLst>
        </pc:spChg>
        <pc:spChg chg="add del mod">
          <ac:chgData name="Aurelien Domont" userId="6da7715ce44349b3" providerId="LiveId" clId="{29D6A56D-AB0D-41B6-B017-3803A210466B}" dt="2022-12-22T02:45:02.386" v="6966" actId="478"/>
          <ac:spMkLst>
            <pc:docMk/>
            <pc:sldMk cId="3430291042" sldId="2243"/>
            <ac:spMk id="37" creationId="{C6B75AC2-D432-76D0-1814-2207973A0C48}"/>
          </ac:spMkLst>
        </pc:spChg>
        <pc:spChg chg="add del mod">
          <ac:chgData name="Aurelien Domont" userId="6da7715ce44349b3" providerId="LiveId" clId="{29D6A56D-AB0D-41B6-B017-3803A210466B}" dt="2022-12-22T02:43:26.802" v="6922" actId="478"/>
          <ac:spMkLst>
            <pc:docMk/>
            <pc:sldMk cId="3430291042" sldId="2243"/>
            <ac:spMk id="38" creationId="{8186BC1A-6437-73D1-5A9C-E25082B1045A}"/>
          </ac:spMkLst>
        </pc:spChg>
        <pc:spChg chg="add del mod">
          <ac:chgData name="Aurelien Domont" userId="6da7715ce44349b3" providerId="LiveId" clId="{29D6A56D-AB0D-41B6-B017-3803A210466B}" dt="2022-12-22T02:43:26.802" v="6922" actId="478"/>
          <ac:spMkLst>
            <pc:docMk/>
            <pc:sldMk cId="3430291042" sldId="2243"/>
            <ac:spMk id="39" creationId="{FC337F8C-A4E1-0C1D-DF53-AC197A01D5B4}"/>
          </ac:spMkLst>
        </pc:spChg>
        <pc:spChg chg="add mod">
          <ac:chgData name="Aurelien Domont" userId="6da7715ce44349b3" providerId="LiveId" clId="{29D6A56D-AB0D-41B6-B017-3803A210466B}" dt="2022-12-22T02:49:25.451" v="7060" actId="1036"/>
          <ac:spMkLst>
            <pc:docMk/>
            <pc:sldMk cId="3430291042" sldId="2243"/>
            <ac:spMk id="40" creationId="{057BFD13-5871-D223-FEEF-E402E64BDD28}"/>
          </ac:spMkLst>
        </pc:spChg>
        <pc:spChg chg="add del mod">
          <ac:chgData name="Aurelien Domont" userId="6da7715ce44349b3" providerId="LiveId" clId="{29D6A56D-AB0D-41B6-B017-3803A210466B}" dt="2022-12-22T02:45:02.386" v="6966" actId="478"/>
          <ac:spMkLst>
            <pc:docMk/>
            <pc:sldMk cId="3430291042" sldId="2243"/>
            <ac:spMk id="41" creationId="{1B8613D1-2A99-2EC2-DCE5-CDF481A13908}"/>
          </ac:spMkLst>
        </pc:spChg>
        <pc:spChg chg="add del mod">
          <ac:chgData name="Aurelien Domont" userId="6da7715ce44349b3" providerId="LiveId" clId="{29D6A56D-AB0D-41B6-B017-3803A210466B}" dt="2022-12-22T02:44:39.943" v="6941" actId="478"/>
          <ac:spMkLst>
            <pc:docMk/>
            <pc:sldMk cId="3430291042" sldId="2243"/>
            <ac:spMk id="42" creationId="{76EE2FF1-B280-371A-4C75-D3EE82B721CA}"/>
          </ac:spMkLst>
        </pc:spChg>
        <pc:spChg chg="add del mod">
          <ac:chgData name="Aurelien Domont" userId="6da7715ce44349b3" providerId="LiveId" clId="{29D6A56D-AB0D-41B6-B017-3803A210466B}" dt="2022-12-22T02:44:39.943" v="6941" actId="478"/>
          <ac:spMkLst>
            <pc:docMk/>
            <pc:sldMk cId="3430291042" sldId="2243"/>
            <ac:spMk id="43" creationId="{9FCADE2D-1913-0CE8-3060-6585A5DBEB2A}"/>
          </ac:spMkLst>
        </pc:spChg>
        <pc:spChg chg="add del mod">
          <ac:chgData name="Aurelien Domont" userId="6da7715ce44349b3" providerId="LiveId" clId="{29D6A56D-AB0D-41B6-B017-3803A210466B}" dt="2022-12-22T02:44:39.943" v="6941" actId="478"/>
          <ac:spMkLst>
            <pc:docMk/>
            <pc:sldMk cId="3430291042" sldId="2243"/>
            <ac:spMk id="44" creationId="{4D158CF8-DB4D-D20E-130A-7AA857116F10}"/>
          </ac:spMkLst>
        </pc:spChg>
        <pc:spChg chg="add mod">
          <ac:chgData name="Aurelien Domont" userId="6da7715ce44349b3" providerId="LiveId" clId="{29D6A56D-AB0D-41B6-B017-3803A210466B}" dt="2022-12-22T02:49:25.451" v="7060" actId="1036"/>
          <ac:spMkLst>
            <pc:docMk/>
            <pc:sldMk cId="3430291042" sldId="2243"/>
            <ac:spMk id="45" creationId="{190A3E05-8B7D-5E96-9FDD-B05FAEA1BF9C}"/>
          </ac:spMkLst>
        </pc:spChg>
        <pc:spChg chg="add mod">
          <ac:chgData name="Aurelien Domont" userId="6da7715ce44349b3" providerId="LiveId" clId="{29D6A56D-AB0D-41B6-B017-3803A210466B}" dt="2022-12-22T02:49:25.451" v="7060" actId="1036"/>
          <ac:spMkLst>
            <pc:docMk/>
            <pc:sldMk cId="3430291042" sldId="2243"/>
            <ac:spMk id="47" creationId="{3D6FAF98-B7CE-94EA-CC40-D2BDC7AEF049}"/>
          </ac:spMkLst>
        </pc:spChg>
        <pc:spChg chg="add mod">
          <ac:chgData name="Aurelien Domont" userId="6da7715ce44349b3" providerId="LiveId" clId="{29D6A56D-AB0D-41B6-B017-3803A210466B}" dt="2022-12-22T02:49:25.451" v="7060" actId="1036"/>
          <ac:spMkLst>
            <pc:docMk/>
            <pc:sldMk cId="3430291042" sldId="2243"/>
            <ac:spMk id="49" creationId="{C4E8C5CA-49E1-6C03-9A77-3F8628BC9916}"/>
          </ac:spMkLst>
        </pc:spChg>
        <pc:spChg chg="add mod">
          <ac:chgData name="Aurelien Domont" userId="6da7715ce44349b3" providerId="LiveId" clId="{29D6A56D-AB0D-41B6-B017-3803A210466B}" dt="2022-12-22T02:49:25.451" v="7060" actId="1036"/>
          <ac:spMkLst>
            <pc:docMk/>
            <pc:sldMk cId="3430291042" sldId="2243"/>
            <ac:spMk id="50" creationId="{B3E96768-D5B4-FD5B-BDA0-B31EA846B89A}"/>
          </ac:spMkLst>
        </pc:spChg>
        <pc:spChg chg="add mod">
          <ac:chgData name="Aurelien Domont" userId="6da7715ce44349b3" providerId="LiveId" clId="{29D6A56D-AB0D-41B6-B017-3803A210466B}" dt="2022-12-22T02:49:25.451" v="7060" actId="1036"/>
          <ac:spMkLst>
            <pc:docMk/>
            <pc:sldMk cId="3430291042" sldId="2243"/>
            <ac:spMk id="51" creationId="{DEEDE451-3383-C30D-B56C-C1E8156024CA}"/>
          </ac:spMkLst>
        </pc:spChg>
        <pc:spChg chg="add mod">
          <ac:chgData name="Aurelien Domont" userId="6da7715ce44349b3" providerId="LiveId" clId="{29D6A56D-AB0D-41B6-B017-3803A210466B}" dt="2022-12-22T02:49:25.451" v="7060" actId="1036"/>
          <ac:spMkLst>
            <pc:docMk/>
            <pc:sldMk cId="3430291042" sldId="2243"/>
            <ac:spMk id="52" creationId="{21F322CF-6F73-C3D2-57C5-6F0933790687}"/>
          </ac:spMkLst>
        </pc:spChg>
        <pc:spChg chg="add mod">
          <ac:chgData name="Aurelien Domont" userId="6da7715ce44349b3" providerId="LiveId" clId="{29D6A56D-AB0D-41B6-B017-3803A210466B}" dt="2022-12-22T02:49:25.451" v="7060" actId="1036"/>
          <ac:spMkLst>
            <pc:docMk/>
            <pc:sldMk cId="3430291042" sldId="2243"/>
            <ac:spMk id="53" creationId="{691F9F03-396B-95A6-5A05-63CAB1C7B63A}"/>
          </ac:spMkLst>
        </pc:spChg>
        <pc:spChg chg="add mod">
          <ac:chgData name="Aurelien Domont" userId="6da7715ce44349b3" providerId="LiveId" clId="{29D6A56D-AB0D-41B6-B017-3803A210466B}" dt="2022-12-22T02:49:25.451" v="7060" actId="1036"/>
          <ac:spMkLst>
            <pc:docMk/>
            <pc:sldMk cId="3430291042" sldId="2243"/>
            <ac:spMk id="54" creationId="{64A55DF2-1663-FB82-1796-EE85AEB159E0}"/>
          </ac:spMkLst>
        </pc:spChg>
        <pc:picChg chg="mod">
          <ac:chgData name="Aurelien Domont" userId="6da7715ce44349b3" providerId="LiveId" clId="{29D6A56D-AB0D-41B6-B017-3803A210466B}" dt="2023-01-12T04:52:58.654" v="7490" actId="1035"/>
          <ac:picMkLst>
            <pc:docMk/>
            <pc:sldMk cId="3430291042" sldId="2243"/>
            <ac:picMk id="27" creationId="{E56A2071-4F51-C148-1C35-30AB9525F3F4}"/>
          </ac:picMkLst>
        </pc:picChg>
        <pc:picChg chg="mod">
          <ac:chgData name="Aurelien Domont" userId="6da7715ce44349b3" providerId="LiveId" clId="{29D6A56D-AB0D-41B6-B017-3803A210466B}" dt="2023-01-12T04:52:58.654" v="7490" actId="1035"/>
          <ac:picMkLst>
            <pc:docMk/>
            <pc:sldMk cId="3430291042" sldId="2243"/>
            <ac:picMk id="29" creationId="{EF7ADB60-CCDB-7DCA-2F02-0070B20E670F}"/>
          </ac:picMkLst>
        </pc:picChg>
        <pc:picChg chg="mod">
          <ac:chgData name="Aurelien Domont" userId="6da7715ce44349b3" providerId="LiveId" clId="{29D6A56D-AB0D-41B6-B017-3803A210466B}" dt="2023-01-12T04:52:58.654" v="7490" actId="1035"/>
          <ac:picMkLst>
            <pc:docMk/>
            <pc:sldMk cId="3430291042" sldId="2243"/>
            <ac:picMk id="31" creationId="{3A99DED6-2185-EF27-6E39-838C939FBE7A}"/>
          </ac:picMkLst>
        </pc:picChg>
        <pc:picChg chg="add mod">
          <ac:chgData name="Aurelien Domont" userId="6da7715ce44349b3" providerId="LiveId" clId="{29D6A56D-AB0D-41B6-B017-3803A210466B}" dt="2022-12-22T02:49:25.451" v="7060" actId="1036"/>
          <ac:picMkLst>
            <pc:docMk/>
            <pc:sldMk cId="3430291042" sldId="2243"/>
            <ac:picMk id="46" creationId="{BC70BB0D-9830-0DD2-54E1-D9FFBE630391}"/>
          </ac:picMkLst>
        </pc:picChg>
        <pc:picChg chg="add mod">
          <ac:chgData name="Aurelien Domont" userId="6da7715ce44349b3" providerId="LiveId" clId="{29D6A56D-AB0D-41B6-B017-3803A210466B}" dt="2022-12-22T02:49:25.451" v="7060" actId="1036"/>
          <ac:picMkLst>
            <pc:docMk/>
            <pc:sldMk cId="3430291042" sldId="2243"/>
            <ac:picMk id="48" creationId="{543F17AA-1138-87E8-89A2-70476B9A47FB}"/>
          </ac:picMkLst>
        </pc:picChg>
        <pc:cxnChg chg="del mod">
          <ac:chgData name="Aurelien Domont" userId="6da7715ce44349b3" providerId="LiveId" clId="{29D6A56D-AB0D-41B6-B017-3803A210466B}" dt="2022-12-22T02:41:00.560" v="6879" actId="478"/>
          <ac:cxnSpMkLst>
            <pc:docMk/>
            <pc:sldMk cId="3430291042" sldId="2243"/>
            <ac:cxnSpMk id="7" creationId="{DEEF1AEB-AC86-6EF3-F5C8-58FA99C659BF}"/>
          </ac:cxnSpMkLst>
        </pc:cxnChg>
        <pc:cxnChg chg="del">
          <ac:chgData name="Aurelien Domont" userId="6da7715ce44349b3" providerId="LiveId" clId="{29D6A56D-AB0D-41B6-B017-3803A210466B}" dt="2022-12-22T02:40:47.828" v="6877" actId="478"/>
          <ac:cxnSpMkLst>
            <pc:docMk/>
            <pc:sldMk cId="3430291042" sldId="2243"/>
            <ac:cxnSpMk id="18" creationId="{CD63B38F-2D16-9AFB-4731-3AB2E4E8D498}"/>
          </ac:cxnSpMkLst>
        </pc:cxnChg>
      </pc:sldChg>
      <pc:sldChg chg="addSp modSp add mod">
        <pc:chgData name="Aurelien Domont" userId="6da7715ce44349b3" providerId="LiveId" clId="{29D6A56D-AB0D-41B6-B017-3803A210466B}" dt="2023-01-12T05:04:38.379" v="7578"/>
        <pc:sldMkLst>
          <pc:docMk/>
          <pc:sldMk cId="491738258" sldId="2244"/>
        </pc:sldMkLst>
        <pc:spChg chg="mod">
          <ac:chgData name="Aurelien Domont" userId="6da7715ce44349b3" providerId="LiveId" clId="{29D6A56D-AB0D-41B6-B017-3803A210466B}" dt="2023-01-12T04:55:40.304" v="7498" actId="108"/>
          <ac:spMkLst>
            <pc:docMk/>
            <pc:sldMk cId="491738258" sldId="2244"/>
            <ac:spMk id="2" creationId="{EA372256-4CD5-2346-918C-5388C53B0312}"/>
          </ac:spMkLst>
        </pc:spChg>
        <pc:spChg chg="mod">
          <ac:chgData name="Aurelien Domont" userId="6da7715ce44349b3" providerId="LiveId" clId="{29D6A56D-AB0D-41B6-B017-3803A210466B}" dt="2023-01-12T04:55:54.975" v="7502" actId="207"/>
          <ac:spMkLst>
            <pc:docMk/>
            <pc:sldMk cId="491738258" sldId="2244"/>
            <ac:spMk id="9" creationId="{DA4E9622-B718-54CD-E9BC-A6DC03D2080F}"/>
          </ac:spMkLst>
        </pc:spChg>
        <pc:spChg chg="mod">
          <ac:chgData name="Aurelien Domont" userId="6da7715ce44349b3" providerId="LiveId" clId="{29D6A56D-AB0D-41B6-B017-3803A210466B}" dt="2023-01-12T04:55:51.596" v="7501" actId="20577"/>
          <ac:spMkLst>
            <pc:docMk/>
            <pc:sldMk cId="491738258" sldId="2244"/>
            <ac:spMk id="16" creationId="{6C2BB713-9637-4B9B-938F-E9768876782A}"/>
          </ac:spMkLst>
        </pc:spChg>
        <pc:picChg chg="add mod">
          <ac:chgData name="Aurelien Domont" userId="6da7715ce44349b3" providerId="LiveId" clId="{29D6A56D-AB0D-41B6-B017-3803A210466B}" dt="2023-01-12T05:04:38.379" v="7578"/>
          <ac:picMkLst>
            <pc:docMk/>
            <pc:sldMk cId="491738258" sldId="2244"/>
            <ac:picMk id="28" creationId="{40345514-E895-CC65-CC98-78295CCAEF37}"/>
          </ac:picMkLst>
        </pc:picChg>
      </pc:sldChg>
      <pc:sldChg chg="addSp modSp add mod">
        <pc:chgData name="Aurelien Domont" userId="6da7715ce44349b3" providerId="LiveId" clId="{29D6A56D-AB0D-41B6-B017-3803A210466B}" dt="2023-01-12T05:04:39.794" v="7579"/>
        <pc:sldMkLst>
          <pc:docMk/>
          <pc:sldMk cId="1404594132" sldId="2245"/>
        </pc:sldMkLst>
        <pc:spChg chg="mod">
          <ac:chgData name="Aurelien Domont" userId="6da7715ce44349b3" providerId="LiveId" clId="{29D6A56D-AB0D-41B6-B017-3803A210466B}" dt="2023-01-12T04:56:02.806" v="7505" actId="207"/>
          <ac:spMkLst>
            <pc:docMk/>
            <pc:sldMk cId="1404594132" sldId="2245"/>
            <ac:spMk id="3" creationId="{CCBDA38E-60A0-5C90-7734-91ACC355B47C}"/>
          </ac:spMkLst>
        </pc:spChg>
        <pc:spChg chg="mod">
          <ac:chgData name="Aurelien Domont" userId="6da7715ce44349b3" providerId="LiveId" clId="{29D6A56D-AB0D-41B6-B017-3803A210466B}" dt="2023-01-12T04:55:59.818" v="7504" actId="20577"/>
          <ac:spMkLst>
            <pc:docMk/>
            <pc:sldMk cId="1404594132" sldId="2245"/>
            <ac:spMk id="16" creationId="{6C2BB713-9637-4B9B-938F-E9768876782A}"/>
          </ac:spMkLst>
        </pc:spChg>
        <pc:picChg chg="add mod">
          <ac:chgData name="Aurelien Domont" userId="6da7715ce44349b3" providerId="LiveId" clId="{29D6A56D-AB0D-41B6-B017-3803A210466B}" dt="2023-01-12T05:04:39.794" v="7579"/>
          <ac:picMkLst>
            <pc:docMk/>
            <pc:sldMk cId="1404594132" sldId="2245"/>
            <ac:picMk id="28" creationId="{CBAEBF00-BA7F-B80F-699B-2C32FAB26562}"/>
          </ac:picMkLst>
        </pc:picChg>
      </pc:sldChg>
      <pc:sldChg chg="addSp modSp add mod">
        <pc:chgData name="Aurelien Domont" userId="6da7715ce44349b3" providerId="LiveId" clId="{29D6A56D-AB0D-41B6-B017-3803A210466B}" dt="2023-01-12T05:04:41.914" v="7580"/>
        <pc:sldMkLst>
          <pc:docMk/>
          <pc:sldMk cId="1046321983" sldId="2246"/>
        </pc:sldMkLst>
        <pc:spChg chg="mod">
          <ac:chgData name="Aurelien Domont" userId="6da7715ce44349b3" providerId="LiveId" clId="{29D6A56D-AB0D-41B6-B017-3803A210466B}" dt="2023-01-12T04:56:40.447" v="7506" actId="207"/>
          <ac:spMkLst>
            <pc:docMk/>
            <pc:sldMk cId="1046321983" sldId="2246"/>
            <ac:spMk id="11" creationId="{8FF1E004-3F64-42DA-6C63-D65A84E88D46}"/>
          </ac:spMkLst>
        </pc:spChg>
        <pc:spChg chg="mod">
          <ac:chgData name="Aurelien Domont" userId="6da7715ce44349b3" providerId="LiveId" clId="{29D6A56D-AB0D-41B6-B017-3803A210466B}" dt="2023-01-12T04:57:11.382" v="7513" actId="20577"/>
          <ac:spMkLst>
            <pc:docMk/>
            <pc:sldMk cId="1046321983" sldId="2246"/>
            <ac:spMk id="16" creationId="{6C2BB713-9637-4B9B-938F-E9768876782A}"/>
          </ac:spMkLst>
        </pc:spChg>
        <pc:picChg chg="add mod">
          <ac:chgData name="Aurelien Domont" userId="6da7715ce44349b3" providerId="LiveId" clId="{29D6A56D-AB0D-41B6-B017-3803A210466B}" dt="2023-01-12T05:04:41.914" v="7580"/>
          <ac:picMkLst>
            <pc:docMk/>
            <pc:sldMk cId="1046321983" sldId="2246"/>
            <ac:picMk id="28" creationId="{536195F5-D725-3247-392F-9631A733D2E8}"/>
          </ac:picMkLst>
        </pc:picChg>
      </pc:sldChg>
      <pc:sldChg chg="addSp delSp modSp add mod">
        <pc:chgData name="Aurelien Domont" userId="6da7715ce44349b3" providerId="LiveId" clId="{29D6A56D-AB0D-41B6-B017-3803A210466B}" dt="2023-01-12T05:00:03.521" v="7548"/>
        <pc:sldMkLst>
          <pc:docMk/>
          <pc:sldMk cId="3536940778" sldId="2247"/>
        </pc:sldMkLst>
        <pc:spChg chg="del">
          <ac:chgData name="Aurelien Domont" userId="6da7715ce44349b3" providerId="LiveId" clId="{29D6A56D-AB0D-41B6-B017-3803A210466B}" dt="2023-01-12T04:58:18.848" v="7522" actId="478"/>
          <ac:spMkLst>
            <pc:docMk/>
            <pc:sldMk cId="3536940778" sldId="2247"/>
            <ac:spMk id="2" creationId="{EA372256-4CD5-2346-918C-5388C53B0312}"/>
          </ac:spMkLst>
        </pc:spChg>
        <pc:spChg chg="del">
          <ac:chgData name="Aurelien Domont" userId="6da7715ce44349b3" providerId="LiveId" clId="{29D6A56D-AB0D-41B6-B017-3803A210466B}" dt="2023-01-12T04:58:18.848" v="7522" actId="478"/>
          <ac:spMkLst>
            <pc:docMk/>
            <pc:sldMk cId="3536940778" sldId="2247"/>
            <ac:spMk id="3" creationId="{CCBDA38E-60A0-5C90-7734-91ACC355B47C}"/>
          </ac:spMkLst>
        </pc:spChg>
        <pc:spChg chg="del">
          <ac:chgData name="Aurelien Domont" userId="6da7715ce44349b3" providerId="LiveId" clId="{29D6A56D-AB0D-41B6-B017-3803A210466B}" dt="2023-01-12T04:58:18.848" v="7522" actId="478"/>
          <ac:spMkLst>
            <pc:docMk/>
            <pc:sldMk cId="3536940778" sldId="2247"/>
            <ac:spMk id="4" creationId="{A68EA1FF-45E4-32E1-A20B-8F946F778A23}"/>
          </ac:spMkLst>
        </pc:spChg>
        <pc:spChg chg="del">
          <ac:chgData name="Aurelien Domont" userId="6da7715ce44349b3" providerId="LiveId" clId="{29D6A56D-AB0D-41B6-B017-3803A210466B}" dt="2023-01-12T04:58:18.848" v="7522" actId="478"/>
          <ac:spMkLst>
            <pc:docMk/>
            <pc:sldMk cId="3536940778" sldId="2247"/>
            <ac:spMk id="6" creationId="{6B5D0C30-1D05-4AC7-75F6-E983E47BA10E}"/>
          </ac:spMkLst>
        </pc:spChg>
        <pc:spChg chg="del">
          <ac:chgData name="Aurelien Domont" userId="6da7715ce44349b3" providerId="LiveId" clId="{29D6A56D-AB0D-41B6-B017-3803A210466B}" dt="2023-01-12T04:58:18.848" v="7522" actId="478"/>
          <ac:spMkLst>
            <pc:docMk/>
            <pc:sldMk cId="3536940778" sldId="2247"/>
            <ac:spMk id="7" creationId="{D22588F6-1419-FED5-7801-1A0E13102D20}"/>
          </ac:spMkLst>
        </pc:spChg>
        <pc:spChg chg="del">
          <ac:chgData name="Aurelien Domont" userId="6da7715ce44349b3" providerId="LiveId" clId="{29D6A56D-AB0D-41B6-B017-3803A210466B}" dt="2023-01-12T04:58:18.848" v="7522" actId="478"/>
          <ac:spMkLst>
            <pc:docMk/>
            <pc:sldMk cId="3536940778" sldId="2247"/>
            <ac:spMk id="9" creationId="{DA4E9622-B718-54CD-E9BC-A6DC03D2080F}"/>
          </ac:spMkLst>
        </pc:spChg>
        <pc:spChg chg="del">
          <ac:chgData name="Aurelien Domont" userId="6da7715ce44349b3" providerId="LiveId" clId="{29D6A56D-AB0D-41B6-B017-3803A210466B}" dt="2023-01-12T04:58:18.848" v="7522" actId="478"/>
          <ac:spMkLst>
            <pc:docMk/>
            <pc:sldMk cId="3536940778" sldId="2247"/>
            <ac:spMk id="11" creationId="{8FF1E004-3F64-42DA-6C63-D65A84E88D46}"/>
          </ac:spMkLst>
        </pc:spChg>
        <pc:spChg chg="del">
          <ac:chgData name="Aurelien Domont" userId="6da7715ce44349b3" providerId="LiveId" clId="{29D6A56D-AB0D-41B6-B017-3803A210466B}" dt="2023-01-12T04:58:18.848" v="7522" actId="478"/>
          <ac:spMkLst>
            <pc:docMk/>
            <pc:sldMk cId="3536940778" sldId="2247"/>
            <ac:spMk id="12" creationId="{D0DA8314-72A5-B45F-22C2-F0A47A6EC233}"/>
          </ac:spMkLst>
        </pc:spChg>
        <pc:spChg chg="del">
          <ac:chgData name="Aurelien Domont" userId="6da7715ce44349b3" providerId="LiveId" clId="{29D6A56D-AB0D-41B6-B017-3803A210466B}" dt="2023-01-12T04:58:18.848" v="7522" actId="478"/>
          <ac:spMkLst>
            <pc:docMk/>
            <pc:sldMk cId="3536940778" sldId="2247"/>
            <ac:spMk id="14" creationId="{388256E9-96B5-C63B-9E23-512131381DD4}"/>
          </ac:spMkLst>
        </pc:spChg>
        <pc:spChg chg="del">
          <ac:chgData name="Aurelien Domont" userId="6da7715ce44349b3" providerId="LiveId" clId="{29D6A56D-AB0D-41B6-B017-3803A210466B}" dt="2023-01-12T04:58:18.848" v="7522" actId="478"/>
          <ac:spMkLst>
            <pc:docMk/>
            <pc:sldMk cId="3536940778" sldId="2247"/>
            <ac:spMk id="15" creationId="{4706150A-1402-6EF9-E6F2-33938197B2F6}"/>
          </ac:spMkLst>
        </pc:spChg>
        <pc:spChg chg="mod">
          <ac:chgData name="Aurelien Domont" userId="6da7715ce44349b3" providerId="LiveId" clId="{29D6A56D-AB0D-41B6-B017-3803A210466B}" dt="2023-01-12T04:58:26.382" v="7534" actId="20577"/>
          <ac:spMkLst>
            <pc:docMk/>
            <pc:sldMk cId="3536940778" sldId="2247"/>
            <ac:spMk id="16" creationId="{6C2BB713-9637-4B9B-938F-E9768876782A}"/>
          </ac:spMkLst>
        </pc:spChg>
        <pc:spChg chg="del">
          <ac:chgData name="Aurelien Domont" userId="6da7715ce44349b3" providerId="LiveId" clId="{29D6A56D-AB0D-41B6-B017-3803A210466B}" dt="2023-01-12T04:58:18.848" v="7522" actId="478"/>
          <ac:spMkLst>
            <pc:docMk/>
            <pc:sldMk cId="3536940778" sldId="2247"/>
            <ac:spMk id="17" creationId="{D42823B9-4006-D710-68B0-7BC047D52755}"/>
          </ac:spMkLst>
        </pc:spChg>
        <pc:spChg chg="del">
          <ac:chgData name="Aurelien Domont" userId="6da7715ce44349b3" providerId="LiveId" clId="{29D6A56D-AB0D-41B6-B017-3803A210466B}" dt="2023-01-12T04:58:18.848" v="7522" actId="478"/>
          <ac:spMkLst>
            <pc:docMk/>
            <pc:sldMk cId="3536940778" sldId="2247"/>
            <ac:spMk id="18" creationId="{50C9D806-C2F4-199D-8694-A7E603CE9F60}"/>
          </ac:spMkLst>
        </pc:spChg>
        <pc:spChg chg="del">
          <ac:chgData name="Aurelien Domont" userId="6da7715ce44349b3" providerId="LiveId" clId="{29D6A56D-AB0D-41B6-B017-3803A210466B}" dt="2023-01-12T04:58:18.848" v="7522" actId="478"/>
          <ac:spMkLst>
            <pc:docMk/>
            <pc:sldMk cId="3536940778" sldId="2247"/>
            <ac:spMk id="19" creationId="{B6FC0B36-45A8-D04A-8FE8-4E10F542BD83}"/>
          </ac:spMkLst>
        </pc:spChg>
        <pc:spChg chg="del">
          <ac:chgData name="Aurelien Domont" userId="6da7715ce44349b3" providerId="LiveId" clId="{29D6A56D-AB0D-41B6-B017-3803A210466B}" dt="2023-01-12T04:58:18.848" v="7522" actId="478"/>
          <ac:spMkLst>
            <pc:docMk/>
            <pc:sldMk cId="3536940778" sldId="2247"/>
            <ac:spMk id="20" creationId="{64F8BED4-7F2D-54F2-6817-BDE365C940CF}"/>
          </ac:spMkLst>
        </pc:spChg>
        <pc:spChg chg="del">
          <ac:chgData name="Aurelien Domont" userId="6da7715ce44349b3" providerId="LiveId" clId="{29D6A56D-AB0D-41B6-B017-3803A210466B}" dt="2023-01-12T04:58:18.848" v="7522" actId="478"/>
          <ac:spMkLst>
            <pc:docMk/>
            <pc:sldMk cId="3536940778" sldId="2247"/>
            <ac:spMk id="21" creationId="{84AB36C2-5AF2-F66F-2B42-80E630721555}"/>
          </ac:spMkLst>
        </pc:spChg>
        <pc:spChg chg="del">
          <ac:chgData name="Aurelien Domont" userId="6da7715ce44349b3" providerId="LiveId" clId="{29D6A56D-AB0D-41B6-B017-3803A210466B}" dt="2023-01-12T04:58:18.848" v="7522" actId="478"/>
          <ac:spMkLst>
            <pc:docMk/>
            <pc:sldMk cId="3536940778" sldId="2247"/>
            <ac:spMk id="22" creationId="{35D5B6F9-83EE-973B-3903-77F27F0DEC20}"/>
          </ac:spMkLst>
        </pc:spChg>
        <pc:spChg chg="del">
          <ac:chgData name="Aurelien Domont" userId="6da7715ce44349b3" providerId="LiveId" clId="{29D6A56D-AB0D-41B6-B017-3803A210466B}" dt="2023-01-12T04:58:18.848" v="7522" actId="478"/>
          <ac:spMkLst>
            <pc:docMk/>
            <pc:sldMk cId="3536940778" sldId="2247"/>
            <ac:spMk id="23" creationId="{057109E9-69FA-BE2C-898C-6802C18DE49F}"/>
          </ac:spMkLst>
        </pc:spChg>
        <pc:spChg chg="del">
          <ac:chgData name="Aurelien Domont" userId="6da7715ce44349b3" providerId="LiveId" clId="{29D6A56D-AB0D-41B6-B017-3803A210466B}" dt="2023-01-12T04:58:18.848" v="7522" actId="478"/>
          <ac:spMkLst>
            <pc:docMk/>
            <pc:sldMk cId="3536940778" sldId="2247"/>
            <ac:spMk id="24" creationId="{81AB403B-B532-F2F4-F9DD-D751FCC5D622}"/>
          </ac:spMkLst>
        </pc:spChg>
        <pc:spChg chg="del">
          <ac:chgData name="Aurelien Domont" userId="6da7715ce44349b3" providerId="LiveId" clId="{29D6A56D-AB0D-41B6-B017-3803A210466B}" dt="2023-01-12T04:58:18.848" v="7522" actId="478"/>
          <ac:spMkLst>
            <pc:docMk/>
            <pc:sldMk cId="3536940778" sldId="2247"/>
            <ac:spMk id="25" creationId="{CBCE1A8B-0CAE-DFCC-945C-1EEB482B7A3B}"/>
          </ac:spMkLst>
        </pc:spChg>
        <pc:spChg chg="add mod">
          <ac:chgData name="Aurelien Domont" userId="6da7715ce44349b3" providerId="LiveId" clId="{29D6A56D-AB0D-41B6-B017-3803A210466B}" dt="2023-01-12T04:58:38.321" v="7535"/>
          <ac:spMkLst>
            <pc:docMk/>
            <pc:sldMk cId="3536940778" sldId="2247"/>
            <ac:spMk id="28" creationId="{C893B390-DB33-D099-DBE1-597A4D03D8FB}"/>
          </ac:spMkLst>
        </pc:spChg>
        <pc:spChg chg="add mod">
          <ac:chgData name="Aurelien Domont" userId="6da7715ce44349b3" providerId="LiveId" clId="{29D6A56D-AB0D-41B6-B017-3803A210466B}" dt="2023-01-12T04:58:40.997" v="7536" actId="207"/>
          <ac:spMkLst>
            <pc:docMk/>
            <pc:sldMk cId="3536940778" sldId="2247"/>
            <ac:spMk id="29" creationId="{24B54FEA-2AAA-EF82-1D1E-C21ED0F6B343}"/>
          </ac:spMkLst>
        </pc:spChg>
        <pc:spChg chg="add mod">
          <ac:chgData name="Aurelien Domont" userId="6da7715ce44349b3" providerId="LiveId" clId="{29D6A56D-AB0D-41B6-B017-3803A210466B}" dt="2023-01-12T04:58:38.321" v="7535"/>
          <ac:spMkLst>
            <pc:docMk/>
            <pc:sldMk cId="3536940778" sldId="2247"/>
            <ac:spMk id="30" creationId="{DB2C44EB-22E1-AC6D-66B2-F83A856224CF}"/>
          </ac:spMkLst>
        </pc:spChg>
        <pc:spChg chg="add mod">
          <ac:chgData name="Aurelien Domont" userId="6da7715ce44349b3" providerId="LiveId" clId="{29D6A56D-AB0D-41B6-B017-3803A210466B}" dt="2023-01-12T04:58:38.321" v="7535"/>
          <ac:spMkLst>
            <pc:docMk/>
            <pc:sldMk cId="3536940778" sldId="2247"/>
            <ac:spMk id="31" creationId="{BC5C36B5-E318-3858-D3A1-18315FD36EE7}"/>
          </ac:spMkLst>
        </pc:spChg>
        <pc:spChg chg="add mod">
          <ac:chgData name="Aurelien Domont" userId="6da7715ce44349b3" providerId="LiveId" clId="{29D6A56D-AB0D-41B6-B017-3803A210466B}" dt="2023-01-12T04:58:38.321" v="7535"/>
          <ac:spMkLst>
            <pc:docMk/>
            <pc:sldMk cId="3536940778" sldId="2247"/>
            <ac:spMk id="32" creationId="{8E76BCBB-086B-C823-B6A3-32050A7399D8}"/>
          </ac:spMkLst>
        </pc:spChg>
        <pc:spChg chg="add mod">
          <ac:chgData name="Aurelien Domont" userId="6da7715ce44349b3" providerId="LiveId" clId="{29D6A56D-AB0D-41B6-B017-3803A210466B}" dt="2023-01-12T04:58:38.321" v="7535"/>
          <ac:spMkLst>
            <pc:docMk/>
            <pc:sldMk cId="3536940778" sldId="2247"/>
            <ac:spMk id="33" creationId="{2A99C644-C5AF-C50D-58C4-CF8E8D287DEF}"/>
          </ac:spMkLst>
        </pc:spChg>
        <pc:spChg chg="add mod">
          <ac:chgData name="Aurelien Domont" userId="6da7715ce44349b3" providerId="LiveId" clId="{29D6A56D-AB0D-41B6-B017-3803A210466B}" dt="2023-01-12T04:58:38.321" v="7535"/>
          <ac:spMkLst>
            <pc:docMk/>
            <pc:sldMk cId="3536940778" sldId="2247"/>
            <ac:spMk id="34" creationId="{91D68227-A79A-B823-4FA2-901CE92DCAE3}"/>
          </ac:spMkLst>
        </pc:spChg>
        <pc:spChg chg="add mod">
          <ac:chgData name="Aurelien Domont" userId="6da7715ce44349b3" providerId="LiveId" clId="{29D6A56D-AB0D-41B6-B017-3803A210466B}" dt="2023-01-12T04:58:38.321" v="7535"/>
          <ac:spMkLst>
            <pc:docMk/>
            <pc:sldMk cId="3536940778" sldId="2247"/>
            <ac:spMk id="38" creationId="{112AA82F-E27A-66FE-93DD-C7FE67D5EB04}"/>
          </ac:spMkLst>
        </pc:spChg>
        <pc:spChg chg="add mod">
          <ac:chgData name="Aurelien Domont" userId="6da7715ce44349b3" providerId="LiveId" clId="{29D6A56D-AB0D-41B6-B017-3803A210466B}" dt="2023-01-12T04:58:38.321" v="7535"/>
          <ac:spMkLst>
            <pc:docMk/>
            <pc:sldMk cId="3536940778" sldId="2247"/>
            <ac:spMk id="39" creationId="{8508FACD-47EE-2EC0-A1AA-2D1E2299FA7B}"/>
          </ac:spMkLst>
        </pc:spChg>
        <pc:spChg chg="add mod">
          <ac:chgData name="Aurelien Domont" userId="6da7715ce44349b3" providerId="LiveId" clId="{29D6A56D-AB0D-41B6-B017-3803A210466B}" dt="2023-01-12T04:58:38.321" v="7535"/>
          <ac:spMkLst>
            <pc:docMk/>
            <pc:sldMk cId="3536940778" sldId="2247"/>
            <ac:spMk id="40" creationId="{0C97F124-1014-CBC8-D263-AC70BC0A28BE}"/>
          </ac:spMkLst>
        </pc:spChg>
        <pc:spChg chg="add mod">
          <ac:chgData name="Aurelien Domont" userId="6da7715ce44349b3" providerId="LiveId" clId="{29D6A56D-AB0D-41B6-B017-3803A210466B}" dt="2023-01-12T04:58:38.321" v="7535"/>
          <ac:spMkLst>
            <pc:docMk/>
            <pc:sldMk cId="3536940778" sldId="2247"/>
            <ac:spMk id="41" creationId="{2709E945-4268-62B5-C74C-65682BA07C9E}"/>
          </ac:spMkLst>
        </pc:spChg>
        <pc:spChg chg="add mod">
          <ac:chgData name="Aurelien Domont" userId="6da7715ce44349b3" providerId="LiveId" clId="{29D6A56D-AB0D-41B6-B017-3803A210466B}" dt="2023-01-12T04:58:38.321" v="7535"/>
          <ac:spMkLst>
            <pc:docMk/>
            <pc:sldMk cId="3536940778" sldId="2247"/>
            <ac:spMk id="42" creationId="{A331F2F2-4ABE-663C-CCE0-26689944956A}"/>
          </ac:spMkLst>
        </pc:spChg>
        <pc:spChg chg="add mod">
          <ac:chgData name="Aurelien Domont" userId="6da7715ce44349b3" providerId="LiveId" clId="{29D6A56D-AB0D-41B6-B017-3803A210466B}" dt="2023-01-12T04:58:38.321" v="7535"/>
          <ac:spMkLst>
            <pc:docMk/>
            <pc:sldMk cId="3536940778" sldId="2247"/>
            <ac:spMk id="43" creationId="{101D710C-1C64-6A07-5B69-D88E7DDD2B01}"/>
          </ac:spMkLst>
        </pc:spChg>
        <pc:spChg chg="add mod">
          <ac:chgData name="Aurelien Domont" userId="6da7715ce44349b3" providerId="LiveId" clId="{29D6A56D-AB0D-41B6-B017-3803A210466B}" dt="2023-01-12T04:58:38.321" v="7535"/>
          <ac:spMkLst>
            <pc:docMk/>
            <pc:sldMk cId="3536940778" sldId="2247"/>
            <ac:spMk id="44" creationId="{EF55FE3F-940D-7028-5070-9C50AA1F030B}"/>
          </ac:spMkLst>
        </pc:spChg>
        <pc:spChg chg="add mod">
          <ac:chgData name="Aurelien Domont" userId="6da7715ce44349b3" providerId="LiveId" clId="{29D6A56D-AB0D-41B6-B017-3803A210466B}" dt="2023-01-12T04:58:38.321" v="7535"/>
          <ac:spMkLst>
            <pc:docMk/>
            <pc:sldMk cId="3536940778" sldId="2247"/>
            <ac:spMk id="45" creationId="{E413F668-2A0A-DF83-225C-555732E20D71}"/>
          </ac:spMkLst>
        </pc:spChg>
        <pc:spChg chg="add mod">
          <ac:chgData name="Aurelien Domont" userId="6da7715ce44349b3" providerId="LiveId" clId="{29D6A56D-AB0D-41B6-B017-3803A210466B}" dt="2023-01-12T04:58:38.321" v="7535"/>
          <ac:spMkLst>
            <pc:docMk/>
            <pc:sldMk cId="3536940778" sldId="2247"/>
            <ac:spMk id="46" creationId="{4AC66820-CB24-E6A8-96D7-5017E48DF5CE}"/>
          </ac:spMkLst>
        </pc:spChg>
        <pc:spChg chg="add mod">
          <ac:chgData name="Aurelien Domont" userId="6da7715ce44349b3" providerId="LiveId" clId="{29D6A56D-AB0D-41B6-B017-3803A210466B}" dt="2023-01-12T04:58:38.321" v="7535"/>
          <ac:spMkLst>
            <pc:docMk/>
            <pc:sldMk cId="3536940778" sldId="2247"/>
            <ac:spMk id="47" creationId="{67810271-AC1C-F1F9-E497-949000B40E86}"/>
          </ac:spMkLst>
        </pc:spChg>
        <pc:spChg chg="add mod">
          <ac:chgData name="Aurelien Domont" userId="6da7715ce44349b3" providerId="LiveId" clId="{29D6A56D-AB0D-41B6-B017-3803A210466B}" dt="2023-01-12T04:58:38.321" v="7535"/>
          <ac:spMkLst>
            <pc:docMk/>
            <pc:sldMk cId="3536940778" sldId="2247"/>
            <ac:spMk id="48" creationId="{9AD704BE-BFDF-776E-2785-79CC0B3AB31C}"/>
          </ac:spMkLst>
        </pc:spChg>
        <pc:spChg chg="add mod">
          <ac:chgData name="Aurelien Domont" userId="6da7715ce44349b3" providerId="LiveId" clId="{29D6A56D-AB0D-41B6-B017-3803A210466B}" dt="2023-01-12T04:58:38.321" v="7535"/>
          <ac:spMkLst>
            <pc:docMk/>
            <pc:sldMk cId="3536940778" sldId="2247"/>
            <ac:spMk id="49" creationId="{B37F23AB-D1E5-8F54-E0B7-997395727990}"/>
          </ac:spMkLst>
        </pc:spChg>
        <pc:spChg chg="add mod">
          <ac:chgData name="Aurelien Domont" userId="6da7715ce44349b3" providerId="LiveId" clId="{29D6A56D-AB0D-41B6-B017-3803A210466B}" dt="2023-01-12T04:58:38.321" v="7535"/>
          <ac:spMkLst>
            <pc:docMk/>
            <pc:sldMk cId="3536940778" sldId="2247"/>
            <ac:spMk id="50" creationId="{EE48BFC4-5243-C6D5-64AC-4538BBAFEB18}"/>
          </ac:spMkLst>
        </pc:spChg>
        <pc:spChg chg="add mod">
          <ac:chgData name="Aurelien Domont" userId="6da7715ce44349b3" providerId="LiveId" clId="{29D6A56D-AB0D-41B6-B017-3803A210466B}" dt="2023-01-12T04:58:38.321" v="7535"/>
          <ac:spMkLst>
            <pc:docMk/>
            <pc:sldMk cId="3536940778" sldId="2247"/>
            <ac:spMk id="51" creationId="{D9A99CBA-B34C-FFED-10E6-61F1EB9A48A1}"/>
          </ac:spMkLst>
        </pc:spChg>
        <pc:spChg chg="add mod">
          <ac:chgData name="Aurelien Domont" userId="6da7715ce44349b3" providerId="LiveId" clId="{29D6A56D-AB0D-41B6-B017-3803A210466B}" dt="2023-01-12T04:58:38.321" v="7535"/>
          <ac:spMkLst>
            <pc:docMk/>
            <pc:sldMk cId="3536940778" sldId="2247"/>
            <ac:spMk id="52" creationId="{26A0C8AE-2C3D-E8BD-8F3A-86223A856185}"/>
          </ac:spMkLst>
        </pc:spChg>
        <pc:spChg chg="add mod">
          <ac:chgData name="Aurelien Domont" userId="6da7715ce44349b3" providerId="LiveId" clId="{29D6A56D-AB0D-41B6-B017-3803A210466B}" dt="2023-01-12T04:58:38.321" v="7535"/>
          <ac:spMkLst>
            <pc:docMk/>
            <pc:sldMk cId="3536940778" sldId="2247"/>
            <ac:spMk id="55" creationId="{0DACE58D-99C3-E5BB-73A0-8428B1710B5A}"/>
          </ac:spMkLst>
        </pc:spChg>
        <pc:spChg chg="add mod">
          <ac:chgData name="Aurelien Domont" userId="6da7715ce44349b3" providerId="LiveId" clId="{29D6A56D-AB0D-41B6-B017-3803A210466B}" dt="2023-01-12T04:58:38.321" v="7535"/>
          <ac:spMkLst>
            <pc:docMk/>
            <pc:sldMk cId="3536940778" sldId="2247"/>
            <ac:spMk id="56" creationId="{6EF299EE-BBBB-9B92-A785-9BBF598BEAAE}"/>
          </ac:spMkLst>
        </pc:spChg>
        <pc:spChg chg="add mod">
          <ac:chgData name="Aurelien Domont" userId="6da7715ce44349b3" providerId="LiveId" clId="{29D6A56D-AB0D-41B6-B017-3803A210466B}" dt="2023-01-12T04:58:38.321" v="7535"/>
          <ac:spMkLst>
            <pc:docMk/>
            <pc:sldMk cId="3536940778" sldId="2247"/>
            <ac:spMk id="57" creationId="{176DDB36-3829-C962-9EFA-B3F7F92F8A81}"/>
          </ac:spMkLst>
        </pc:spChg>
        <pc:spChg chg="add mod">
          <ac:chgData name="Aurelien Domont" userId="6da7715ce44349b3" providerId="LiveId" clId="{29D6A56D-AB0D-41B6-B017-3803A210466B}" dt="2023-01-12T04:58:38.321" v="7535"/>
          <ac:spMkLst>
            <pc:docMk/>
            <pc:sldMk cId="3536940778" sldId="2247"/>
            <ac:spMk id="58" creationId="{5DC45BDF-BC33-4B2C-F4C2-78E92F688734}"/>
          </ac:spMkLst>
        </pc:spChg>
        <pc:spChg chg="add mod">
          <ac:chgData name="Aurelien Domont" userId="6da7715ce44349b3" providerId="LiveId" clId="{29D6A56D-AB0D-41B6-B017-3803A210466B}" dt="2023-01-12T04:58:38.321" v="7535"/>
          <ac:spMkLst>
            <pc:docMk/>
            <pc:sldMk cId="3536940778" sldId="2247"/>
            <ac:spMk id="59" creationId="{FB5ACDE1-A2D5-8CAA-1418-183E3C1DB9A6}"/>
          </ac:spMkLst>
        </pc:spChg>
        <pc:spChg chg="add mod">
          <ac:chgData name="Aurelien Domont" userId="6da7715ce44349b3" providerId="LiveId" clId="{29D6A56D-AB0D-41B6-B017-3803A210466B}" dt="2023-01-12T04:58:38.321" v="7535"/>
          <ac:spMkLst>
            <pc:docMk/>
            <pc:sldMk cId="3536940778" sldId="2247"/>
            <ac:spMk id="60" creationId="{7DB6823E-0F51-B10F-30FA-1FE83902BDCD}"/>
          </ac:spMkLst>
        </pc:spChg>
        <pc:spChg chg="add mod">
          <ac:chgData name="Aurelien Domont" userId="6da7715ce44349b3" providerId="LiveId" clId="{29D6A56D-AB0D-41B6-B017-3803A210466B}" dt="2023-01-12T05:00:03.521" v="7548"/>
          <ac:spMkLst>
            <pc:docMk/>
            <pc:sldMk cId="3536940778" sldId="2247"/>
            <ac:spMk id="61" creationId="{4F191E17-2139-F4C1-5E90-F9C979596F80}"/>
          </ac:spMkLst>
        </pc:spChg>
        <pc:picChg chg="del">
          <ac:chgData name="Aurelien Domont" userId="6da7715ce44349b3" providerId="LiveId" clId="{29D6A56D-AB0D-41B6-B017-3803A210466B}" dt="2023-01-12T04:58:18.848" v="7522" actId="478"/>
          <ac:picMkLst>
            <pc:docMk/>
            <pc:sldMk cId="3536940778" sldId="2247"/>
            <ac:picMk id="26" creationId="{D3F45C01-36A9-E107-A7E8-88D2887218FD}"/>
          </ac:picMkLst>
        </pc:picChg>
        <pc:picChg chg="del">
          <ac:chgData name="Aurelien Domont" userId="6da7715ce44349b3" providerId="LiveId" clId="{29D6A56D-AB0D-41B6-B017-3803A210466B}" dt="2023-01-12T04:58:18.848" v="7522" actId="478"/>
          <ac:picMkLst>
            <pc:docMk/>
            <pc:sldMk cId="3536940778" sldId="2247"/>
            <ac:picMk id="27" creationId="{74E93B48-2377-9D9A-369E-AB75C98E4AB8}"/>
          </ac:picMkLst>
        </pc:picChg>
        <pc:picChg chg="add mod">
          <ac:chgData name="Aurelien Domont" userId="6da7715ce44349b3" providerId="LiveId" clId="{29D6A56D-AB0D-41B6-B017-3803A210466B}" dt="2023-01-12T04:58:38.321" v="7535"/>
          <ac:picMkLst>
            <pc:docMk/>
            <pc:sldMk cId="3536940778" sldId="2247"/>
            <ac:picMk id="35" creationId="{D7E34647-A63D-23C7-3428-851A1E4C9E30}"/>
          </ac:picMkLst>
        </pc:picChg>
        <pc:picChg chg="add mod">
          <ac:chgData name="Aurelien Domont" userId="6da7715ce44349b3" providerId="LiveId" clId="{29D6A56D-AB0D-41B6-B017-3803A210466B}" dt="2023-01-12T04:58:38.321" v="7535"/>
          <ac:picMkLst>
            <pc:docMk/>
            <pc:sldMk cId="3536940778" sldId="2247"/>
            <ac:picMk id="36" creationId="{E2920195-4366-D511-690A-AA25CEDAFC9C}"/>
          </ac:picMkLst>
        </pc:picChg>
        <pc:picChg chg="add mod">
          <ac:chgData name="Aurelien Domont" userId="6da7715ce44349b3" providerId="LiveId" clId="{29D6A56D-AB0D-41B6-B017-3803A210466B}" dt="2023-01-12T04:58:38.321" v="7535"/>
          <ac:picMkLst>
            <pc:docMk/>
            <pc:sldMk cId="3536940778" sldId="2247"/>
            <ac:picMk id="37" creationId="{0C6C6B4F-C86F-A953-FCCB-880CE0DECE3C}"/>
          </ac:picMkLst>
        </pc:picChg>
        <pc:picChg chg="add mod">
          <ac:chgData name="Aurelien Domont" userId="6da7715ce44349b3" providerId="LiveId" clId="{29D6A56D-AB0D-41B6-B017-3803A210466B}" dt="2023-01-12T04:58:38.321" v="7535"/>
          <ac:picMkLst>
            <pc:docMk/>
            <pc:sldMk cId="3536940778" sldId="2247"/>
            <ac:picMk id="53" creationId="{33C7E71D-A63D-939E-1C11-175C0AA82AF6}"/>
          </ac:picMkLst>
        </pc:picChg>
        <pc:picChg chg="add mod">
          <ac:chgData name="Aurelien Domont" userId="6da7715ce44349b3" providerId="LiveId" clId="{29D6A56D-AB0D-41B6-B017-3803A210466B}" dt="2023-01-12T04:58:38.321" v="7535"/>
          <ac:picMkLst>
            <pc:docMk/>
            <pc:sldMk cId="3536940778" sldId="2247"/>
            <ac:picMk id="54" creationId="{05E1A23C-5DF9-C4F5-90EE-0ADF0A66A00D}"/>
          </ac:picMkLst>
        </pc:picChg>
        <pc:cxnChg chg="del">
          <ac:chgData name="Aurelien Domont" userId="6da7715ce44349b3" providerId="LiveId" clId="{29D6A56D-AB0D-41B6-B017-3803A210466B}" dt="2023-01-12T04:58:18.848" v="7522" actId="478"/>
          <ac:cxnSpMkLst>
            <pc:docMk/>
            <pc:sldMk cId="3536940778" sldId="2247"/>
            <ac:cxnSpMk id="8" creationId="{1E048066-FE4B-C65D-F490-A9AADF12C51E}"/>
          </ac:cxnSpMkLst>
        </pc:cxnChg>
        <pc:cxnChg chg="del">
          <ac:chgData name="Aurelien Domont" userId="6da7715ce44349b3" providerId="LiveId" clId="{29D6A56D-AB0D-41B6-B017-3803A210466B}" dt="2023-01-12T04:58:18.848" v="7522" actId="478"/>
          <ac:cxnSpMkLst>
            <pc:docMk/>
            <pc:sldMk cId="3536940778" sldId="2247"/>
            <ac:cxnSpMk id="10" creationId="{877E7BA9-9980-EE5E-B9C3-FEA390969B5B}"/>
          </ac:cxnSpMkLst>
        </pc:cxnChg>
      </pc:sldChg>
      <pc:sldChg chg="addSp modSp add mod">
        <pc:chgData name="Aurelien Domont" userId="6da7715ce44349b3" providerId="LiveId" clId="{29D6A56D-AB0D-41B6-B017-3803A210466B}" dt="2023-01-12T05:00:05.006" v="7549"/>
        <pc:sldMkLst>
          <pc:docMk/>
          <pc:sldMk cId="3513887063" sldId="2248"/>
        </pc:sldMkLst>
        <pc:spChg chg="add mod">
          <ac:chgData name="Aurelien Domont" userId="6da7715ce44349b3" providerId="LiveId" clId="{29D6A56D-AB0D-41B6-B017-3803A210466B}" dt="2023-01-12T05:00:05.006" v="7549"/>
          <ac:spMkLst>
            <pc:docMk/>
            <pc:sldMk cId="3513887063" sldId="2248"/>
            <ac:spMk id="2" creationId="{C3D30AA2-9359-74C6-EA2E-B82EA400585C}"/>
          </ac:spMkLst>
        </pc:spChg>
        <pc:spChg chg="mod">
          <ac:chgData name="Aurelien Domont" userId="6da7715ce44349b3" providerId="LiveId" clId="{29D6A56D-AB0D-41B6-B017-3803A210466B}" dt="2023-01-12T04:59:09.340" v="7541" actId="20577"/>
          <ac:spMkLst>
            <pc:docMk/>
            <pc:sldMk cId="3513887063" sldId="2248"/>
            <ac:spMk id="16" creationId="{6C2BB713-9637-4B9B-938F-E9768876782A}"/>
          </ac:spMkLst>
        </pc:spChg>
        <pc:spChg chg="mod">
          <ac:chgData name="Aurelien Domont" userId="6da7715ce44349b3" providerId="LiveId" clId="{29D6A56D-AB0D-41B6-B017-3803A210466B}" dt="2023-01-12T04:59:03.577" v="7539" actId="108"/>
          <ac:spMkLst>
            <pc:docMk/>
            <pc:sldMk cId="3513887063" sldId="2248"/>
            <ac:spMk id="29" creationId="{24B54FEA-2AAA-EF82-1D1E-C21ED0F6B343}"/>
          </ac:spMkLst>
        </pc:spChg>
        <pc:spChg chg="mod">
          <ac:chgData name="Aurelien Domont" userId="6da7715ce44349b3" providerId="LiveId" clId="{29D6A56D-AB0D-41B6-B017-3803A210466B}" dt="2023-01-12T04:58:58.836" v="7538" actId="207"/>
          <ac:spMkLst>
            <pc:docMk/>
            <pc:sldMk cId="3513887063" sldId="2248"/>
            <ac:spMk id="30" creationId="{DB2C44EB-22E1-AC6D-66B2-F83A856224CF}"/>
          </ac:spMkLst>
        </pc:spChg>
      </pc:sldChg>
      <pc:sldChg chg="addSp modSp add mod">
        <pc:chgData name="Aurelien Domont" userId="6da7715ce44349b3" providerId="LiveId" clId="{29D6A56D-AB0D-41B6-B017-3803A210466B}" dt="2023-01-12T05:00:06.214" v="7550"/>
        <pc:sldMkLst>
          <pc:docMk/>
          <pc:sldMk cId="1161264939" sldId="2249"/>
        </pc:sldMkLst>
        <pc:spChg chg="add mod">
          <ac:chgData name="Aurelien Domont" userId="6da7715ce44349b3" providerId="LiveId" clId="{29D6A56D-AB0D-41B6-B017-3803A210466B}" dt="2023-01-12T05:00:06.214" v="7550"/>
          <ac:spMkLst>
            <pc:docMk/>
            <pc:sldMk cId="1161264939" sldId="2249"/>
            <ac:spMk id="2" creationId="{3BE79CA2-7A3D-3867-0617-B73F13E72B21}"/>
          </ac:spMkLst>
        </pc:spChg>
        <pc:spChg chg="mod">
          <ac:chgData name="Aurelien Domont" userId="6da7715ce44349b3" providerId="LiveId" clId="{29D6A56D-AB0D-41B6-B017-3803A210466B}" dt="2023-01-12T04:59:12.968" v="7543" actId="20577"/>
          <ac:spMkLst>
            <pc:docMk/>
            <pc:sldMk cId="1161264939" sldId="2249"/>
            <ac:spMk id="16" creationId="{6C2BB713-9637-4B9B-938F-E9768876782A}"/>
          </ac:spMkLst>
        </pc:spChg>
        <pc:spChg chg="mod">
          <ac:chgData name="Aurelien Domont" userId="6da7715ce44349b3" providerId="LiveId" clId="{29D6A56D-AB0D-41B6-B017-3803A210466B}" dt="2023-01-12T04:59:18.794" v="7545" actId="108"/>
          <ac:spMkLst>
            <pc:docMk/>
            <pc:sldMk cId="1161264939" sldId="2249"/>
            <ac:spMk id="30" creationId="{DB2C44EB-22E1-AC6D-66B2-F83A856224CF}"/>
          </ac:spMkLst>
        </pc:spChg>
        <pc:spChg chg="mod">
          <ac:chgData name="Aurelien Domont" userId="6da7715ce44349b3" providerId="LiveId" clId="{29D6A56D-AB0D-41B6-B017-3803A210466B}" dt="2023-01-12T04:59:16.460" v="7544" actId="207"/>
          <ac:spMkLst>
            <pc:docMk/>
            <pc:sldMk cId="1161264939" sldId="2249"/>
            <ac:spMk id="33" creationId="{2A99C644-C5AF-C50D-58C4-CF8E8D287DEF}"/>
          </ac:spMkLst>
        </pc:spChg>
      </pc:sldChg>
      <pc:sldChg chg="modSp add mod">
        <pc:chgData name="Aurelien Domont" userId="6da7715ce44349b3" providerId="LiveId" clId="{29D6A56D-AB0D-41B6-B017-3803A210466B}" dt="2023-01-12T23:30:08.282" v="7616" actId="207"/>
        <pc:sldMkLst>
          <pc:docMk/>
          <pc:sldMk cId="1561630239" sldId="2250"/>
        </pc:sldMkLst>
        <pc:spChg chg="mod">
          <ac:chgData name="Aurelien Domont" userId="6da7715ce44349b3" providerId="LiveId" clId="{29D6A56D-AB0D-41B6-B017-3803A210466B}" dt="2023-01-12T05:00:31.531" v="7554" actId="207"/>
          <ac:spMkLst>
            <pc:docMk/>
            <pc:sldMk cId="1561630239" sldId="2250"/>
            <ac:spMk id="2" creationId="{3BE79CA2-7A3D-3867-0617-B73F13E72B21}"/>
          </ac:spMkLst>
        </pc:spChg>
        <pc:spChg chg="mod">
          <ac:chgData name="Aurelien Domont" userId="6da7715ce44349b3" providerId="LiveId" clId="{29D6A56D-AB0D-41B6-B017-3803A210466B}" dt="2023-01-12T05:01:08.922" v="7574" actId="20577"/>
          <ac:spMkLst>
            <pc:docMk/>
            <pc:sldMk cId="1561630239" sldId="2250"/>
            <ac:spMk id="16" creationId="{6C2BB713-9637-4B9B-938F-E9768876782A}"/>
          </ac:spMkLst>
        </pc:spChg>
        <pc:spChg chg="mod">
          <ac:chgData name="Aurelien Domont" userId="6da7715ce44349b3" providerId="LiveId" clId="{29D6A56D-AB0D-41B6-B017-3803A210466B}" dt="2023-01-12T05:00:23.428" v="7552" actId="108"/>
          <ac:spMkLst>
            <pc:docMk/>
            <pc:sldMk cId="1561630239" sldId="2250"/>
            <ac:spMk id="33" creationId="{2A99C644-C5AF-C50D-58C4-CF8E8D287DEF}"/>
          </ac:spMkLst>
        </pc:spChg>
        <pc:spChg chg="mod">
          <ac:chgData name="Aurelien Domont" userId="6da7715ce44349b3" providerId="LiveId" clId="{29D6A56D-AB0D-41B6-B017-3803A210466B}" dt="2023-01-12T23:30:04.238" v="7615" actId="207"/>
          <ac:spMkLst>
            <pc:docMk/>
            <pc:sldMk cId="1561630239" sldId="2250"/>
            <ac:spMk id="39" creationId="{8508FACD-47EE-2EC0-A1AA-2D1E2299FA7B}"/>
          </ac:spMkLst>
        </pc:spChg>
        <pc:spChg chg="mod">
          <ac:chgData name="Aurelien Domont" userId="6da7715ce44349b3" providerId="LiveId" clId="{29D6A56D-AB0D-41B6-B017-3803A210466B}" dt="2023-01-12T23:29:56.465" v="7613" actId="207"/>
          <ac:spMkLst>
            <pc:docMk/>
            <pc:sldMk cId="1561630239" sldId="2250"/>
            <ac:spMk id="41" creationId="{2709E945-4268-62B5-C74C-65682BA07C9E}"/>
          </ac:spMkLst>
        </pc:spChg>
        <pc:spChg chg="mod">
          <ac:chgData name="Aurelien Domont" userId="6da7715ce44349b3" providerId="LiveId" clId="{29D6A56D-AB0D-41B6-B017-3803A210466B}" dt="2023-01-12T23:29:56.465" v="7613" actId="207"/>
          <ac:spMkLst>
            <pc:docMk/>
            <pc:sldMk cId="1561630239" sldId="2250"/>
            <ac:spMk id="42" creationId="{A331F2F2-4ABE-663C-CCE0-26689944956A}"/>
          </ac:spMkLst>
        </pc:spChg>
        <pc:spChg chg="mod">
          <ac:chgData name="Aurelien Domont" userId="6da7715ce44349b3" providerId="LiveId" clId="{29D6A56D-AB0D-41B6-B017-3803A210466B}" dt="2023-01-12T05:00:31.531" v="7554" actId="207"/>
          <ac:spMkLst>
            <pc:docMk/>
            <pc:sldMk cId="1561630239" sldId="2250"/>
            <ac:spMk id="43" creationId="{101D710C-1C64-6A07-5B69-D88E7DDD2B01}"/>
          </ac:spMkLst>
        </pc:spChg>
        <pc:spChg chg="mod">
          <ac:chgData name="Aurelien Domont" userId="6da7715ce44349b3" providerId="LiveId" clId="{29D6A56D-AB0D-41B6-B017-3803A210466B}" dt="2023-01-12T05:00:31.531" v="7554" actId="207"/>
          <ac:spMkLst>
            <pc:docMk/>
            <pc:sldMk cId="1561630239" sldId="2250"/>
            <ac:spMk id="44" creationId="{EF55FE3F-940D-7028-5070-9C50AA1F030B}"/>
          </ac:spMkLst>
        </pc:spChg>
        <pc:spChg chg="mod">
          <ac:chgData name="Aurelien Domont" userId="6da7715ce44349b3" providerId="LiveId" clId="{29D6A56D-AB0D-41B6-B017-3803A210466B}" dt="2023-01-12T05:00:31.531" v="7554" actId="207"/>
          <ac:spMkLst>
            <pc:docMk/>
            <pc:sldMk cId="1561630239" sldId="2250"/>
            <ac:spMk id="45" creationId="{E413F668-2A0A-DF83-225C-555732E20D71}"/>
          </ac:spMkLst>
        </pc:spChg>
        <pc:spChg chg="mod">
          <ac:chgData name="Aurelien Domont" userId="6da7715ce44349b3" providerId="LiveId" clId="{29D6A56D-AB0D-41B6-B017-3803A210466B}" dt="2023-01-12T05:00:31.531" v="7554" actId="207"/>
          <ac:spMkLst>
            <pc:docMk/>
            <pc:sldMk cId="1561630239" sldId="2250"/>
            <ac:spMk id="46" creationId="{4AC66820-CB24-E6A8-96D7-5017E48DF5CE}"/>
          </ac:spMkLst>
        </pc:spChg>
        <pc:spChg chg="mod">
          <ac:chgData name="Aurelien Domont" userId="6da7715ce44349b3" providerId="LiveId" clId="{29D6A56D-AB0D-41B6-B017-3803A210466B}" dt="2023-01-12T05:00:31.531" v="7554" actId="207"/>
          <ac:spMkLst>
            <pc:docMk/>
            <pc:sldMk cId="1561630239" sldId="2250"/>
            <ac:spMk id="47" creationId="{67810271-AC1C-F1F9-E497-949000B40E86}"/>
          </ac:spMkLst>
        </pc:spChg>
        <pc:spChg chg="mod">
          <ac:chgData name="Aurelien Domont" userId="6da7715ce44349b3" providerId="LiveId" clId="{29D6A56D-AB0D-41B6-B017-3803A210466B}" dt="2023-01-12T05:00:31.531" v="7554" actId="207"/>
          <ac:spMkLst>
            <pc:docMk/>
            <pc:sldMk cId="1561630239" sldId="2250"/>
            <ac:spMk id="48" creationId="{9AD704BE-BFDF-776E-2785-79CC0B3AB31C}"/>
          </ac:spMkLst>
        </pc:spChg>
        <pc:spChg chg="mod">
          <ac:chgData name="Aurelien Domont" userId="6da7715ce44349b3" providerId="LiveId" clId="{29D6A56D-AB0D-41B6-B017-3803A210466B}" dt="2023-01-12T23:30:08.282" v="7616" actId="207"/>
          <ac:spMkLst>
            <pc:docMk/>
            <pc:sldMk cId="1561630239" sldId="2250"/>
            <ac:spMk id="52" creationId="{26A0C8AE-2C3D-E8BD-8F3A-86223A856185}"/>
          </ac:spMkLst>
        </pc:spChg>
        <pc:spChg chg="mod">
          <ac:chgData name="Aurelien Domont" userId="6da7715ce44349b3" providerId="LiveId" clId="{29D6A56D-AB0D-41B6-B017-3803A210466B}" dt="2023-01-12T05:00:31.531" v="7554" actId="207"/>
          <ac:spMkLst>
            <pc:docMk/>
            <pc:sldMk cId="1561630239" sldId="2250"/>
            <ac:spMk id="55" creationId="{0DACE58D-99C3-E5BB-73A0-8428B1710B5A}"/>
          </ac:spMkLst>
        </pc:spChg>
        <pc:spChg chg="mod">
          <ac:chgData name="Aurelien Domont" userId="6da7715ce44349b3" providerId="LiveId" clId="{29D6A56D-AB0D-41B6-B017-3803A210466B}" dt="2023-01-12T05:00:31.531" v="7554" actId="207"/>
          <ac:spMkLst>
            <pc:docMk/>
            <pc:sldMk cId="1561630239" sldId="2250"/>
            <ac:spMk id="56" creationId="{6EF299EE-BBBB-9B92-A785-9BBF598BEAAE}"/>
          </ac:spMkLst>
        </pc:spChg>
        <pc:spChg chg="mod">
          <ac:chgData name="Aurelien Domont" userId="6da7715ce44349b3" providerId="LiveId" clId="{29D6A56D-AB0D-41B6-B017-3803A210466B}" dt="2023-01-12T05:00:31.531" v="7554" actId="207"/>
          <ac:spMkLst>
            <pc:docMk/>
            <pc:sldMk cId="1561630239" sldId="2250"/>
            <ac:spMk id="57" creationId="{176DDB36-3829-C962-9EFA-B3F7F92F8A81}"/>
          </ac:spMkLst>
        </pc:spChg>
        <pc:picChg chg="mod">
          <ac:chgData name="Aurelien Domont" userId="6da7715ce44349b3" providerId="LiveId" clId="{29D6A56D-AB0D-41B6-B017-3803A210466B}" dt="2023-01-12T23:30:08.282" v="7616" actId="207"/>
          <ac:picMkLst>
            <pc:docMk/>
            <pc:sldMk cId="1561630239" sldId="2250"/>
            <ac:picMk id="53" creationId="{33C7E71D-A63D-939E-1C11-175C0AA82AF6}"/>
          </ac:picMkLst>
        </pc:picChg>
        <pc:picChg chg="mod">
          <ac:chgData name="Aurelien Domont" userId="6da7715ce44349b3" providerId="LiveId" clId="{29D6A56D-AB0D-41B6-B017-3803A210466B}" dt="2023-01-12T23:30:08.282" v="7616" actId="207"/>
          <ac:picMkLst>
            <pc:docMk/>
            <pc:sldMk cId="1561630239" sldId="2250"/>
            <ac:picMk id="54" creationId="{05E1A23C-5DF9-C4F5-90EE-0ADF0A66A00D}"/>
          </ac:picMkLst>
        </pc:picChg>
      </pc:sldChg>
      <pc:sldChg chg="add">
        <pc:chgData name="Aurelien Domont" userId="6da7715ce44349b3" providerId="LiveId" clId="{29D6A56D-AB0D-41B6-B017-3803A210466B}" dt="2023-01-12T23:26:38.399" v="7592"/>
        <pc:sldMkLst>
          <pc:docMk/>
          <pc:sldMk cId="4029045370" sldId="2397"/>
        </pc:sldMkLst>
      </pc:sldChg>
      <pc:sldChg chg="add">
        <pc:chgData name="Aurelien Domont" userId="6da7715ce44349b3" providerId="LiveId" clId="{29D6A56D-AB0D-41B6-B017-3803A210466B}" dt="2023-01-12T23:23:15.745" v="7590"/>
        <pc:sldMkLst>
          <pc:docMk/>
          <pc:sldMk cId="3443098212" sldId="2398"/>
        </pc:sldMkLst>
      </pc:sldChg>
      <pc:sldChg chg="add">
        <pc:chgData name="Aurelien Domont" userId="6da7715ce44349b3" providerId="LiveId" clId="{29D6A56D-AB0D-41B6-B017-3803A210466B}" dt="2023-01-12T23:23:43.893" v="7591"/>
        <pc:sldMkLst>
          <pc:docMk/>
          <pc:sldMk cId="926594271" sldId="2399"/>
        </pc:sldMkLst>
      </pc:sldChg>
      <pc:sldChg chg="add">
        <pc:chgData name="Aurelien Domont" userId="6da7715ce44349b3" providerId="LiveId" clId="{29D6A56D-AB0D-41B6-B017-3803A210466B}" dt="2023-01-12T23:26:38.399" v="7592"/>
        <pc:sldMkLst>
          <pc:docMk/>
          <pc:sldMk cId="844305245" sldId="2400"/>
        </pc:sldMkLst>
      </pc:sldChg>
      <pc:sldChg chg="add">
        <pc:chgData name="Aurelien Domont" userId="6da7715ce44349b3" providerId="LiveId" clId="{29D6A56D-AB0D-41B6-B017-3803A210466B}" dt="2023-01-12T23:26:38.399" v="7592"/>
        <pc:sldMkLst>
          <pc:docMk/>
          <pc:sldMk cId="2914824105" sldId="2401"/>
        </pc:sldMkLst>
      </pc:sldChg>
      <pc:sldChg chg="add">
        <pc:chgData name="Aurelien Domont" userId="6da7715ce44349b3" providerId="LiveId" clId="{29D6A56D-AB0D-41B6-B017-3803A210466B}" dt="2023-01-13T00:24:36.774" v="8190"/>
        <pc:sldMkLst>
          <pc:docMk/>
          <pc:sldMk cId="219730832" sldId="2445"/>
        </pc:sldMkLst>
      </pc:sldChg>
      <pc:sldChg chg="add">
        <pc:chgData name="Aurelien Domont" userId="6da7715ce44349b3" providerId="LiveId" clId="{29D6A56D-AB0D-41B6-B017-3803A210466B}" dt="2023-01-12T23:31:11.922" v="7617"/>
        <pc:sldMkLst>
          <pc:docMk/>
          <pc:sldMk cId="2119339535" sldId="2461"/>
        </pc:sldMkLst>
      </pc:sldChg>
      <pc:sldChg chg="add">
        <pc:chgData name="Aurelien Domont" userId="6da7715ce44349b3" providerId="LiveId" clId="{29D6A56D-AB0D-41B6-B017-3803A210466B}" dt="2023-01-13T00:24:36.774" v="8190"/>
        <pc:sldMkLst>
          <pc:docMk/>
          <pc:sldMk cId="3242661849" sldId="2483"/>
        </pc:sldMkLst>
      </pc:sldChg>
      <pc:sldChg chg="add">
        <pc:chgData name="Aurelien Domont" userId="6da7715ce44349b3" providerId="LiveId" clId="{29D6A56D-AB0D-41B6-B017-3803A210466B}" dt="2023-01-12T23:31:11.922" v="7617"/>
        <pc:sldMkLst>
          <pc:docMk/>
          <pc:sldMk cId="1116174738" sldId="2502"/>
        </pc:sldMkLst>
      </pc:sldChg>
      <pc:sldChg chg="add">
        <pc:chgData name="Aurelien Domont" userId="6da7715ce44349b3" providerId="LiveId" clId="{29D6A56D-AB0D-41B6-B017-3803A210466B}" dt="2023-01-12T23:31:11.922" v="7617"/>
        <pc:sldMkLst>
          <pc:docMk/>
          <pc:sldMk cId="68956904" sldId="2506"/>
        </pc:sldMkLst>
      </pc:sldChg>
      <pc:sldChg chg="addSp modSp add del mod">
        <pc:chgData name="Aurelien Domont" userId="6da7715ce44349b3" providerId="LiveId" clId="{29D6A56D-AB0D-41B6-B017-3803A210466B}" dt="2023-01-12T23:47:24.835" v="8152" actId="47"/>
        <pc:sldMkLst>
          <pc:docMk/>
          <pc:sldMk cId="4270983424" sldId="2507"/>
        </pc:sldMkLst>
        <pc:spChg chg="mod">
          <ac:chgData name="Aurelien Domont" userId="6da7715ce44349b3" providerId="LiveId" clId="{29D6A56D-AB0D-41B6-B017-3803A210466B}" dt="2023-01-12T23:45:37.844" v="8048" actId="14100"/>
          <ac:spMkLst>
            <pc:docMk/>
            <pc:sldMk cId="4270983424" sldId="2507"/>
            <ac:spMk id="16" creationId="{2436D48A-FAB5-4E4C-AB97-233E7A3795E6}"/>
          </ac:spMkLst>
        </pc:spChg>
        <pc:picChg chg="add mod">
          <ac:chgData name="Aurelien Domont" userId="6da7715ce44349b3" providerId="LiveId" clId="{29D6A56D-AB0D-41B6-B017-3803A210466B}" dt="2023-01-12T23:45:27.622" v="8043" actId="14100"/>
          <ac:picMkLst>
            <pc:docMk/>
            <pc:sldMk cId="4270983424" sldId="2507"/>
            <ac:picMk id="3" creationId="{1E7D2D8F-C5C9-BA5C-2FBE-D2A8C18AC8A3}"/>
          </ac:picMkLst>
        </pc:picChg>
        <pc:picChg chg="mod">
          <ac:chgData name="Aurelien Domont" userId="6da7715ce44349b3" providerId="LiveId" clId="{29D6A56D-AB0D-41B6-B017-3803A210466B}" dt="2023-01-12T23:45:47.550" v="8049" actId="1076"/>
          <ac:picMkLst>
            <pc:docMk/>
            <pc:sldMk cId="4270983424" sldId="2507"/>
            <ac:picMk id="4" creationId="{625FB19C-012E-4D48-8FDD-FA2F55B2F5DA}"/>
          </ac:picMkLst>
        </pc:picChg>
      </pc:sldChg>
      <pc:sldChg chg="addSp delSp modSp add mod">
        <pc:chgData name="Aurelien Domont" userId="6da7715ce44349b3" providerId="LiveId" clId="{29D6A56D-AB0D-41B6-B017-3803A210466B}" dt="2023-02-09T05:41:17.626" v="8192"/>
        <pc:sldMkLst>
          <pc:docMk/>
          <pc:sldMk cId="3423217792" sldId="2508"/>
        </pc:sldMkLst>
        <pc:spChg chg="mod">
          <ac:chgData name="Aurelien Domont" userId="6da7715ce44349b3" providerId="LiveId" clId="{29D6A56D-AB0D-41B6-B017-3803A210466B}" dt="2023-01-13T00:16:44.805" v="8189" actId="404"/>
          <ac:spMkLst>
            <pc:docMk/>
            <pc:sldMk cId="3423217792" sldId="2508"/>
            <ac:spMk id="2" creationId="{5261080C-C60C-4746-B6B1-A9A4FFA86785}"/>
          </ac:spMkLst>
        </pc:spChg>
        <pc:spChg chg="mod">
          <ac:chgData name="Aurelien Domont" userId="6da7715ce44349b3" providerId="LiveId" clId="{29D6A56D-AB0D-41B6-B017-3803A210466B}" dt="2023-01-12T23:50:22.465" v="8165" actId="1076"/>
          <ac:spMkLst>
            <pc:docMk/>
            <pc:sldMk cId="3423217792" sldId="2508"/>
            <ac:spMk id="16" creationId="{2436D48A-FAB5-4E4C-AB97-233E7A3795E6}"/>
          </ac:spMkLst>
        </pc:spChg>
        <pc:picChg chg="mod">
          <ac:chgData name="Aurelien Domont" userId="6da7715ce44349b3" providerId="LiveId" clId="{29D6A56D-AB0D-41B6-B017-3803A210466B}" dt="2023-01-12T23:46:13.059" v="8143" actId="1037"/>
          <ac:picMkLst>
            <pc:docMk/>
            <pc:sldMk cId="3423217792" sldId="2508"/>
            <ac:picMk id="3" creationId="{1E7D2D8F-C5C9-BA5C-2FBE-D2A8C18AC8A3}"/>
          </ac:picMkLst>
        </pc:picChg>
        <pc:picChg chg="del mod">
          <ac:chgData name="Aurelien Domont" userId="6da7715ce44349b3" providerId="LiveId" clId="{29D6A56D-AB0D-41B6-B017-3803A210466B}" dt="2023-02-09T05:41:17.305" v="8191" actId="478"/>
          <ac:picMkLst>
            <pc:docMk/>
            <pc:sldMk cId="3423217792" sldId="2508"/>
            <ac:picMk id="4" creationId="{625FB19C-012E-4D48-8FDD-FA2F55B2F5DA}"/>
          </ac:picMkLst>
        </pc:picChg>
        <pc:picChg chg="add mod">
          <ac:chgData name="Aurelien Domont" userId="6da7715ce44349b3" providerId="LiveId" clId="{29D6A56D-AB0D-41B6-B017-3803A210466B}" dt="2023-02-09T05:41:17.626" v="8192"/>
          <ac:picMkLst>
            <pc:docMk/>
            <pc:sldMk cId="3423217792" sldId="2508"/>
            <ac:picMk id="7" creationId="{37A27CA3-B104-3E6B-7700-813AF33E2CC0}"/>
          </ac:picMkLst>
        </pc:picChg>
      </pc:sldChg>
      <pc:sldChg chg="addSp modSp add del mod">
        <pc:chgData name="Aurelien Domont" userId="6da7715ce44349b3" providerId="LiveId" clId="{29D6A56D-AB0D-41B6-B017-3803A210466B}" dt="2023-01-13T00:05:20.609" v="8177" actId="47"/>
        <pc:sldMkLst>
          <pc:docMk/>
          <pc:sldMk cId="4019869231" sldId="2509"/>
        </pc:sldMkLst>
        <pc:spChg chg="add mod">
          <ac:chgData name="Aurelien Domont" userId="6da7715ce44349b3" providerId="LiveId" clId="{29D6A56D-AB0D-41B6-B017-3803A210466B}" dt="2023-01-13T00:04:50.496" v="8174" actId="20577"/>
          <ac:spMkLst>
            <pc:docMk/>
            <pc:sldMk cId="4019869231" sldId="2509"/>
            <ac:spMk id="7" creationId="{C6CB5347-550B-4FC2-832C-8F8D5A3A4AF9}"/>
          </ac:spMkLst>
        </pc:spChg>
        <pc:spChg chg="mod">
          <ac:chgData name="Aurelien Domont" userId="6da7715ce44349b3" providerId="LiveId" clId="{29D6A56D-AB0D-41B6-B017-3803A210466B}" dt="2023-01-13T00:05:11.946" v="8176" actId="12"/>
          <ac:spMkLst>
            <pc:docMk/>
            <pc:sldMk cId="4019869231" sldId="2509"/>
            <ac:spMk id="8" creationId="{F601F365-36FE-43BA-A063-30AAF326381A}"/>
          </ac:spMkLst>
        </pc:spChg>
        <pc:spChg chg="mod">
          <ac:chgData name="Aurelien Domont" userId="6da7715ce44349b3" providerId="LiveId" clId="{29D6A56D-AB0D-41B6-B017-3803A210466B}" dt="2023-01-13T00:04:56.533" v="8175" actId="12"/>
          <ac:spMkLst>
            <pc:docMk/>
            <pc:sldMk cId="4019869231" sldId="2509"/>
            <ac:spMk id="45" creationId="{C40ABB58-A617-4C1D-B300-D06F0DBE43C3}"/>
          </ac:spMkLst>
        </pc:spChg>
      </pc:sldChg>
      <pc:sldChg chg="add">
        <pc:chgData name="Aurelien Domont" userId="6da7715ce44349b3" providerId="LiveId" clId="{29D6A56D-AB0D-41B6-B017-3803A210466B}" dt="2023-05-22T03:52:23.852" v="8373"/>
        <pc:sldMkLst>
          <pc:docMk/>
          <pc:sldMk cId="1926619926" sldId="3282"/>
        </pc:sldMkLst>
      </pc:sldChg>
    </pc:docChg>
  </pc:docChgLst>
  <pc:docChgLst>
    <pc:chgData name="Aurelien Domont" userId="6da7715ce44349b3" providerId="LiveId" clId="{41DCD13B-6F2F-4922-8C48-40390CE79ADD}"/>
    <pc:docChg chg="undo custSel addSld modSld">
      <pc:chgData name="Aurelien Domont" userId="6da7715ce44349b3" providerId="LiveId" clId="{41DCD13B-6F2F-4922-8C48-40390CE79ADD}" dt="2021-08-03T03:34:45.429" v="354" actId="20577"/>
      <pc:docMkLst>
        <pc:docMk/>
      </pc:docMkLst>
      <pc:sldChg chg="modSp mod">
        <pc:chgData name="Aurelien Domont" userId="6da7715ce44349b3" providerId="LiveId" clId="{41DCD13B-6F2F-4922-8C48-40390CE79ADD}" dt="2021-08-03T03:27:09.009" v="319" actId="20577"/>
        <pc:sldMkLst>
          <pc:docMk/>
          <pc:sldMk cId="3131901387" sldId="256"/>
        </pc:sldMkLst>
        <pc:spChg chg="mod">
          <ac:chgData name="Aurelien Domont" userId="6da7715ce44349b3" providerId="LiveId" clId="{41DCD13B-6F2F-4922-8C48-40390CE79ADD}" dt="2021-08-03T03:27:09.009" v="319" actId="20577"/>
          <ac:spMkLst>
            <pc:docMk/>
            <pc:sldMk cId="3131901387" sldId="256"/>
            <ac:spMk id="2" creationId="{5261080C-C60C-4746-B6B1-A9A4FFA86785}"/>
          </ac:spMkLst>
        </pc:spChg>
      </pc:sldChg>
      <pc:sldChg chg="add">
        <pc:chgData name="Aurelien Domont" userId="6da7715ce44349b3" providerId="LiveId" clId="{41DCD13B-6F2F-4922-8C48-40390CE79ADD}" dt="2021-08-03T03:31:34.082" v="332"/>
        <pc:sldMkLst>
          <pc:docMk/>
          <pc:sldMk cId="1840726201" sldId="1710"/>
        </pc:sldMkLst>
      </pc:sldChg>
      <pc:sldChg chg="addSp modSp add mod">
        <pc:chgData name="Aurelien Domont" userId="6da7715ce44349b3" providerId="LiveId" clId="{41DCD13B-6F2F-4922-8C48-40390CE79ADD}" dt="2021-08-03T03:34:45.429" v="354" actId="20577"/>
        <pc:sldMkLst>
          <pc:docMk/>
          <pc:sldMk cId="1277979891" sldId="2205"/>
        </pc:sldMkLst>
        <pc:spChg chg="mod">
          <ac:chgData name="Aurelien Domont" userId="6da7715ce44349b3" providerId="LiveId" clId="{41DCD13B-6F2F-4922-8C48-40390CE79ADD}" dt="2021-07-26T08:03:28.504" v="241"/>
          <ac:spMkLst>
            <pc:docMk/>
            <pc:sldMk cId="1277979891" sldId="2205"/>
            <ac:spMk id="3" creationId="{99E3DBA2-B4B6-4ECE-8106-2DABAA5319D4}"/>
          </ac:spMkLst>
        </pc:spChg>
        <pc:spChg chg="add mod">
          <ac:chgData name="Aurelien Domont" userId="6da7715ce44349b3" providerId="LiveId" clId="{41DCD13B-6F2F-4922-8C48-40390CE79ADD}" dt="2021-07-26T08:03:40.886" v="246" actId="14100"/>
          <ac:spMkLst>
            <pc:docMk/>
            <pc:sldMk cId="1277979891" sldId="2205"/>
            <ac:spMk id="4" creationId="{D43BFD60-78FD-465D-A50C-E952D9BE586A}"/>
          </ac:spMkLst>
        </pc:spChg>
        <pc:spChg chg="mod">
          <ac:chgData name="Aurelien Domont" userId="6da7715ce44349b3" providerId="LiveId" clId="{41DCD13B-6F2F-4922-8C48-40390CE79ADD}" dt="2021-07-26T07:59:41.434" v="156" actId="20577"/>
          <ac:spMkLst>
            <pc:docMk/>
            <pc:sldMk cId="1277979891" sldId="2205"/>
            <ac:spMk id="6" creationId="{80C2FA24-C3FF-4F99-8694-BA262AB8070A}"/>
          </ac:spMkLst>
        </pc:spChg>
        <pc:spChg chg="mod">
          <ac:chgData name="Aurelien Domont" userId="6da7715ce44349b3" providerId="LiveId" clId="{41DCD13B-6F2F-4922-8C48-40390CE79ADD}" dt="2021-07-26T08:00:41.122" v="206" actId="20577"/>
          <ac:spMkLst>
            <pc:docMk/>
            <pc:sldMk cId="1277979891" sldId="2205"/>
            <ac:spMk id="7" creationId="{AA474FA7-23F8-48D3-A4A1-46C7E7EF8CBF}"/>
          </ac:spMkLst>
        </pc:spChg>
        <pc:spChg chg="mod">
          <ac:chgData name="Aurelien Domont" userId="6da7715ce44349b3" providerId="LiveId" clId="{41DCD13B-6F2F-4922-8C48-40390CE79ADD}" dt="2021-07-26T08:01:35.009" v="207"/>
          <ac:spMkLst>
            <pc:docMk/>
            <pc:sldMk cId="1277979891" sldId="2205"/>
            <ac:spMk id="8" creationId="{44D82846-5412-4854-9CE9-6BD4A4D3F201}"/>
          </ac:spMkLst>
        </pc:spChg>
        <pc:spChg chg="mod">
          <ac:chgData name="Aurelien Domont" userId="6da7715ce44349b3" providerId="LiveId" clId="{41DCD13B-6F2F-4922-8C48-40390CE79ADD}" dt="2021-08-03T03:34:45.429" v="354" actId="20577"/>
          <ac:spMkLst>
            <pc:docMk/>
            <pc:sldMk cId="1277979891" sldId="2205"/>
            <ac:spMk id="10" creationId="{F6F130AE-016B-49E7-B056-02422308B35C}"/>
          </ac:spMkLst>
        </pc:spChg>
        <pc:spChg chg="mod">
          <ac:chgData name="Aurelien Domont" userId="6da7715ce44349b3" providerId="LiveId" clId="{41DCD13B-6F2F-4922-8C48-40390CE79ADD}" dt="2021-07-26T08:01:55.377" v="217" actId="14100"/>
          <ac:spMkLst>
            <pc:docMk/>
            <pc:sldMk cId="1277979891" sldId="2205"/>
            <ac:spMk id="11" creationId="{381FC75F-03AC-4E06-95A5-77AA464D139B}"/>
          </ac:spMkLst>
        </pc:spChg>
        <pc:spChg chg="mod">
          <ac:chgData name="Aurelien Domont" userId="6da7715ce44349b3" providerId="LiveId" clId="{41DCD13B-6F2F-4922-8C48-40390CE79ADD}" dt="2021-07-26T08:01:49.260" v="213" actId="20577"/>
          <ac:spMkLst>
            <pc:docMk/>
            <pc:sldMk cId="1277979891" sldId="2205"/>
            <ac:spMk id="12" creationId="{F22BF9F2-93B5-4D57-85D0-BA4BB3074ECE}"/>
          </ac:spMkLst>
        </pc:spChg>
        <pc:spChg chg="mod">
          <ac:chgData name="Aurelien Domont" userId="6da7715ce44349b3" providerId="LiveId" clId="{41DCD13B-6F2F-4922-8C48-40390CE79ADD}" dt="2021-08-03T03:31:53.859" v="352" actId="207"/>
          <ac:spMkLst>
            <pc:docMk/>
            <pc:sldMk cId="1277979891" sldId="2205"/>
            <ac:spMk id="16" creationId="{6C2BB713-9637-4B9B-938F-E9768876782A}"/>
          </ac:spMkLst>
        </pc:spChg>
      </pc:sldChg>
      <pc:sldChg chg="addSp modSp new mod">
        <pc:chgData name="Aurelien Domont" userId="6da7715ce44349b3" providerId="LiveId" clId="{41DCD13B-6F2F-4922-8C48-40390CE79ADD}" dt="2021-07-26T07:57:29.098" v="22" actId="13822"/>
        <pc:sldMkLst>
          <pc:docMk/>
          <pc:sldMk cId="2094070358" sldId="2206"/>
        </pc:sldMkLst>
        <pc:spChg chg="add mod">
          <ac:chgData name="Aurelien Domont" userId="6da7715ce44349b3" providerId="LiveId" clId="{41DCD13B-6F2F-4922-8C48-40390CE79ADD}" dt="2021-07-26T07:57:29.098" v="22" actId="13822"/>
          <ac:spMkLst>
            <pc:docMk/>
            <pc:sldMk cId="2094070358" sldId="2206"/>
            <ac:spMk id="8" creationId="{E6BB9657-F5A0-4FD4-BEB1-8F71BFCCFEEE}"/>
          </ac:spMkLst>
        </pc:spChg>
      </pc:sldChg>
    </pc:docChg>
  </pc:docChgLst>
  <pc:docChgLst>
    <pc:chgData name="Aurelien Domont" userId="6da7715ce44349b3" providerId="LiveId" clId="{C07E2EBA-75E5-46FC-801F-7BF5FEE4CB57}"/>
    <pc:docChg chg="modSld">
      <pc:chgData name="Aurelien Domont" userId="6da7715ce44349b3" providerId="LiveId" clId="{C07E2EBA-75E5-46FC-801F-7BF5FEE4CB57}" dt="2021-06-30T05:48:57.645" v="8" actId="113"/>
      <pc:docMkLst>
        <pc:docMk/>
      </pc:docMkLst>
      <pc:sldChg chg="modSp mod">
        <pc:chgData name="Aurelien Domont" userId="6da7715ce44349b3" providerId="LiveId" clId="{C07E2EBA-75E5-46FC-801F-7BF5FEE4CB57}" dt="2021-06-30T05:48:57.645" v="8" actId="113"/>
        <pc:sldMkLst>
          <pc:docMk/>
          <pc:sldMk cId="3131901387" sldId="256"/>
        </pc:sldMkLst>
        <pc:spChg chg="mod">
          <ac:chgData name="Aurelien Domont" userId="6da7715ce44349b3" providerId="LiveId" clId="{C07E2EBA-75E5-46FC-801F-7BF5FEE4CB57}" dt="2021-06-30T05:48:57.645" v="8" actId="113"/>
          <ac:spMkLst>
            <pc:docMk/>
            <pc:sldMk cId="3131901387" sldId="256"/>
            <ac:spMk id="2" creationId="{5261080C-C60C-4746-B6B1-A9A4FFA86785}"/>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B7873C68-9BFD-4325-B07C-6245C360A5D1}"/>
    <pc:docChg chg="undo custSel addSld delSld modSld">
      <pc:chgData name="Aurelien Domont" userId="6da7715ce44349b3" providerId="LiveId" clId="{B7873C68-9BFD-4325-B07C-6245C360A5D1}" dt="2021-05-14T05:06:22.597" v="290" actId="47"/>
      <pc:docMkLst>
        <pc:docMk/>
      </pc:docMkLst>
      <pc:sldChg chg="modSp mod">
        <pc:chgData name="Aurelien Domont" userId="6da7715ce44349b3" providerId="LiveId" clId="{B7873C68-9BFD-4325-B07C-6245C360A5D1}" dt="2021-05-13T04:53:43.632" v="10"/>
        <pc:sldMkLst>
          <pc:docMk/>
          <pc:sldMk cId="1659127470" sldId="1924"/>
        </pc:sldMkLst>
        <pc:spChg chg="mod">
          <ac:chgData name="Aurelien Domont" userId="6da7715ce44349b3" providerId="LiveId" clId="{B7873C68-9BFD-4325-B07C-6245C360A5D1}" dt="2021-05-13T04:53:43.632" v="10"/>
          <ac:spMkLst>
            <pc:docMk/>
            <pc:sldMk cId="1659127470" sldId="1924"/>
            <ac:spMk id="24" creationId="{95714746-22CF-48C5-AD51-9D9AE6E5F2C8}"/>
          </ac:spMkLst>
        </pc:spChg>
      </pc:sldChg>
      <pc:sldChg chg="addSp modSp add del mod">
        <pc:chgData name="Aurelien Domont" userId="6da7715ce44349b3" providerId="LiveId" clId="{B7873C68-9BFD-4325-B07C-6245C360A5D1}" dt="2021-05-13T05:03:35.272" v="16" actId="47"/>
        <pc:sldMkLst>
          <pc:docMk/>
          <pc:sldMk cId="1714784991" sldId="2150"/>
        </pc:sldMkLst>
        <pc:spChg chg="add mod">
          <ac:chgData name="Aurelien Domont" userId="6da7715ce44349b3" providerId="LiveId" clId="{B7873C68-9BFD-4325-B07C-6245C360A5D1}" dt="2021-05-13T05:01:35.252" v="13" actId="207"/>
          <ac:spMkLst>
            <pc:docMk/>
            <pc:sldMk cId="1714784991" sldId="2150"/>
            <ac:spMk id="2" creationId="{4ED3F7DF-E9A5-480E-8B93-7A2E00451A92}"/>
          </ac:spMkLst>
        </pc:spChg>
        <pc:spChg chg="mod">
          <ac:chgData name="Aurelien Domont" userId="6da7715ce44349b3" providerId="LiveId" clId="{B7873C68-9BFD-4325-B07C-6245C360A5D1}" dt="2021-05-13T05:01:39.975" v="14" actId="12"/>
          <ac:spMkLst>
            <pc:docMk/>
            <pc:sldMk cId="1714784991" sldId="2150"/>
            <ac:spMk id="24" creationId="{95714746-22CF-48C5-AD51-9D9AE6E5F2C8}"/>
          </ac:spMkLst>
        </pc:spChg>
        <pc:spChg chg="mod">
          <ac:chgData name="Aurelien Domont" userId="6da7715ce44349b3" providerId="LiveId" clId="{B7873C68-9BFD-4325-B07C-6245C360A5D1}" dt="2021-05-13T05:02:40.900" v="15" actId="12"/>
          <ac:spMkLst>
            <pc:docMk/>
            <pc:sldMk cId="1714784991" sldId="2150"/>
            <ac:spMk id="25" creationId="{0B462317-12E0-4745-AFEC-1DF156C5EB17}"/>
          </ac:spMkLst>
        </pc:spChg>
      </pc:sldChg>
      <pc:sldChg chg="addSp delSp modSp new del mod">
        <pc:chgData name="Aurelien Domont" userId="6da7715ce44349b3" providerId="LiveId" clId="{B7873C68-9BFD-4325-B07C-6245C360A5D1}" dt="2021-05-14T05:06:22.597" v="290" actId="47"/>
        <pc:sldMkLst>
          <pc:docMk/>
          <pc:sldMk cId="4189768353" sldId="2150"/>
        </pc:sldMkLst>
        <pc:spChg chg="add mod">
          <ac:chgData name="Aurelien Domont" userId="6da7715ce44349b3" providerId="LiveId" clId="{B7873C68-9BFD-4325-B07C-6245C360A5D1}" dt="2021-05-13T07:35:33.014" v="224" actId="1076"/>
          <ac:spMkLst>
            <pc:docMk/>
            <pc:sldMk cId="4189768353" sldId="2150"/>
            <ac:spMk id="2" creationId="{E3244593-14AB-40F1-96D0-787E5C3BCF8E}"/>
          </ac:spMkLst>
        </pc:spChg>
        <pc:spChg chg="add del mod">
          <ac:chgData name="Aurelien Domont" userId="6da7715ce44349b3" providerId="LiveId" clId="{B7873C68-9BFD-4325-B07C-6245C360A5D1}" dt="2021-05-13T07:35:25.705" v="221" actId="478"/>
          <ac:spMkLst>
            <pc:docMk/>
            <pc:sldMk cId="4189768353" sldId="2150"/>
            <ac:spMk id="3" creationId="{783D8380-074E-4646-B2C9-4DF149192EB7}"/>
          </ac:spMkLst>
        </pc:spChg>
        <pc:spChg chg="add mod">
          <ac:chgData name="Aurelien Domont" userId="6da7715ce44349b3" providerId="LiveId" clId="{B7873C68-9BFD-4325-B07C-6245C360A5D1}" dt="2021-05-13T07:27:51.866" v="173" actId="20577"/>
          <ac:spMkLst>
            <pc:docMk/>
            <pc:sldMk cId="4189768353" sldId="2150"/>
            <ac:spMk id="4" creationId="{F110EECC-B326-47A3-AE11-DA5B5E4C1A62}"/>
          </ac:spMkLst>
        </pc:spChg>
        <pc:spChg chg="add mod">
          <ac:chgData name="Aurelien Domont" userId="6da7715ce44349b3" providerId="LiveId" clId="{B7873C68-9BFD-4325-B07C-6245C360A5D1}" dt="2021-05-13T07:31:32.283" v="217" actId="1076"/>
          <ac:spMkLst>
            <pc:docMk/>
            <pc:sldMk cId="4189768353" sldId="2150"/>
            <ac:spMk id="5" creationId="{2AAE4184-AECD-472D-8BBB-313C21CE89A3}"/>
          </ac:spMkLst>
        </pc:spChg>
        <pc:spChg chg="add del mod">
          <ac:chgData name="Aurelien Domont" userId="6da7715ce44349b3" providerId="LiveId" clId="{B7873C68-9BFD-4325-B07C-6245C360A5D1}" dt="2021-05-13T07:31:13.431" v="215"/>
          <ac:spMkLst>
            <pc:docMk/>
            <pc:sldMk cId="4189768353" sldId="2150"/>
            <ac:spMk id="6" creationId="{8F2034A6-4FFF-43EE-B4C4-2017C44071DF}"/>
          </ac:spMkLst>
        </pc:spChg>
        <pc:spChg chg="add mod">
          <ac:chgData name="Aurelien Domont" userId="6da7715ce44349b3" providerId="LiveId" clId="{B7873C68-9BFD-4325-B07C-6245C360A5D1}" dt="2021-05-13T07:33:22.024" v="219"/>
          <ac:spMkLst>
            <pc:docMk/>
            <pc:sldMk cId="4189768353" sldId="2150"/>
            <ac:spMk id="7" creationId="{59C734AD-4E2E-49E4-83D5-6C2C3CFF194B}"/>
          </ac:spMkLst>
        </pc:spChg>
        <pc:spChg chg="add mod">
          <ac:chgData name="Aurelien Domont" userId="6da7715ce44349b3" providerId="LiveId" clId="{B7873C68-9BFD-4325-B07C-6245C360A5D1}" dt="2021-05-13T07:36:54.598" v="289" actId="20577"/>
          <ac:spMkLst>
            <pc:docMk/>
            <pc:sldMk cId="4189768353" sldId="2150"/>
            <ac:spMk id="8" creationId="{DC5DA6E5-FEA6-4AB5-9996-63EBED53B952}"/>
          </ac:spMkLst>
        </pc:spChg>
      </pc:sldChg>
      <pc:sldMasterChg chg="delSldLayout">
        <pc:chgData name="Aurelien Domont" userId="6da7715ce44349b3" providerId="LiveId" clId="{B7873C68-9BFD-4325-B07C-6245C360A5D1}" dt="2021-05-14T05:06:22.597" v="290" actId="47"/>
        <pc:sldMasterMkLst>
          <pc:docMk/>
          <pc:sldMasterMk cId="630589790" sldId="2147483664"/>
        </pc:sldMasterMkLst>
        <pc:sldLayoutChg chg="del">
          <pc:chgData name="Aurelien Domont" userId="6da7715ce44349b3" providerId="LiveId" clId="{B7873C68-9BFD-4325-B07C-6245C360A5D1}" dt="2021-05-14T05:06:22.597" v="290" actId="47"/>
          <pc:sldLayoutMkLst>
            <pc:docMk/>
            <pc:sldMasterMk cId="630589790" sldId="2147483664"/>
            <pc:sldLayoutMk cId="479443308" sldId="214748367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5/2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5/2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6472139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718310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1235691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10936657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42618975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381006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22186907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15530154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1</a:t>
            </a:fld>
            <a:endParaRPr lang="en-US" dirty="0"/>
          </a:p>
        </p:txBody>
      </p:sp>
    </p:spTree>
    <p:extLst>
      <p:ext uri="{BB962C8B-B14F-4D97-AF65-F5344CB8AC3E}">
        <p14:creationId xmlns:p14="http://schemas.microsoft.com/office/powerpoint/2010/main" val="23123409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2</a:t>
            </a:fld>
            <a:endParaRPr lang="en-US" dirty="0"/>
          </a:p>
        </p:txBody>
      </p:sp>
    </p:spTree>
    <p:extLst>
      <p:ext uri="{BB962C8B-B14F-4D97-AF65-F5344CB8AC3E}">
        <p14:creationId xmlns:p14="http://schemas.microsoft.com/office/powerpoint/2010/main" val="31262060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3</a:t>
            </a:fld>
            <a:endParaRPr lang="en-US" dirty="0"/>
          </a:p>
        </p:txBody>
      </p:sp>
    </p:spTree>
    <p:extLst>
      <p:ext uri="{BB962C8B-B14F-4D97-AF65-F5344CB8AC3E}">
        <p14:creationId xmlns:p14="http://schemas.microsoft.com/office/powerpoint/2010/main" val="68718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687181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42348145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30842066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23920453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2</a:t>
            </a:fld>
            <a:endParaRPr lang="en-US" dirty="0"/>
          </a:p>
        </p:txBody>
      </p:sp>
    </p:spTree>
    <p:extLst>
      <p:ext uri="{BB962C8B-B14F-4D97-AF65-F5344CB8AC3E}">
        <p14:creationId xmlns:p14="http://schemas.microsoft.com/office/powerpoint/2010/main" val="10910811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3</a:t>
            </a:fld>
            <a:endParaRPr lang="en-US" dirty="0"/>
          </a:p>
        </p:txBody>
      </p:sp>
    </p:spTree>
    <p:extLst>
      <p:ext uri="{BB962C8B-B14F-4D97-AF65-F5344CB8AC3E}">
        <p14:creationId xmlns:p14="http://schemas.microsoft.com/office/powerpoint/2010/main" val="767402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5</a:t>
            </a:fld>
            <a:endParaRPr lang="en-US" dirty="0"/>
          </a:p>
        </p:txBody>
      </p:sp>
    </p:spTree>
    <p:extLst>
      <p:ext uri="{BB962C8B-B14F-4D97-AF65-F5344CB8AC3E}">
        <p14:creationId xmlns:p14="http://schemas.microsoft.com/office/powerpoint/2010/main" val="27649952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6</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7</a:t>
            </a:fld>
            <a:endParaRPr lang="en-US" dirty="0"/>
          </a:p>
        </p:txBody>
      </p:sp>
    </p:spTree>
    <p:extLst>
      <p:ext uri="{BB962C8B-B14F-4D97-AF65-F5344CB8AC3E}">
        <p14:creationId xmlns:p14="http://schemas.microsoft.com/office/powerpoint/2010/main" val="26654315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8</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532213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2633678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1983640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3935002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978828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1548267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1502761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2.emf"/><Relationship Id="rId4" Type="http://schemas.openxmlformats.org/officeDocument/2006/relationships/oleObject" Target="../embeddings/oleObject92.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4.xml"/><Relationship Id="rId1" Type="http://schemas.openxmlformats.org/officeDocument/2006/relationships/tags" Target="../tags/tag161.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4.xml"/><Relationship Id="rId1" Type="http://schemas.openxmlformats.org/officeDocument/2006/relationships/tags" Target="../tags/tag162.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4.xml"/><Relationship Id="rId1" Type="http://schemas.openxmlformats.org/officeDocument/2006/relationships/tags" Target="../tags/tag163.xml"/><Relationship Id="rId4" Type="http://schemas.openxmlformats.org/officeDocument/2006/relationships/image" Target="../media/image2.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2.emf"/><Relationship Id="rId4" Type="http://schemas.openxmlformats.org/officeDocument/2006/relationships/oleObject" Target="../embeddings/oleObject9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2.emf"/><Relationship Id="rId4" Type="http://schemas.openxmlformats.org/officeDocument/2006/relationships/oleObject" Target="../embeddings/oleObject10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2.emf"/><Relationship Id="rId4" Type="http://schemas.openxmlformats.org/officeDocument/2006/relationships/oleObject" Target="../embeddings/oleObject101.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5.xml"/><Relationship Id="rId1" Type="http://schemas.openxmlformats.org/officeDocument/2006/relationships/tags" Target="../tags/tag176.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15.xml"/><Relationship Id="rId1" Type="http://schemas.openxmlformats.org/officeDocument/2006/relationships/tags" Target="../tags/tag177.xml"/><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15.xml"/><Relationship Id="rId1" Type="http://schemas.openxmlformats.org/officeDocument/2006/relationships/tags" Target="../tags/tag178.xml"/><Relationship Id="rId4" Type="http://schemas.openxmlformats.org/officeDocument/2006/relationships/image" Target="../media/image2.emf"/></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2.emf"/><Relationship Id="rId4" Type="http://schemas.openxmlformats.org/officeDocument/2006/relationships/oleObject" Target="../embeddings/oleObject106.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image" Target="../media/image2.emf"/><Relationship Id="rId4" Type="http://schemas.openxmlformats.org/officeDocument/2006/relationships/oleObject" Target="../embeddings/oleObject10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image" Target="../media/image2.emf"/><Relationship Id="rId4" Type="http://schemas.openxmlformats.org/officeDocument/2006/relationships/oleObject" Target="../embeddings/oleObject109.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image" Target="../media/image2.emf"/><Relationship Id="rId4" Type="http://schemas.openxmlformats.org/officeDocument/2006/relationships/oleObject" Target="../embeddings/oleObject110.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6.xml"/><Relationship Id="rId1" Type="http://schemas.openxmlformats.org/officeDocument/2006/relationships/tags" Target="../tags/tag191.xml"/><Relationship Id="rId4" Type="http://schemas.openxmlformats.org/officeDocument/2006/relationships/image" Target="../media/image2.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6.xml"/><Relationship Id="rId1" Type="http://schemas.openxmlformats.org/officeDocument/2006/relationships/tags" Target="../tags/tag192.xml"/><Relationship Id="rId4" Type="http://schemas.openxmlformats.org/officeDocument/2006/relationships/image" Target="../media/image2.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16.xml"/><Relationship Id="rId1" Type="http://schemas.openxmlformats.org/officeDocument/2006/relationships/tags" Target="../tags/tag19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5.xml"/><Relationship Id="rId1" Type="http://schemas.openxmlformats.org/officeDocument/2006/relationships/tags" Target="../tags/tag204.x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1.xml"/><Relationship Id="rId1" Type="http://schemas.openxmlformats.org/officeDocument/2006/relationships/tags" Target="../tags/tag117.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1.xml"/><Relationship Id="rId1" Type="http://schemas.openxmlformats.org/officeDocument/2006/relationships/tags" Target="../tags/tag118.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2.emf"/><Relationship Id="rId4" Type="http://schemas.openxmlformats.org/officeDocument/2006/relationships/oleObject" Target="../embeddings/oleObject7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2.emf"/><Relationship Id="rId4" Type="http://schemas.openxmlformats.org/officeDocument/2006/relationships/oleObject" Target="../embeddings/oleObject74.bin"/></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2.xml"/><Relationship Id="rId1" Type="http://schemas.openxmlformats.org/officeDocument/2006/relationships/tags" Target="../tags/tag131.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2.xml"/><Relationship Id="rId1" Type="http://schemas.openxmlformats.org/officeDocument/2006/relationships/tags" Target="../tags/tag132.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2.xml"/><Relationship Id="rId1" Type="http://schemas.openxmlformats.org/officeDocument/2006/relationships/tags" Target="../tags/tag133.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2.emf"/><Relationship Id="rId4" Type="http://schemas.openxmlformats.org/officeDocument/2006/relationships/oleObject" Target="../embeddings/oleObject7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2.emf"/><Relationship Id="rId4" Type="http://schemas.openxmlformats.org/officeDocument/2006/relationships/oleObject" Target="../embeddings/oleObject8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2.emf"/><Relationship Id="rId4" Type="http://schemas.openxmlformats.org/officeDocument/2006/relationships/oleObject" Target="../embeddings/oleObject8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3.xml"/><Relationship Id="rId1" Type="http://schemas.openxmlformats.org/officeDocument/2006/relationships/tags" Target="../tags/tag146.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3.xml"/><Relationship Id="rId1" Type="http://schemas.openxmlformats.org/officeDocument/2006/relationships/tags" Target="../tags/tag14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3.xml"/><Relationship Id="rId1" Type="http://schemas.openxmlformats.org/officeDocument/2006/relationships/tags" Target="../tags/tag14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2.emf"/><Relationship Id="rId4" Type="http://schemas.openxmlformats.org/officeDocument/2006/relationships/oleObject" Target="../embeddings/oleObject8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2.emf"/><Relationship Id="rId4" Type="http://schemas.openxmlformats.org/officeDocument/2006/relationships/oleObject" Target="../embeddings/oleObject9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954840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444371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237780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1100267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76442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5168109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3225278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53252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395990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75302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337054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23962337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5922632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794009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730093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08223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5156826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9191299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21411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962422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765825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8406770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18874930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375313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99447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6956590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3073714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497265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3962422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77541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0775988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953736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228282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8171250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2922044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4715446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8709165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6606851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18399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74251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8076687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621509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929556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0859528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Tree>
    <p:extLst>
      <p:ext uri="{BB962C8B-B14F-4D97-AF65-F5344CB8AC3E}">
        <p14:creationId xmlns:p14="http://schemas.microsoft.com/office/powerpoint/2010/main" val="5385161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85556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879090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20562943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897000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605871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081339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64076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152751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0082078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5774844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8755729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93531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415428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931816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5295591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149220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283853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1992408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450859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87424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82730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295527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5639934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869752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4272341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530601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17371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heme" Target="../theme/theme10.xml"/><Relationship Id="rId1" Type="http://schemas.openxmlformats.org/officeDocument/2006/relationships/slideLayout" Target="../slideLayouts/slideLayout72.x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tags" Target="../tags/tag104.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image" Target="../media/image1.emf"/><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oleObject" Target="../embeddings/oleObject61.bin"/><Relationship Id="rId5" Type="http://schemas.openxmlformats.org/officeDocument/2006/relationships/slideLayout" Target="../slideLayouts/slideLayout77.xml"/><Relationship Id="rId10" Type="http://schemas.openxmlformats.org/officeDocument/2006/relationships/tags" Target="../tags/tag106.xml"/><Relationship Id="rId4" Type="http://schemas.openxmlformats.org/officeDocument/2006/relationships/slideLayout" Target="../slideLayouts/slideLayout76.xml"/><Relationship Id="rId9" Type="http://schemas.openxmlformats.org/officeDocument/2006/relationships/tags" Target="../tags/tag10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image" Target="../media/image1.emf"/><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oleObject" Target="../embeddings/oleObject69.bin"/><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tags" Target="../tags/tag120.xml"/><Relationship Id="rId5" Type="http://schemas.openxmlformats.org/officeDocument/2006/relationships/slideLayout" Target="../slideLayouts/slideLayout84.xml"/><Relationship Id="rId10" Type="http://schemas.openxmlformats.org/officeDocument/2006/relationships/tags" Target="../tags/tag119.xml"/><Relationship Id="rId4" Type="http://schemas.openxmlformats.org/officeDocument/2006/relationships/slideLayout" Target="../slideLayouts/slideLayout83.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image" Target="../media/image1.emf"/><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oleObject" Target="../embeddings/oleObject78.bin"/><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tags" Target="../tags/tag135.xml"/><Relationship Id="rId5" Type="http://schemas.openxmlformats.org/officeDocument/2006/relationships/slideLayout" Target="../slideLayouts/slideLayout92.xml"/><Relationship Id="rId10" Type="http://schemas.openxmlformats.org/officeDocument/2006/relationships/tags" Target="../tags/tag134.xml"/><Relationship Id="rId4" Type="http://schemas.openxmlformats.org/officeDocument/2006/relationships/slideLayout" Target="../slideLayouts/slideLayout91.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image" Target="../media/image1.emf"/><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oleObject" Target="../embeddings/oleObject87.bin"/><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tags" Target="../tags/tag150.xml"/><Relationship Id="rId5" Type="http://schemas.openxmlformats.org/officeDocument/2006/relationships/slideLayout" Target="../slideLayouts/slideLayout100.xml"/><Relationship Id="rId10" Type="http://schemas.openxmlformats.org/officeDocument/2006/relationships/tags" Target="../tags/tag149.xml"/><Relationship Id="rId4" Type="http://schemas.openxmlformats.org/officeDocument/2006/relationships/slideLayout" Target="../slideLayouts/slideLayout99.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image" Target="../media/image1.em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oleObject" Target="../embeddings/oleObject96.bin"/><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tags" Target="../tags/tag165.xml"/><Relationship Id="rId5" Type="http://schemas.openxmlformats.org/officeDocument/2006/relationships/slideLayout" Target="../slideLayouts/slideLayout108.xml"/><Relationship Id="rId10" Type="http://schemas.openxmlformats.org/officeDocument/2006/relationships/tags" Target="../tags/tag164.xml"/><Relationship Id="rId4" Type="http://schemas.openxmlformats.org/officeDocument/2006/relationships/slideLayout" Target="../slideLayouts/slideLayout107.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image" Target="../media/image1.emf"/><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oleObject" Target="../embeddings/oleObject105.bin"/><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tags" Target="../tags/tag180.xml"/><Relationship Id="rId5" Type="http://schemas.openxmlformats.org/officeDocument/2006/relationships/slideLayout" Target="../slideLayouts/slideLayout116.xml"/><Relationship Id="rId10" Type="http://schemas.openxmlformats.org/officeDocument/2006/relationships/tags" Target="../tags/tag179.xml"/><Relationship Id="rId4" Type="http://schemas.openxmlformats.org/officeDocument/2006/relationships/slideLayout" Target="../slideLayouts/slideLayout115.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image" Target="../media/image1.emf"/><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oleObject" Target="../embeddings/oleObject114.bin"/><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tags" Target="../tags/tag195.xml"/><Relationship Id="rId5" Type="http://schemas.openxmlformats.org/officeDocument/2006/relationships/slideLayout" Target="../slideLayouts/slideLayout124.xml"/><Relationship Id="rId10" Type="http://schemas.openxmlformats.org/officeDocument/2006/relationships/tags" Target="../tags/tag194.xml"/><Relationship Id="rId4" Type="http://schemas.openxmlformats.org/officeDocument/2006/relationships/slideLayout" Target="../slideLayouts/slideLayout123.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image" Target="../media/image1.emf"/><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oleObject" Target="../embeddings/oleObject116.bin"/><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tags" Target="../tags/tag199.xml"/><Relationship Id="rId5" Type="http://schemas.openxmlformats.org/officeDocument/2006/relationships/slideLayout" Target="../slideLayouts/slideLayout132.xml"/><Relationship Id="rId10" Type="http://schemas.openxmlformats.org/officeDocument/2006/relationships/tags" Target="../tags/tag198.xml"/><Relationship Id="rId4" Type="http://schemas.openxmlformats.org/officeDocument/2006/relationships/slideLayout" Target="../slideLayouts/slideLayout131.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image" Target="../media/image1.emf"/><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oleObject" Target="../embeddings/oleObject118.bin"/><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tags" Target="../tags/tag203.xml"/><Relationship Id="rId5" Type="http://schemas.openxmlformats.org/officeDocument/2006/relationships/slideLayout" Target="../slideLayouts/slideLayout140.xml"/><Relationship Id="rId10" Type="http://schemas.openxmlformats.org/officeDocument/2006/relationships/tags" Target="../tags/tag202.xml"/><Relationship Id="rId4" Type="http://schemas.openxmlformats.org/officeDocument/2006/relationships/slideLayout" Target="../slideLayouts/slideLayout139.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6CD9D8-0EF2-4581-B59C-A22EF1D3A08B}"/>
              </a:ext>
            </a:extLst>
          </p:cNvPr>
          <p:cNvGraphicFramePr>
            <a:graphicFrameLocks noChangeAspect="1"/>
          </p:cNvGraphicFramePr>
          <p:nvPr userDrawn="1">
            <p:custDataLst>
              <p:tags r:id="rId3"/>
            </p:custDataLst>
            <p:extLst>
              <p:ext uri="{D42A27DB-BD31-4B8C-83A1-F6EECF244321}">
                <p14:modId xmlns:p14="http://schemas.microsoft.com/office/powerpoint/2010/main" val="600319311"/>
              </p:ext>
            </p:extLst>
          </p:nvPr>
        </p:nvGraphicFramePr>
        <p:xfrm>
          <a:off x="1769" y="1899"/>
          <a:ext cx="1765" cy="1896"/>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0A6CD9D8-0EF2-4581-B59C-A22EF1D3A08B}"/>
                          </a:ext>
                        </a:extLst>
                      </p:cNvPr>
                      <p:cNvPicPr/>
                      <p:nvPr/>
                    </p:nvPicPr>
                    <p:blipFill>
                      <a:blip r:embed="rId6"/>
                      <a:stretch>
                        <a:fillRect/>
                      </a:stretch>
                    </p:blipFill>
                    <p:spPr>
                      <a:xfrm>
                        <a:off x="1769" y="1899"/>
                        <a:ext cx="1765" cy="189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8CE716-8A97-466C-A499-E3BDF417AE44}"/>
              </a:ext>
            </a:extLst>
          </p:cNvPr>
          <p:cNvSpPr/>
          <p:nvPr userDrawn="1">
            <p:custDataLst>
              <p:tags r:id="rId4"/>
            </p:custDataLst>
          </p:nvPr>
        </p:nvSpPr>
        <p:spPr bwMode="auto">
          <a:xfrm>
            <a:off x="2" y="1"/>
            <a:ext cx="176388" cy="189605"/>
          </a:xfrm>
          <a:prstGeom prst="rect">
            <a:avLst/>
          </a:prstGeom>
          <a:solidFill>
            <a:srgbClr val="FFFFFF">
              <a:lumMod val="95000"/>
            </a:srgbClr>
          </a:solidFill>
          <a:ln>
            <a:solidFill>
              <a:srgbClr val="FFFFFF">
                <a:lumMod val="75000"/>
              </a:srgbClr>
            </a:solidFill>
          </a:ln>
        </p:spPr>
        <p:txBody>
          <a:bodyPr wrap="none" lIns="0" tIns="0" rIns="0" bIns="0" numCol="1" spcCol="0" rtlCol="0" anchor="ctr" anchorCtr="0">
            <a:noAutofit/>
          </a:bodyPr>
          <a:lstStyle/>
          <a:p>
            <a:pPr marL="0" lvl="0" indent="0" algn="just" defTabSz="22596" rtl="0" fontAlgn="base">
              <a:lnSpc>
                <a:spcPts val="40"/>
              </a:lnSpc>
              <a:spcBef>
                <a:spcPct val="0"/>
              </a:spcBef>
              <a:spcAft>
                <a:spcPct val="0"/>
              </a:spcAft>
              <a:buClr>
                <a:srgbClr val="000000"/>
              </a:buClr>
              <a:buFontTx/>
              <a:buNone/>
            </a:pPr>
            <a:endParaRPr lang="fr-FR" sz="100" b="1" i="0" kern="1200" baseline="0" dirty="0">
              <a:solidFill>
                <a:srgbClr val="0C2870"/>
              </a:solidFill>
              <a:latin typeface="Arial" panose="020B0604020202020204" pitchFamily="34" charset="0"/>
              <a:ea typeface="+mj-ea"/>
              <a:cs typeface="+mj-cs"/>
              <a:sym typeface="Arial" panose="020B0604020202020204" pitchFamily="34" charset="0"/>
            </a:endParaRPr>
          </a:p>
        </p:txBody>
      </p:sp>
      <p:sp>
        <p:nvSpPr>
          <p:cNvPr id="147459" name="Title Placeholder 1"/>
          <p:cNvSpPr>
            <a:spLocks noGrp="1"/>
          </p:cNvSpPr>
          <p:nvPr>
            <p:ph type="title"/>
          </p:nvPr>
        </p:nvSpPr>
        <p:spPr bwMode="auto">
          <a:xfrm>
            <a:off x="483758" y="350115"/>
            <a:ext cx="1123022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483758" y="1190385"/>
            <a:ext cx="11230228"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Tree>
    <p:extLst>
      <p:ext uri="{BB962C8B-B14F-4D97-AF65-F5344CB8AC3E}">
        <p14:creationId xmlns:p14="http://schemas.microsoft.com/office/powerpoint/2010/main" val="3928899566"/>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46264" rtl="0" eaLnBrk="1" fontAlgn="base" hangingPunct="1">
        <a:lnSpc>
          <a:spcPct val="100000"/>
        </a:lnSpc>
        <a:spcBef>
          <a:spcPct val="0"/>
        </a:spcBef>
        <a:spcAft>
          <a:spcPct val="0"/>
        </a:spcAft>
        <a:defRPr sz="100" b="1">
          <a:solidFill>
            <a:schemeClr val="tx2"/>
          </a:solidFill>
          <a:latin typeface="+mj-lt"/>
          <a:ea typeface="+mj-ea"/>
          <a:cs typeface="+mj-cs"/>
        </a:defRPr>
      </a:lvl1pPr>
      <a:lvl2pPr algn="l" defTabSz="46264" rtl="0" eaLnBrk="1" fontAlgn="base" hangingPunct="1">
        <a:lnSpc>
          <a:spcPts val="154"/>
        </a:lnSpc>
        <a:spcBef>
          <a:spcPct val="0"/>
        </a:spcBef>
        <a:spcAft>
          <a:spcPct val="0"/>
        </a:spcAft>
        <a:defRPr sz="111" b="1">
          <a:solidFill>
            <a:schemeClr val="tx2"/>
          </a:solidFill>
          <a:latin typeface="Arial" charset="0"/>
        </a:defRPr>
      </a:lvl2pPr>
      <a:lvl3pPr algn="l" defTabSz="46264" rtl="0" eaLnBrk="1" fontAlgn="base" hangingPunct="1">
        <a:lnSpc>
          <a:spcPts val="154"/>
        </a:lnSpc>
        <a:spcBef>
          <a:spcPct val="0"/>
        </a:spcBef>
        <a:spcAft>
          <a:spcPct val="0"/>
        </a:spcAft>
        <a:defRPr sz="111" b="1">
          <a:solidFill>
            <a:schemeClr val="tx2"/>
          </a:solidFill>
          <a:latin typeface="Arial" charset="0"/>
        </a:defRPr>
      </a:lvl3pPr>
      <a:lvl4pPr algn="l" defTabSz="46264" rtl="0" eaLnBrk="1" fontAlgn="base" hangingPunct="1">
        <a:lnSpc>
          <a:spcPts val="154"/>
        </a:lnSpc>
        <a:spcBef>
          <a:spcPct val="0"/>
        </a:spcBef>
        <a:spcAft>
          <a:spcPct val="0"/>
        </a:spcAft>
        <a:defRPr sz="111" b="1">
          <a:solidFill>
            <a:schemeClr val="tx2"/>
          </a:solidFill>
          <a:latin typeface="Arial" charset="0"/>
        </a:defRPr>
      </a:lvl4pPr>
      <a:lvl5pPr algn="l" defTabSz="46264" rtl="0" eaLnBrk="1" fontAlgn="base" hangingPunct="1">
        <a:lnSpc>
          <a:spcPts val="154"/>
        </a:lnSpc>
        <a:spcBef>
          <a:spcPct val="0"/>
        </a:spcBef>
        <a:spcAft>
          <a:spcPct val="0"/>
        </a:spcAft>
        <a:defRPr sz="111" b="1">
          <a:solidFill>
            <a:schemeClr val="tx2"/>
          </a:solidFill>
          <a:latin typeface="Arial" charset="0"/>
        </a:defRPr>
      </a:lvl5pPr>
      <a:lvl6pPr marL="20754" algn="l" defTabSz="46264" rtl="0" eaLnBrk="1" fontAlgn="base" hangingPunct="1">
        <a:lnSpc>
          <a:spcPts val="154"/>
        </a:lnSpc>
        <a:spcBef>
          <a:spcPct val="0"/>
        </a:spcBef>
        <a:spcAft>
          <a:spcPct val="0"/>
        </a:spcAft>
        <a:defRPr sz="111" b="1">
          <a:solidFill>
            <a:schemeClr val="tx2"/>
          </a:solidFill>
          <a:latin typeface="Arial" charset="0"/>
        </a:defRPr>
      </a:lvl6pPr>
      <a:lvl7pPr marL="41508" algn="l" defTabSz="46264" rtl="0" eaLnBrk="1" fontAlgn="base" hangingPunct="1">
        <a:lnSpc>
          <a:spcPts val="154"/>
        </a:lnSpc>
        <a:spcBef>
          <a:spcPct val="0"/>
        </a:spcBef>
        <a:spcAft>
          <a:spcPct val="0"/>
        </a:spcAft>
        <a:defRPr sz="111" b="1">
          <a:solidFill>
            <a:schemeClr val="tx2"/>
          </a:solidFill>
          <a:latin typeface="Arial" charset="0"/>
        </a:defRPr>
      </a:lvl7pPr>
      <a:lvl8pPr marL="62262" algn="l" defTabSz="46264" rtl="0" eaLnBrk="1" fontAlgn="base" hangingPunct="1">
        <a:lnSpc>
          <a:spcPts val="154"/>
        </a:lnSpc>
        <a:spcBef>
          <a:spcPct val="0"/>
        </a:spcBef>
        <a:spcAft>
          <a:spcPct val="0"/>
        </a:spcAft>
        <a:defRPr sz="111" b="1">
          <a:solidFill>
            <a:schemeClr val="tx2"/>
          </a:solidFill>
          <a:latin typeface="Arial" charset="0"/>
        </a:defRPr>
      </a:lvl8pPr>
      <a:lvl9pPr marL="83015" algn="l" defTabSz="46264" rtl="0" eaLnBrk="1" fontAlgn="base" hangingPunct="1">
        <a:lnSpc>
          <a:spcPts val="154"/>
        </a:lnSpc>
        <a:spcBef>
          <a:spcPct val="0"/>
        </a:spcBef>
        <a:spcAft>
          <a:spcPct val="0"/>
        </a:spcAft>
        <a:defRPr sz="111" b="1">
          <a:solidFill>
            <a:schemeClr val="tx2"/>
          </a:solidFill>
          <a:latin typeface="Arial" charset="0"/>
        </a:defRPr>
      </a:lvl9pPr>
    </p:titleStyle>
    <p:bodyStyle>
      <a:lvl1pPr marL="9296" indent="-9296" algn="l" defTabSz="46264" rtl="0" eaLnBrk="1" fontAlgn="base" hangingPunct="1">
        <a:spcBef>
          <a:spcPts val="14"/>
        </a:spcBef>
        <a:spcAft>
          <a:spcPts val="14"/>
        </a:spcAft>
        <a:buFont typeface="Arial" pitchFamily="34" charset="0"/>
        <a:buChar char="•"/>
        <a:tabLst/>
        <a:defRPr sz="100">
          <a:solidFill>
            <a:schemeClr val="tx2"/>
          </a:solidFill>
          <a:latin typeface="+mn-lt"/>
          <a:ea typeface="+mn-ea"/>
          <a:cs typeface="+mn-cs"/>
        </a:defRPr>
      </a:lvl1pPr>
      <a:lvl2pPr marL="20321" indent="-10593" algn="l" defTabSz="46264" rtl="0" eaLnBrk="1" fontAlgn="base" hangingPunct="1">
        <a:spcBef>
          <a:spcPts val="14"/>
        </a:spcBef>
        <a:spcAft>
          <a:spcPts val="14"/>
        </a:spcAft>
        <a:buFont typeface="Arial" pitchFamily="34" charset="0"/>
        <a:buChar char="‒"/>
        <a:tabLst/>
        <a:defRPr sz="100">
          <a:solidFill>
            <a:schemeClr val="tx2"/>
          </a:solidFill>
          <a:latin typeface="+mn-lt"/>
        </a:defRPr>
      </a:lvl2pPr>
      <a:lvl3pPr marL="30050" indent="-8863" algn="l" defTabSz="46264" rtl="0" eaLnBrk="1" fontAlgn="base" hangingPunct="1">
        <a:spcBef>
          <a:spcPts val="14"/>
        </a:spcBef>
        <a:spcAft>
          <a:spcPts val="14"/>
        </a:spcAft>
        <a:buFont typeface="Arial" pitchFamily="34" charset="0"/>
        <a:buChar char="‒"/>
        <a:tabLst/>
        <a:defRPr sz="100">
          <a:solidFill>
            <a:schemeClr val="tx2"/>
          </a:solidFill>
          <a:latin typeface="+mn-lt"/>
        </a:defRPr>
      </a:lvl3pPr>
      <a:lvl4pPr marL="39202" indent="-9368" algn="l" defTabSz="46264" rtl="0" eaLnBrk="1" fontAlgn="base" hangingPunct="1">
        <a:spcBef>
          <a:spcPts val="14"/>
        </a:spcBef>
        <a:spcAft>
          <a:spcPts val="14"/>
        </a:spcAft>
        <a:buFont typeface="Arial" pitchFamily="34" charset="0"/>
        <a:buChar char="‒"/>
        <a:defRPr sz="100">
          <a:solidFill>
            <a:schemeClr val="tx2"/>
          </a:solidFill>
          <a:latin typeface="+mn-lt"/>
        </a:defRPr>
      </a:lvl4pPr>
      <a:lvl5pPr marL="48426" indent="-9224" algn="l" defTabSz="46264" rtl="0" eaLnBrk="1" fontAlgn="base" hangingPunct="1">
        <a:spcBef>
          <a:spcPts val="14"/>
        </a:spcBef>
        <a:spcAft>
          <a:spcPts val="14"/>
        </a:spcAft>
        <a:buFont typeface="Arial" pitchFamily="34" charset="0"/>
        <a:buChar char="‒"/>
        <a:defRPr sz="100">
          <a:solidFill>
            <a:schemeClr val="tx2"/>
          </a:solidFill>
          <a:latin typeface="+mn-lt"/>
        </a:defRPr>
      </a:lvl5pPr>
      <a:lvl6pPr marL="56785" indent="-8719" algn="l" defTabSz="46264" rtl="0" eaLnBrk="1" fontAlgn="base" hangingPunct="1">
        <a:spcBef>
          <a:spcPct val="0"/>
        </a:spcBef>
        <a:spcAft>
          <a:spcPts val="27"/>
        </a:spcAft>
        <a:buFont typeface="Arial" charset="0"/>
        <a:buChar char="‒"/>
        <a:defRPr sz="100">
          <a:solidFill>
            <a:schemeClr val="tx2"/>
          </a:solidFill>
          <a:latin typeface="+mn-lt"/>
        </a:defRPr>
      </a:lvl6pPr>
      <a:lvl7pPr marL="77539" indent="-8719" algn="l" defTabSz="46264" rtl="0" eaLnBrk="1" fontAlgn="base" hangingPunct="1">
        <a:spcBef>
          <a:spcPct val="0"/>
        </a:spcBef>
        <a:spcAft>
          <a:spcPts val="27"/>
        </a:spcAft>
        <a:buFont typeface="Arial" charset="0"/>
        <a:buChar char="‒"/>
        <a:defRPr sz="100">
          <a:solidFill>
            <a:schemeClr val="tx2"/>
          </a:solidFill>
          <a:latin typeface="+mn-lt"/>
        </a:defRPr>
      </a:lvl7pPr>
      <a:lvl8pPr marL="98293" indent="-8719" algn="l" defTabSz="46264" rtl="0" eaLnBrk="1" fontAlgn="base" hangingPunct="1">
        <a:spcBef>
          <a:spcPct val="0"/>
        </a:spcBef>
        <a:spcAft>
          <a:spcPts val="27"/>
        </a:spcAft>
        <a:buFont typeface="Arial" charset="0"/>
        <a:buChar char="‒"/>
        <a:defRPr sz="100">
          <a:solidFill>
            <a:schemeClr val="tx2"/>
          </a:solidFill>
          <a:latin typeface="+mn-lt"/>
        </a:defRPr>
      </a:lvl8pPr>
      <a:lvl9pPr marL="119047" indent="-8719" algn="l" defTabSz="46264" rtl="0" eaLnBrk="1" fontAlgn="base" hangingPunct="1">
        <a:spcBef>
          <a:spcPct val="0"/>
        </a:spcBef>
        <a:spcAft>
          <a:spcPts val="27"/>
        </a:spcAft>
        <a:buFont typeface="Arial" charset="0"/>
        <a:buChar char="‒"/>
        <a:defRPr sz="100">
          <a:solidFill>
            <a:schemeClr val="tx2"/>
          </a:solidFill>
          <a:latin typeface="+mn-lt"/>
        </a:defRPr>
      </a:lvl9pPr>
    </p:bodyStyle>
    <p:otherStyle>
      <a:defPPr>
        <a:defRPr lang="en-US"/>
      </a:defPPr>
      <a:lvl1pPr marL="0" algn="l" defTabSz="41508" rtl="0" eaLnBrk="1" latinLnBrk="0" hangingPunct="1">
        <a:defRPr sz="100" kern="1200">
          <a:solidFill>
            <a:schemeClr val="tx1"/>
          </a:solidFill>
          <a:latin typeface="+mn-lt"/>
          <a:ea typeface="+mn-ea"/>
          <a:cs typeface="+mn-cs"/>
        </a:defRPr>
      </a:lvl1pPr>
      <a:lvl2pPr marL="20754" algn="l" defTabSz="41508" rtl="0" eaLnBrk="1" latinLnBrk="0" hangingPunct="1">
        <a:defRPr sz="100" kern="1200">
          <a:solidFill>
            <a:schemeClr val="tx1"/>
          </a:solidFill>
          <a:latin typeface="+mn-lt"/>
          <a:ea typeface="+mn-ea"/>
          <a:cs typeface="+mn-cs"/>
        </a:defRPr>
      </a:lvl2pPr>
      <a:lvl3pPr marL="41508" algn="l" defTabSz="41508" rtl="0" eaLnBrk="1" latinLnBrk="0" hangingPunct="1">
        <a:defRPr sz="100" kern="1200">
          <a:solidFill>
            <a:schemeClr val="tx1"/>
          </a:solidFill>
          <a:latin typeface="+mn-lt"/>
          <a:ea typeface="+mn-ea"/>
          <a:cs typeface="+mn-cs"/>
        </a:defRPr>
      </a:lvl3pPr>
      <a:lvl4pPr marL="62262" algn="l" defTabSz="41508" rtl="0" eaLnBrk="1" latinLnBrk="0" hangingPunct="1">
        <a:defRPr sz="100" kern="1200">
          <a:solidFill>
            <a:schemeClr val="tx1"/>
          </a:solidFill>
          <a:latin typeface="+mn-lt"/>
          <a:ea typeface="+mn-ea"/>
          <a:cs typeface="+mn-cs"/>
        </a:defRPr>
      </a:lvl4pPr>
      <a:lvl5pPr marL="83015" algn="l" defTabSz="41508" rtl="0" eaLnBrk="1" latinLnBrk="0" hangingPunct="1">
        <a:defRPr sz="100" kern="1200">
          <a:solidFill>
            <a:schemeClr val="tx1"/>
          </a:solidFill>
          <a:latin typeface="+mn-lt"/>
          <a:ea typeface="+mn-ea"/>
          <a:cs typeface="+mn-cs"/>
        </a:defRPr>
      </a:lvl5pPr>
      <a:lvl6pPr marL="103769" algn="l" defTabSz="41508" rtl="0" eaLnBrk="1" latinLnBrk="0" hangingPunct="1">
        <a:defRPr sz="100" kern="1200">
          <a:solidFill>
            <a:schemeClr val="tx1"/>
          </a:solidFill>
          <a:latin typeface="+mn-lt"/>
          <a:ea typeface="+mn-ea"/>
          <a:cs typeface="+mn-cs"/>
        </a:defRPr>
      </a:lvl6pPr>
      <a:lvl7pPr marL="124524" algn="l" defTabSz="41508" rtl="0" eaLnBrk="1" latinLnBrk="0" hangingPunct="1">
        <a:defRPr sz="100" kern="1200">
          <a:solidFill>
            <a:schemeClr val="tx1"/>
          </a:solidFill>
          <a:latin typeface="+mn-lt"/>
          <a:ea typeface="+mn-ea"/>
          <a:cs typeface="+mn-cs"/>
        </a:defRPr>
      </a:lvl7pPr>
      <a:lvl8pPr marL="145277" algn="l" defTabSz="41508" rtl="0" eaLnBrk="1" latinLnBrk="0" hangingPunct="1">
        <a:defRPr sz="100" kern="1200">
          <a:solidFill>
            <a:schemeClr val="tx1"/>
          </a:solidFill>
          <a:latin typeface="+mn-lt"/>
          <a:ea typeface="+mn-ea"/>
          <a:cs typeface="+mn-cs"/>
        </a:defRPr>
      </a:lvl8pPr>
      <a:lvl9pPr marL="166032" algn="l" defTabSz="41508" rtl="0" eaLnBrk="1" latinLnBrk="0" hangingPunct="1">
        <a:defRPr sz="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32695244"/>
      </p:ext>
    </p:extLst>
  </p:cSld>
  <p:clrMap bg1="dk1" tx1="lt1" bg2="dk2" tx2="lt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0709211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05074501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83883262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72970289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335691575"/>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644194416"/>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155901223"/>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401602693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73.xml"/><Relationship Id="rId7" Type="http://schemas.openxmlformats.org/officeDocument/2006/relationships/image" Target="../media/image3.jpg"/><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1.emf"/><Relationship Id="rId5" Type="http://schemas.openxmlformats.org/officeDocument/2006/relationships/oleObject" Target="../embeddings/oleObject12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0.xml"/><Relationship Id="rId7" Type="http://schemas.openxmlformats.org/officeDocument/2006/relationships/image" Target="../media/image24.svg"/><Relationship Id="rId2" Type="http://schemas.openxmlformats.org/officeDocument/2006/relationships/slideLayout" Target="../slideLayouts/slideLayout75.xml"/><Relationship Id="rId1" Type="http://schemas.openxmlformats.org/officeDocument/2006/relationships/tags" Target="../tags/tag218.xml"/><Relationship Id="rId6" Type="http://schemas.openxmlformats.org/officeDocument/2006/relationships/image" Target="../media/image23.png"/><Relationship Id="rId11" Type="http://schemas.openxmlformats.org/officeDocument/2006/relationships/image" Target="../media/image22.sv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123.bin"/><Relationship Id="rId9" Type="http://schemas.openxmlformats.org/officeDocument/2006/relationships/image" Target="../media/image26.sv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75.xml"/><Relationship Id="rId1" Type="http://schemas.openxmlformats.org/officeDocument/2006/relationships/tags" Target="../tags/tag21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75.xml"/><Relationship Id="rId1" Type="http://schemas.openxmlformats.org/officeDocument/2006/relationships/tags" Target="../tags/tag220.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1.xml"/><Relationship Id="rId7" Type="http://schemas.openxmlformats.org/officeDocument/2006/relationships/image" Target="../media/image24.svg"/><Relationship Id="rId2" Type="http://schemas.openxmlformats.org/officeDocument/2006/relationships/slideLayout" Target="../slideLayouts/slideLayout75.xml"/><Relationship Id="rId1" Type="http://schemas.openxmlformats.org/officeDocument/2006/relationships/tags" Target="../tags/tag221.xml"/><Relationship Id="rId6" Type="http://schemas.openxmlformats.org/officeDocument/2006/relationships/image" Target="../media/image23.png"/><Relationship Id="rId11" Type="http://schemas.openxmlformats.org/officeDocument/2006/relationships/image" Target="../media/image22.sv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123.bin"/><Relationship Id="rId9" Type="http://schemas.openxmlformats.org/officeDocument/2006/relationships/image" Target="../media/image26.sv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75.xml"/><Relationship Id="rId1" Type="http://schemas.openxmlformats.org/officeDocument/2006/relationships/tags" Target="../tags/tag222.xml"/><Relationship Id="rId5" Type="http://schemas.openxmlformats.org/officeDocument/2006/relationships/image" Target="../media/image37.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75.xml"/><Relationship Id="rId1" Type="http://schemas.openxmlformats.org/officeDocument/2006/relationships/tags" Target="../tags/tag223.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2.xml"/><Relationship Id="rId7" Type="http://schemas.openxmlformats.org/officeDocument/2006/relationships/image" Target="../media/image24.svg"/><Relationship Id="rId2" Type="http://schemas.openxmlformats.org/officeDocument/2006/relationships/slideLayout" Target="../slideLayouts/slideLayout75.xml"/><Relationship Id="rId1" Type="http://schemas.openxmlformats.org/officeDocument/2006/relationships/tags" Target="../tags/tag224.xml"/><Relationship Id="rId6" Type="http://schemas.openxmlformats.org/officeDocument/2006/relationships/image" Target="../media/image23.png"/><Relationship Id="rId11" Type="http://schemas.openxmlformats.org/officeDocument/2006/relationships/image" Target="../media/image22.sv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123.bin"/><Relationship Id="rId9" Type="http://schemas.openxmlformats.org/officeDocument/2006/relationships/image" Target="../media/image26.sv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75.xml"/><Relationship Id="rId1" Type="http://schemas.openxmlformats.org/officeDocument/2006/relationships/tags" Target="../tags/tag225.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75.xml"/><Relationship Id="rId1" Type="http://schemas.openxmlformats.org/officeDocument/2006/relationships/tags" Target="../tags/tag226.xml"/><Relationship Id="rId5" Type="http://schemas.openxmlformats.org/officeDocument/2006/relationships/image" Target="../media/image38.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3.xml"/><Relationship Id="rId7" Type="http://schemas.openxmlformats.org/officeDocument/2006/relationships/image" Target="../media/image24.svg"/><Relationship Id="rId2" Type="http://schemas.openxmlformats.org/officeDocument/2006/relationships/slideLayout" Target="../slideLayouts/slideLayout75.xml"/><Relationship Id="rId1" Type="http://schemas.openxmlformats.org/officeDocument/2006/relationships/tags" Target="../tags/tag227.xml"/><Relationship Id="rId6" Type="http://schemas.openxmlformats.org/officeDocument/2006/relationships/image" Target="../media/image23.png"/><Relationship Id="rId11" Type="http://schemas.openxmlformats.org/officeDocument/2006/relationships/image" Target="../media/image22.sv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123.bin"/><Relationship Id="rId9" Type="http://schemas.openxmlformats.org/officeDocument/2006/relationships/image" Target="../media/image26.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5.xml"/><Relationship Id="rId1" Type="http://schemas.openxmlformats.org/officeDocument/2006/relationships/tags" Target="../tags/tag208.xml"/><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75.xml"/><Relationship Id="rId1" Type="http://schemas.openxmlformats.org/officeDocument/2006/relationships/tags" Target="../tags/tag228.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75.xml"/><Relationship Id="rId1" Type="http://schemas.openxmlformats.org/officeDocument/2006/relationships/tags" Target="../tags/tag229.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75.xml"/><Relationship Id="rId1" Type="http://schemas.openxmlformats.org/officeDocument/2006/relationships/tags" Target="../tags/tag230.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75.xml"/><Relationship Id="rId1" Type="http://schemas.openxmlformats.org/officeDocument/2006/relationships/tags" Target="../tags/tag231.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5.xml"/><Relationship Id="rId1" Type="http://schemas.openxmlformats.org/officeDocument/2006/relationships/tags" Target="../tags/tag232.xml"/><Relationship Id="rId5" Type="http://schemas.openxmlformats.org/officeDocument/2006/relationships/image" Target="../media/image1.emf"/><Relationship Id="rId4" Type="http://schemas.openxmlformats.org/officeDocument/2006/relationships/oleObject" Target="../embeddings/oleObject132.bin"/></Relationships>
</file>

<file path=ppt/slides/_rels/slide25.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1.emf"/><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oleObject" Target="../embeddings/oleObject133.bin"/><Relationship Id="rId5" Type="http://schemas.openxmlformats.org/officeDocument/2006/relationships/notesSlide" Target="../notesSlides/notesSlide15.xml"/><Relationship Id="rId4" Type="http://schemas.openxmlformats.org/officeDocument/2006/relationships/slideLayout" Target="../slideLayouts/slideLayout75.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75.xml"/><Relationship Id="rId1" Type="http://schemas.openxmlformats.org/officeDocument/2006/relationships/tags" Target="../tags/tag236.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75.xml"/><Relationship Id="rId1" Type="http://schemas.openxmlformats.org/officeDocument/2006/relationships/tags" Target="../tags/tag237.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7.png"/><Relationship Id="rId3" Type="http://schemas.openxmlformats.org/officeDocument/2006/relationships/oleObject" Target="../embeddings/oleObject136.bin"/><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slideLayout" Target="../slideLayouts/slideLayout75.xml"/><Relationship Id="rId1" Type="http://schemas.openxmlformats.org/officeDocument/2006/relationships/tags" Target="../tags/tag238.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1.emf"/><Relationship Id="rId9" Type="http://schemas.openxmlformats.org/officeDocument/2006/relationships/image" Target="../media/image43.png"/><Relationship Id="rId14" Type="http://schemas.openxmlformats.org/officeDocument/2006/relationships/image" Target="../media/image48.svg"/></Relationships>
</file>

<file path=ppt/slides/_rels/slide29.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notesSlide" Target="../notesSlides/notesSlide16.xml"/><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slideLayout" Target="../slideLayouts/slideLayout75.xml"/><Relationship Id="rId1" Type="http://schemas.openxmlformats.org/officeDocument/2006/relationships/tags" Target="../tags/tag239.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1.emf"/><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oleObject" Target="../embeddings/oleObject123.bin"/><Relationship Id="rId9" Type="http://schemas.openxmlformats.org/officeDocument/2006/relationships/image" Target="../media/image30.svg"/><Relationship Id="rId1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5.xml"/><Relationship Id="rId1" Type="http://schemas.openxmlformats.org/officeDocument/2006/relationships/tags" Target="../tags/tag209.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241.xml"/><Relationship Id="rId1" Type="http://schemas.openxmlformats.org/officeDocument/2006/relationships/tags" Target="../tags/tag240.xml"/><Relationship Id="rId5" Type="http://schemas.openxmlformats.org/officeDocument/2006/relationships/image" Target="../media/image1.emf"/><Relationship Id="rId4" Type="http://schemas.openxmlformats.org/officeDocument/2006/relationships/oleObject" Target="../embeddings/oleObject13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5.xml"/><Relationship Id="rId1" Type="http://schemas.openxmlformats.org/officeDocument/2006/relationships/tags" Target="../tags/tag242.xml"/><Relationship Id="rId5" Type="http://schemas.openxmlformats.org/officeDocument/2006/relationships/image" Target="../media/image1.emf"/><Relationship Id="rId4" Type="http://schemas.openxmlformats.org/officeDocument/2006/relationships/oleObject" Target="../embeddings/oleObject138.bin"/></Relationships>
</file>

<file path=ppt/slides/_rels/slide3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notesSlide" Target="../notesSlides/notesSlide18.xml"/><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slideLayout" Target="../slideLayouts/slideLayout75.xml"/><Relationship Id="rId1" Type="http://schemas.openxmlformats.org/officeDocument/2006/relationships/tags" Target="../tags/tag243.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1.emf"/><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oleObject" Target="../embeddings/oleObject123.bin"/><Relationship Id="rId9" Type="http://schemas.openxmlformats.org/officeDocument/2006/relationships/image" Target="../media/image30.svg"/><Relationship Id="rId1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5.xml"/><Relationship Id="rId1" Type="http://schemas.openxmlformats.org/officeDocument/2006/relationships/tags" Target="../tags/tag244.xml"/><Relationship Id="rId5" Type="http://schemas.openxmlformats.org/officeDocument/2006/relationships/image" Target="../media/image1.emf"/><Relationship Id="rId4" Type="http://schemas.openxmlformats.org/officeDocument/2006/relationships/oleObject" Target="../embeddings/oleObject139.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0.png"/><Relationship Id="rId2" Type="http://schemas.openxmlformats.org/officeDocument/2006/relationships/slideLayout" Target="../slideLayouts/slideLayout75.xml"/><Relationship Id="rId1" Type="http://schemas.openxmlformats.org/officeDocument/2006/relationships/tags" Target="../tags/tag245.x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140.bin"/></Relationships>
</file>

<file path=ppt/slides/_rels/slide35.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notesSlide" Target="../notesSlides/notesSlide21.xml"/><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slideLayout" Target="../slideLayouts/slideLayout75.xml"/><Relationship Id="rId1" Type="http://schemas.openxmlformats.org/officeDocument/2006/relationships/tags" Target="../tags/tag246.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1.emf"/><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oleObject" Target="../embeddings/oleObject123.bin"/><Relationship Id="rId9" Type="http://schemas.openxmlformats.org/officeDocument/2006/relationships/image" Target="../media/image30.svg"/><Relationship Id="rId14" Type="http://schemas.openxmlformats.org/officeDocument/2006/relationships/image" Target="../media/image35.png"/></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75.xml"/><Relationship Id="rId1" Type="http://schemas.openxmlformats.org/officeDocument/2006/relationships/tags" Target="../tags/tag247.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75.xml"/><Relationship Id="rId1" Type="http://schemas.openxmlformats.org/officeDocument/2006/relationships/tags" Target="../tags/tag248.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52.svg"/><Relationship Id="rId3" Type="http://schemas.openxmlformats.org/officeDocument/2006/relationships/notesSlide" Target="../notesSlides/notesSlide22.xml"/><Relationship Id="rId7" Type="http://schemas.openxmlformats.org/officeDocument/2006/relationships/image" Target="../media/image28.svg"/><Relationship Id="rId12" Type="http://schemas.openxmlformats.org/officeDocument/2006/relationships/image" Target="../media/image51.png"/><Relationship Id="rId2" Type="http://schemas.openxmlformats.org/officeDocument/2006/relationships/slideLayout" Target="../slideLayouts/slideLayout75.xml"/><Relationship Id="rId1" Type="http://schemas.openxmlformats.org/officeDocument/2006/relationships/tags" Target="../tags/tag249.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1.emf"/><Relationship Id="rId15" Type="http://schemas.openxmlformats.org/officeDocument/2006/relationships/image" Target="../media/image53.svg"/><Relationship Id="rId10" Type="http://schemas.openxmlformats.org/officeDocument/2006/relationships/image" Target="../media/image31.png"/><Relationship Id="rId4" Type="http://schemas.openxmlformats.org/officeDocument/2006/relationships/oleObject" Target="../embeddings/oleObject123.bin"/><Relationship Id="rId9" Type="http://schemas.openxmlformats.org/officeDocument/2006/relationships/image" Target="../media/image30.svg"/><Relationship Id="rId14" Type="http://schemas.openxmlformats.org/officeDocument/2006/relationships/image" Target="../media/image17.png"/></Relationships>
</file>

<file path=ppt/slides/_rels/slide39.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oleObject" Target="../embeddings/oleObject143.bin"/><Relationship Id="rId7" Type="http://schemas.openxmlformats.org/officeDocument/2006/relationships/image" Target="../media/image56.png"/><Relationship Id="rId12" Type="http://schemas.openxmlformats.org/officeDocument/2006/relationships/image" Target="../media/image61.svg"/><Relationship Id="rId2" Type="http://schemas.openxmlformats.org/officeDocument/2006/relationships/slideLayout" Target="../slideLayouts/slideLayout75.xml"/><Relationship Id="rId1" Type="http://schemas.openxmlformats.org/officeDocument/2006/relationships/tags" Target="../tags/tag250.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1.emf"/><Relationship Id="rId9"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5.xml"/><Relationship Id="rId1" Type="http://schemas.openxmlformats.org/officeDocument/2006/relationships/tags" Target="../tags/tag210.xm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40.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oleObject" Target="../embeddings/oleObject143.bin"/><Relationship Id="rId7" Type="http://schemas.openxmlformats.org/officeDocument/2006/relationships/image" Target="../media/image35.png"/><Relationship Id="rId2" Type="http://schemas.openxmlformats.org/officeDocument/2006/relationships/slideLayout" Target="../slideLayouts/slideLayout75.xml"/><Relationship Id="rId1" Type="http://schemas.openxmlformats.org/officeDocument/2006/relationships/tags" Target="../tags/tag25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75.xml"/><Relationship Id="rId1" Type="http://schemas.openxmlformats.org/officeDocument/2006/relationships/tags" Target="../tags/tag252.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23.xml"/><Relationship Id="rId7" Type="http://schemas.openxmlformats.org/officeDocument/2006/relationships/image" Target="../media/image63.svg"/><Relationship Id="rId12" Type="http://schemas.openxmlformats.org/officeDocument/2006/relationships/image" Target="../media/image68.png"/><Relationship Id="rId2" Type="http://schemas.openxmlformats.org/officeDocument/2006/relationships/slideLayout" Target="../slideLayouts/slideLayout75.xml"/><Relationship Id="rId1" Type="http://schemas.openxmlformats.org/officeDocument/2006/relationships/tags" Target="../tags/tag253.xml"/><Relationship Id="rId6" Type="http://schemas.openxmlformats.org/officeDocument/2006/relationships/image" Target="../media/image62.png"/><Relationship Id="rId11" Type="http://schemas.openxmlformats.org/officeDocument/2006/relationships/image" Target="../media/image67.svg"/><Relationship Id="rId5" Type="http://schemas.openxmlformats.org/officeDocument/2006/relationships/image" Target="../media/image1.emf"/><Relationship Id="rId10" Type="http://schemas.openxmlformats.org/officeDocument/2006/relationships/image" Target="../media/image66.png"/><Relationship Id="rId4" Type="http://schemas.openxmlformats.org/officeDocument/2006/relationships/oleObject" Target="../embeddings/oleObject123.bin"/><Relationship Id="rId9" Type="http://schemas.openxmlformats.org/officeDocument/2006/relationships/image" Target="../media/image65.png"/></Relationships>
</file>

<file path=ppt/slides/_rels/slide43.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18" Type="http://schemas.openxmlformats.org/officeDocument/2006/relationships/image" Target="../media/image80.svg"/><Relationship Id="rId3" Type="http://schemas.openxmlformats.org/officeDocument/2006/relationships/slideLayout" Target="../slideLayouts/slideLayout75.xml"/><Relationship Id="rId21" Type="http://schemas.openxmlformats.org/officeDocument/2006/relationships/image" Target="../media/image83.png"/><Relationship Id="rId7" Type="http://schemas.openxmlformats.org/officeDocument/2006/relationships/image" Target="../media/image69.png"/><Relationship Id="rId12" Type="http://schemas.openxmlformats.org/officeDocument/2006/relationships/image" Target="../media/image74.svg"/><Relationship Id="rId17" Type="http://schemas.openxmlformats.org/officeDocument/2006/relationships/image" Target="../media/image79.png"/><Relationship Id="rId2" Type="http://schemas.openxmlformats.org/officeDocument/2006/relationships/tags" Target="../tags/tag255.xml"/><Relationship Id="rId16" Type="http://schemas.openxmlformats.org/officeDocument/2006/relationships/image" Target="../media/image78.svg"/><Relationship Id="rId20" Type="http://schemas.openxmlformats.org/officeDocument/2006/relationships/image" Target="../media/image82.svg"/><Relationship Id="rId1" Type="http://schemas.openxmlformats.org/officeDocument/2006/relationships/tags" Target="../tags/tag254.xml"/><Relationship Id="rId6" Type="http://schemas.openxmlformats.org/officeDocument/2006/relationships/image" Target="../media/image1.emf"/><Relationship Id="rId11" Type="http://schemas.openxmlformats.org/officeDocument/2006/relationships/image" Target="../media/image73.png"/><Relationship Id="rId24" Type="http://schemas.openxmlformats.org/officeDocument/2006/relationships/image" Target="../media/image86.svg"/><Relationship Id="rId5" Type="http://schemas.openxmlformats.org/officeDocument/2006/relationships/oleObject" Target="../embeddings/oleObject144.bin"/><Relationship Id="rId15" Type="http://schemas.openxmlformats.org/officeDocument/2006/relationships/image" Target="../media/image77.png"/><Relationship Id="rId23" Type="http://schemas.openxmlformats.org/officeDocument/2006/relationships/image" Target="../media/image85.png"/><Relationship Id="rId10" Type="http://schemas.openxmlformats.org/officeDocument/2006/relationships/image" Target="../media/image72.svg"/><Relationship Id="rId19" Type="http://schemas.openxmlformats.org/officeDocument/2006/relationships/image" Target="../media/image81.png"/><Relationship Id="rId4" Type="http://schemas.openxmlformats.org/officeDocument/2006/relationships/notesSlide" Target="../notesSlides/notesSlide24.xml"/><Relationship Id="rId9" Type="http://schemas.openxmlformats.org/officeDocument/2006/relationships/image" Target="../media/image71.png"/><Relationship Id="rId14" Type="http://schemas.openxmlformats.org/officeDocument/2006/relationships/image" Target="../media/image76.svg"/><Relationship Id="rId22" Type="http://schemas.openxmlformats.org/officeDocument/2006/relationships/image" Target="../media/image84.svg"/></Relationships>
</file>

<file path=ppt/slides/_rels/slide44.xml.rels><?xml version="1.0" encoding="UTF-8" standalone="yes"?>
<Relationships xmlns="http://schemas.openxmlformats.org/package/2006/relationships"><Relationship Id="rId3" Type="http://schemas.openxmlformats.org/officeDocument/2006/relationships/hyperlink" Target="https://www.slidebooks.com/pages/reviews" TargetMode="External"/><Relationship Id="rId2" Type="http://schemas.openxmlformats.org/officeDocument/2006/relationships/image" Target="../media/image87.png"/><Relationship Id="rId1" Type="http://schemas.openxmlformats.org/officeDocument/2006/relationships/slideLayout" Target="../slideLayouts/slideLayout75.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89.png"/><Relationship Id="rId2" Type="http://schemas.openxmlformats.org/officeDocument/2006/relationships/slideLayout" Target="../slideLayouts/slideLayout75.xml"/><Relationship Id="rId1" Type="http://schemas.openxmlformats.org/officeDocument/2006/relationships/tags" Target="../tags/tag256.xml"/><Relationship Id="rId6" Type="http://schemas.openxmlformats.org/officeDocument/2006/relationships/image" Target="../media/image88.png"/><Relationship Id="rId5" Type="http://schemas.openxmlformats.org/officeDocument/2006/relationships/image" Target="../media/image1.emf"/><Relationship Id="rId4" Type="http://schemas.openxmlformats.org/officeDocument/2006/relationships/oleObject" Target="../embeddings/oleObject145.bin"/></Relationships>
</file>

<file path=ppt/slides/_rels/slide4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75.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2.emf"/><Relationship Id="rId5" Type="http://schemas.openxmlformats.org/officeDocument/2006/relationships/oleObject" Target="../embeddings/oleObject146.bin"/><Relationship Id="rId4" Type="http://schemas.openxmlformats.org/officeDocument/2006/relationships/notesSlide" Target="../notesSlides/notesSlide26.xml"/><Relationship Id="rId9" Type="http://schemas.openxmlformats.org/officeDocument/2006/relationships/hyperlink" Target="https://www.domontconsulting.com/pages/full-access"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3" Type="http://schemas.openxmlformats.org/officeDocument/2006/relationships/slideLayout" Target="../slideLayouts/slideLayout75.xml"/><Relationship Id="rId7" Type="http://schemas.openxmlformats.org/officeDocument/2006/relationships/hyperlink" Target="https://www.domontconsulting.com/pages/post-your-project" TargetMode="External"/><Relationship Id="rId12" Type="http://schemas.openxmlformats.org/officeDocument/2006/relationships/image" Target="../media/image95.png"/><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1.emf"/><Relationship Id="rId11" Type="http://schemas.openxmlformats.org/officeDocument/2006/relationships/image" Target="../media/image94.png"/><Relationship Id="rId5" Type="http://schemas.openxmlformats.org/officeDocument/2006/relationships/oleObject" Target="../embeddings/oleObject147.bin"/><Relationship Id="rId10" Type="http://schemas.openxmlformats.org/officeDocument/2006/relationships/image" Target="../media/image93.png"/><Relationship Id="rId4" Type="http://schemas.openxmlformats.org/officeDocument/2006/relationships/notesSlide" Target="../notesSlides/notesSlide27.xml"/><Relationship Id="rId9" Type="http://schemas.openxmlformats.org/officeDocument/2006/relationships/image" Target="../media/image92.png"/></Relationships>
</file>

<file path=ppt/slides/_rels/slide48.xml.rels><?xml version="1.0" encoding="UTF-8" standalone="yes"?>
<Relationships xmlns="http://schemas.openxmlformats.org/package/2006/relationships"><Relationship Id="rId8" Type="http://schemas.openxmlformats.org/officeDocument/2006/relationships/hyperlink" Target="http://www.domontconsulting.com/" TargetMode="External"/><Relationship Id="rId3" Type="http://schemas.openxmlformats.org/officeDocument/2006/relationships/slideLayout" Target="../slideLayouts/slideLayout75.xml"/><Relationship Id="rId7" Type="http://schemas.openxmlformats.org/officeDocument/2006/relationships/image" Target="../media/image1.emf"/><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oleObject" Target="../embeddings/oleObject148.bin"/><Relationship Id="rId5" Type="http://schemas.openxmlformats.org/officeDocument/2006/relationships/image" Target="../media/image4.png"/><Relationship Id="rId4" Type="http://schemas.openxmlformats.org/officeDocument/2006/relationships/notesSlide" Target="../notesSlides/notesSlide28.xml"/></Relationships>
</file>

<file path=ppt/slides/_rels/slide5.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11.png"/><Relationship Id="rId18" Type="http://schemas.openxmlformats.org/officeDocument/2006/relationships/image" Target="../media/image16.svg"/><Relationship Id="rId3" Type="http://schemas.openxmlformats.org/officeDocument/2006/relationships/slideLayout" Target="../slideLayouts/slideLayout75.xml"/><Relationship Id="rId21" Type="http://schemas.openxmlformats.org/officeDocument/2006/relationships/image" Target="../media/image19.png"/><Relationship Id="rId7" Type="http://schemas.openxmlformats.org/officeDocument/2006/relationships/image" Target="../media/image5.png"/><Relationship Id="rId12" Type="http://schemas.openxmlformats.org/officeDocument/2006/relationships/image" Target="../media/image10.svg"/><Relationship Id="rId17" Type="http://schemas.openxmlformats.org/officeDocument/2006/relationships/image" Target="../media/image15.png"/><Relationship Id="rId2" Type="http://schemas.openxmlformats.org/officeDocument/2006/relationships/tags" Target="../tags/tag212.xml"/><Relationship Id="rId16" Type="http://schemas.openxmlformats.org/officeDocument/2006/relationships/image" Target="../media/image14.svg"/><Relationship Id="rId20" Type="http://schemas.openxmlformats.org/officeDocument/2006/relationships/image" Target="../media/image18.svg"/><Relationship Id="rId1" Type="http://schemas.openxmlformats.org/officeDocument/2006/relationships/tags" Target="../tags/tag211.x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123.bin"/><Relationship Id="rId15" Type="http://schemas.openxmlformats.org/officeDocument/2006/relationships/image" Target="../media/image13.png"/><Relationship Id="rId10" Type="http://schemas.openxmlformats.org/officeDocument/2006/relationships/image" Target="../media/image8.svg"/><Relationship Id="rId19" Type="http://schemas.openxmlformats.org/officeDocument/2006/relationships/image" Target="../media/image17.png"/><Relationship Id="rId4" Type="http://schemas.openxmlformats.org/officeDocument/2006/relationships/notesSlide" Target="../notesSlides/notesSlide5.xml"/><Relationship Id="rId9" Type="http://schemas.openxmlformats.org/officeDocument/2006/relationships/image" Target="../media/image7.png"/><Relationship Id="rId14" Type="http://schemas.openxmlformats.org/officeDocument/2006/relationships/image" Target="../media/image12.svg"/><Relationship Id="rId22" Type="http://schemas.openxmlformats.org/officeDocument/2006/relationships/image" Target="../media/image20.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5.xml"/><Relationship Id="rId1" Type="http://schemas.openxmlformats.org/officeDocument/2006/relationships/tags" Target="../tags/tag213.xm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8.xml"/><Relationship Id="rId7" Type="http://schemas.openxmlformats.org/officeDocument/2006/relationships/image" Target="../media/image22.svg"/><Relationship Id="rId2" Type="http://schemas.openxmlformats.org/officeDocument/2006/relationships/slideLayout" Target="../slideLayouts/slideLayout75.xml"/><Relationship Id="rId1" Type="http://schemas.openxmlformats.org/officeDocument/2006/relationships/tags" Target="../tags/tag216.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oleObject" Target="../embeddings/oleObject123.bin"/><Relationship Id="rId9" Type="http://schemas.openxmlformats.org/officeDocument/2006/relationships/image" Target="../media/image24.sv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notesSlide" Target="../notesSlides/notesSlide9.xml"/><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slideLayout" Target="../slideLayouts/slideLayout75.xml"/><Relationship Id="rId1" Type="http://schemas.openxmlformats.org/officeDocument/2006/relationships/tags" Target="../tags/tag217.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1.emf"/><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oleObject" Target="../embeddings/oleObject123.bin"/><Relationship Id="rId9" Type="http://schemas.openxmlformats.org/officeDocument/2006/relationships/image" Target="../media/image30.svg"/><Relationship Id="rId1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a:normAutofit/>
          </a:bodyPr>
          <a:lstStyle/>
          <a:p>
            <a:pPr>
              <a:defRPr/>
            </a:pPr>
            <a:r>
              <a:rPr lang="en-US" dirty="0"/>
              <a:t>Change and Project Management Toolkit</a:t>
            </a:r>
            <a:br>
              <a:rPr lang="en-US" dirty="0"/>
            </a:br>
            <a:r>
              <a:rPr lang="en-US" sz="3200" b="0" dirty="0"/>
              <a:t>Overview and Approach</a:t>
            </a:r>
            <a:endParaRPr lang="en-US" b="0" dirty="0"/>
          </a:p>
        </p:txBody>
      </p:sp>
      <p:sp>
        <p:nvSpPr>
          <p:cNvPr id="16" name="Text Placeholder 2">
            <a:extLst>
              <a:ext uri="{FF2B5EF4-FFF2-40B4-BE49-F238E27FC236}">
                <a16:creationId xmlns:a16="http://schemas.microsoft.com/office/drawing/2014/main" id="{2436D48A-FAB5-4E4C-AB97-233E7A3795E6}"/>
              </a:ext>
            </a:extLst>
          </p:cNvPr>
          <p:cNvSpPr>
            <a:spLocks noGrp="1"/>
          </p:cNvSpPr>
          <p:nvPr>
            <p:ph type="body" sz="quarter" idx="11"/>
          </p:nvPr>
        </p:nvSpPr>
        <p:spPr>
          <a:xfrm>
            <a:off x="7281111" y="3472946"/>
            <a:ext cx="4217469" cy="553998"/>
          </a:xfrm>
        </p:spPr>
        <p:txBody>
          <a:bodyPr wrap="square" lIns="0" tIns="0" rIns="0" bIns="0">
            <a:spAutoFit/>
          </a:bodyPr>
          <a:lstStyle/>
          <a:p>
            <a:r>
              <a:rPr lang="en-GB" sz="2000" b="1" dirty="0"/>
              <a:t>Created by ex-McKinsey, Deloitte &amp; BCG Strategy Consultants</a:t>
            </a:r>
            <a:endParaRPr lang="en-US" sz="200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3" name="Picture 2" descr="Two colleagues planning on board with sticky notes">
            <a:extLst>
              <a:ext uri="{FF2B5EF4-FFF2-40B4-BE49-F238E27FC236}">
                <a16:creationId xmlns:a16="http://schemas.microsoft.com/office/drawing/2014/main" id="{1E7D2D8F-C5C9-BA5C-2FBE-D2A8C18AC8A3}"/>
              </a:ext>
            </a:extLst>
          </p:cNvPr>
          <p:cNvPicPr>
            <a:picLocks noChangeAspect="1"/>
          </p:cNvPicPr>
          <p:nvPr/>
        </p:nvPicPr>
        <p:blipFill>
          <a:blip r:embed="rId7"/>
          <a:stretch>
            <a:fillRect/>
          </a:stretch>
        </p:blipFill>
        <p:spPr>
          <a:xfrm>
            <a:off x="254115" y="3040380"/>
            <a:ext cx="5371175" cy="3582532"/>
          </a:xfrm>
          <a:prstGeom prst="rect">
            <a:avLst/>
          </a:prstGeom>
        </p:spPr>
      </p:pic>
      <p:pic>
        <p:nvPicPr>
          <p:cNvPr id="7" name="Picture 6">
            <a:extLst>
              <a:ext uri="{FF2B5EF4-FFF2-40B4-BE49-F238E27FC236}">
                <a16:creationId xmlns:a16="http://schemas.microsoft.com/office/drawing/2014/main" id="{37A27CA3-B104-3E6B-7700-813AF33E2CC0}"/>
              </a:ext>
            </a:extLst>
          </p:cNvPr>
          <p:cNvPicPr>
            <a:picLocks noChangeAspect="1"/>
          </p:cNvPicPr>
          <p:nvPr/>
        </p:nvPicPr>
        <p:blipFill>
          <a:blip r:embed="rId8"/>
          <a:stretch>
            <a:fillRect/>
          </a:stretch>
        </p:blipFill>
        <p:spPr>
          <a:xfrm>
            <a:off x="8161795" y="5611869"/>
            <a:ext cx="3779848" cy="871804"/>
          </a:xfrm>
          <a:prstGeom prst="rect">
            <a:avLst/>
          </a:prstGeom>
        </p:spPr>
      </p:pic>
    </p:spTree>
    <p:extLst>
      <p:ext uri="{BB962C8B-B14F-4D97-AF65-F5344CB8AC3E}">
        <p14:creationId xmlns:p14="http://schemas.microsoft.com/office/powerpoint/2010/main" val="3423217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 of our change management 3-phase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2" name="Chevron 17">
            <a:extLst>
              <a:ext uri="{FF2B5EF4-FFF2-40B4-BE49-F238E27FC236}">
                <a16:creationId xmlns:a16="http://schemas.microsoft.com/office/drawing/2014/main" id="{EA372256-4CD5-2346-918C-5388C53B0312}"/>
              </a:ext>
            </a:extLst>
          </p:cNvPr>
          <p:cNvSpPr/>
          <p:nvPr/>
        </p:nvSpPr>
        <p:spPr bwMode="auto">
          <a:xfrm>
            <a:off x="597148"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CCBDA38E-60A0-5C90-7734-91ACC355B47C}"/>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68EA1FF-45E4-32E1-A20B-8F946F778A23}"/>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6" name="Rectangle 5">
            <a:extLst>
              <a:ext uri="{FF2B5EF4-FFF2-40B4-BE49-F238E27FC236}">
                <a16:creationId xmlns:a16="http://schemas.microsoft.com/office/drawing/2014/main" id="{6B5D0C30-1D05-4AC7-75F6-E983E47BA10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7" name="Rectangle 6">
            <a:extLst>
              <a:ext uri="{FF2B5EF4-FFF2-40B4-BE49-F238E27FC236}">
                <a16:creationId xmlns:a16="http://schemas.microsoft.com/office/drawing/2014/main" id="{D22588F6-1419-FED5-7801-1A0E13102D20}"/>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8" name="Straight Connector 7">
            <a:extLst>
              <a:ext uri="{FF2B5EF4-FFF2-40B4-BE49-F238E27FC236}">
                <a16:creationId xmlns:a16="http://schemas.microsoft.com/office/drawing/2014/main" id="{1E048066-FE4B-C65D-F490-A9AADF12C51E}"/>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 name="Chevron 17">
            <a:extLst>
              <a:ext uri="{FF2B5EF4-FFF2-40B4-BE49-F238E27FC236}">
                <a16:creationId xmlns:a16="http://schemas.microsoft.com/office/drawing/2014/main" id="{DA4E9622-B718-54CD-E9BC-A6DC03D2080F}"/>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10" name="Straight Connector 9">
            <a:extLst>
              <a:ext uri="{FF2B5EF4-FFF2-40B4-BE49-F238E27FC236}">
                <a16:creationId xmlns:a16="http://schemas.microsoft.com/office/drawing/2014/main" id="{877E7BA9-9980-EE5E-B9C3-FEA390969B5B}"/>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8FF1E004-3F64-42DA-6C63-D65A84E88D4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12" name="Rectangle: Rounded Corners 11">
            <a:extLst>
              <a:ext uri="{FF2B5EF4-FFF2-40B4-BE49-F238E27FC236}">
                <a16:creationId xmlns:a16="http://schemas.microsoft.com/office/drawing/2014/main" id="{D0DA8314-72A5-B45F-22C2-F0A47A6EC233}"/>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14" name="Rectangle: Rounded Corners 13">
            <a:extLst>
              <a:ext uri="{FF2B5EF4-FFF2-40B4-BE49-F238E27FC236}">
                <a16:creationId xmlns:a16="http://schemas.microsoft.com/office/drawing/2014/main" id="{388256E9-96B5-C63B-9E23-512131381DD4}"/>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15" name="Rectangle: Rounded Corners 14">
            <a:extLst>
              <a:ext uri="{FF2B5EF4-FFF2-40B4-BE49-F238E27FC236}">
                <a16:creationId xmlns:a16="http://schemas.microsoft.com/office/drawing/2014/main" id="{4706150A-1402-6EF9-E6F2-33938197B2F6}"/>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17" name="Rectangle: Rounded Corners 16">
            <a:extLst>
              <a:ext uri="{FF2B5EF4-FFF2-40B4-BE49-F238E27FC236}">
                <a16:creationId xmlns:a16="http://schemas.microsoft.com/office/drawing/2014/main" id="{D42823B9-4006-D710-68B0-7BC047D52755}"/>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Prosci 3-phase process</a:t>
            </a:r>
            <a:endParaRPr lang="en-US" sz="1000" b="1" dirty="0">
              <a:solidFill>
                <a:schemeClr val="tx1"/>
              </a:solidFill>
              <a:latin typeface="+mj-lt"/>
              <a:cs typeface="Helvetica"/>
            </a:endParaRPr>
          </a:p>
        </p:txBody>
      </p:sp>
      <p:sp>
        <p:nvSpPr>
          <p:cNvPr id="18" name="Rectangle: Rounded Corners 17">
            <a:extLst>
              <a:ext uri="{FF2B5EF4-FFF2-40B4-BE49-F238E27FC236}">
                <a16:creationId xmlns:a16="http://schemas.microsoft.com/office/drawing/2014/main" id="{50C9D806-C2F4-199D-8694-A7E603CE9F60}"/>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dkar Change Management Model</a:t>
            </a:r>
            <a:endParaRPr lang="en-US" sz="1000" b="1" dirty="0">
              <a:solidFill>
                <a:schemeClr val="tx1"/>
              </a:solidFill>
              <a:latin typeface="+mj-lt"/>
              <a:cs typeface="Helvetica"/>
            </a:endParaRPr>
          </a:p>
        </p:txBody>
      </p:sp>
      <p:sp>
        <p:nvSpPr>
          <p:cNvPr id="19" name="Rectangle: Rounded Corners 18">
            <a:extLst>
              <a:ext uri="{FF2B5EF4-FFF2-40B4-BE49-F238E27FC236}">
                <a16:creationId xmlns:a16="http://schemas.microsoft.com/office/drawing/2014/main" id="{B6FC0B36-45A8-D04A-8FE8-4E10F542BD8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0" name="Rectangle: Rounded Corners 19">
            <a:extLst>
              <a:ext uri="{FF2B5EF4-FFF2-40B4-BE49-F238E27FC236}">
                <a16:creationId xmlns:a16="http://schemas.microsoft.com/office/drawing/2014/main" id="{64F8BED4-7F2D-54F2-6817-BDE365C940CF}"/>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21" name="Rectangle: Rounded Corners 20">
            <a:extLst>
              <a:ext uri="{FF2B5EF4-FFF2-40B4-BE49-F238E27FC236}">
                <a16:creationId xmlns:a16="http://schemas.microsoft.com/office/drawing/2014/main" id="{84AB36C2-5AF2-F66F-2B42-80E630721555}"/>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22" name="Rectangle: Rounded Corners 21">
            <a:extLst>
              <a:ext uri="{FF2B5EF4-FFF2-40B4-BE49-F238E27FC236}">
                <a16:creationId xmlns:a16="http://schemas.microsoft.com/office/drawing/2014/main" id="{35D5B6F9-83EE-973B-3903-77F27F0DEC2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23" name="Rectangle: Rounded Corners 22">
            <a:extLst>
              <a:ext uri="{FF2B5EF4-FFF2-40B4-BE49-F238E27FC236}">
                <a16:creationId xmlns:a16="http://schemas.microsoft.com/office/drawing/2014/main" id="{057109E9-69FA-BE2C-898C-6802C18DE49F}"/>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24" name="Rectangle: Rounded Corners 23">
            <a:extLst>
              <a:ext uri="{FF2B5EF4-FFF2-40B4-BE49-F238E27FC236}">
                <a16:creationId xmlns:a16="http://schemas.microsoft.com/office/drawing/2014/main" id="{81AB403B-B532-F2F4-F9DD-D751FCC5D62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25" name="Rectangle: Rounded Corners 24">
            <a:extLst>
              <a:ext uri="{FF2B5EF4-FFF2-40B4-BE49-F238E27FC236}">
                <a16:creationId xmlns:a16="http://schemas.microsoft.com/office/drawing/2014/main" id="{CBCE1A8B-0CAE-DFCC-945C-1EEB482B7A3B}"/>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26" name="Graphic 25" descr="Blueprint outline">
            <a:extLst>
              <a:ext uri="{FF2B5EF4-FFF2-40B4-BE49-F238E27FC236}">
                <a16:creationId xmlns:a16="http://schemas.microsoft.com/office/drawing/2014/main" id="{D3F45C01-36A9-E107-A7E8-88D2887218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27" name="Graphic 26" descr="Target outline">
            <a:extLst>
              <a:ext uri="{FF2B5EF4-FFF2-40B4-BE49-F238E27FC236}">
                <a16:creationId xmlns:a16="http://schemas.microsoft.com/office/drawing/2014/main" id="{74E93B48-2377-9D9A-369E-AB75C98E4A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28" name="Graphic 27" descr="Clipboard Partially Checked outline">
            <a:extLst>
              <a:ext uri="{FF2B5EF4-FFF2-40B4-BE49-F238E27FC236}">
                <a16:creationId xmlns:a16="http://schemas.microsoft.com/office/drawing/2014/main" id="{7A5569FF-1FC0-8EFF-4867-B21687C837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7500871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 - Change Lean Canva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83A9572C-F54D-42E3-89EA-410B17A06E5D}"/>
              </a:ext>
            </a:extLst>
          </p:cNvPr>
          <p:cNvSpPr/>
          <p:nvPr/>
        </p:nvSpPr>
        <p:spPr>
          <a:xfrm>
            <a:off x="628650" y="1607133"/>
            <a:ext cx="2608263"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Describe the change that is happening</a:t>
            </a:r>
          </a:p>
        </p:txBody>
      </p:sp>
      <p:sp>
        <p:nvSpPr>
          <p:cNvPr id="11" name="Rectangle 10">
            <a:extLst>
              <a:ext uri="{FF2B5EF4-FFF2-40B4-BE49-F238E27FC236}">
                <a16:creationId xmlns:a16="http://schemas.microsoft.com/office/drawing/2014/main" id="{3F391C4B-7123-45E4-8045-4AB04EE93871}"/>
              </a:ext>
            </a:extLst>
          </p:cNvPr>
          <p:cNvSpPr/>
          <p:nvPr/>
        </p:nvSpPr>
        <p:spPr>
          <a:xfrm>
            <a:off x="3398838" y="1607133"/>
            <a:ext cx="2608263"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y did we decide to do this change?</a:t>
            </a:r>
          </a:p>
        </p:txBody>
      </p:sp>
      <p:sp>
        <p:nvSpPr>
          <p:cNvPr id="12" name="Rectangle 11">
            <a:extLst>
              <a:ext uri="{FF2B5EF4-FFF2-40B4-BE49-F238E27FC236}">
                <a16:creationId xmlns:a16="http://schemas.microsoft.com/office/drawing/2014/main" id="{9B0B70B2-8069-47A4-BADF-DDBA5D9A2265}"/>
              </a:ext>
            </a:extLst>
          </p:cNvPr>
          <p:cNvSpPr/>
          <p:nvPr/>
        </p:nvSpPr>
        <p:spPr>
          <a:xfrm>
            <a:off x="6169791" y="1607133"/>
            <a:ext cx="2606918"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o will be impacted by this change?</a:t>
            </a:r>
          </a:p>
        </p:txBody>
      </p:sp>
      <p:sp>
        <p:nvSpPr>
          <p:cNvPr id="14" name="Rectangle 13">
            <a:extLst>
              <a:ext uri="{FF2B5EF4-FFF2-40B4-BE49-F238E27FC236}">
                <a16:creationId xmlns:a16="http://schemas.microsoft.com/office/drawing/2014/main" id="{84E91D17-3202-48C7-8F88-09B9B7D37023}"/>
              </a:ext>
            </a:extLst>
          </p:cNvPr>
          <p:cNvSpPr/>
          <p:nvPr/>
        </p:nvSpPr>
        <p:spPr>
          <a:xfrm>
            <a:off x="8940800" y="1607133"/>
            <a:ext cx="2608263"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will we do to prepare impacted stakeholders?</a:t>
            </a:r>
            <a:endParaRPr lang="en-US" sz="1200" dirty="0">
              <a:latin typeface="+mj-lt"/>
              <a:cs typeface="Helvetica"/>
            </a:endParaRPr>
          </a:p>
        </p:txBody>
      </p:sp>
      <p:sp>
        <p:nvSpPr>
          <p:cNvPr id="15" name="Rectangle 14">
            <a:extLst>
              <a:ext uri="{FF2B5EF4-FFF2-40B4-BE49-F238E27FC236}">
                <a16:creationId xmlns:a16="http://schemas.microsoft.com/office/drawing/2014/main" id="{16940559-FE2F-4035-9656-0451AA909D25}"/>
              </a:ext>
            </a:extLst>
          </p:cNvPr>
          <p:cNvSpPr/>
          <p:nvPr/>
        </p:nvSpPr>
        <p:spPr>
          <a:xfrm>
            <a:off x="628650" y="4717836"/>
            <a:ext cx="2608263"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en will they be impacted by this change?</a:t>
            </a:r>
          </a:p>
        </p:txBody>
      </p:sp>
      <p:sp>
        <p:nvSpPr>
          <p:cNvPr id="17" name="Rectangle 16">
            <a:extLst>
              <a:ext uri="{FF2B5EF4-FFF2-40B4-BE49-F238E27FC236}">
                <a16:creationId xmlns:a16="http://schemas.microsoft.com/office/drawing/2014/main" id="{1D37994A-05D5-491A-A88D-4D7918506F48}"/>
              </a:ext>
            </a:extLst>
          </p:cNvPr>
          <p:cNvSpPr/>
          <p:nvPr/>
        </p:nvSpPr>
        <p:spPr>
          <a:xfrm>
            <a:off x="3399815" y="4717836"/>
            <a:ext cx="2606918"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want to reach?</a:t>
            </a:r>
          </a:p>
        </p:txBody>
      </p:sp>
      <p:sp>
        <p:nvSpPr>
          <p:cNvPr id="18" name="Rectangle 17">
            <a:extLst>
              <a:ext uri="{FF2B5EF4-FFF2-40B4-BE49-F238E27FC236}">
                <a16:creationId xmlns:a16="http://schemas.microsoft.com/office/drawing/2014/main" id="{54141C7A-ED6D-4499-9F61-7F815DADB18E}"/>
              </a:ext>
            </a:extLst>
          </p:cNvPr>
          <p:cNvSpPr/>
          <p:nvPr/>
        </p:nvSpPr>
        <p:spPr>
          <a:xfrm>
            <a:off x="6169635" y="4717836"/>
            <a:ext cx="2608263"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are reaching?</a:t>
            </a:r>
          </a:p>
        </p:txBody>
      </p:sp>
      <p:sp>
        <p:nvSpPr>
          <p:cNvPr id="19" name="Rectangle 18">
            <a:extLst>
              <a:ext uri="{FF2B5EF4-FFF2-40B4-BE49-F238E27FC236}">
                <a16:creationId xmlns:a16="http://schemas.microsoft.com/office/drawing/2014/main" id="{8D079699-548A-45C6-9456-84FEADBA79B0}"/>
              </a:ext>
            </a:extLst>
          </p:cNvPr>
          <p:cNvSpPr/>
          <p:nvPr/>
        </p:nvSpPr>
        <p:spPr>
          <a:xfrm>
            <a:off x="8940800" y="4717836"/>
            <a:ext cx="2608263" cy="1775038"/>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next steps?</a:t>
            </a:r>
          </a:p>
        </p:txBody>
      </p:sp>
      <p:sp>
        <p:nvSpPr>
          <p:cNvPr id="20" name="Rectangle 19">
            <a:extLst>
              <a:ext uri="{FF2B5EF4-FFF2-40B4-BE49-F238E27FC236}">
                <a16:creationId xmlns:a16="http://schemas.microsoft.com/office/drawing/2014/main" id="{1FA77B32-81EB-47CF-AF75-064C81813CBF}"/>
              </a:ext>
            </a:extLst>
          </p:cNvPr>
          <p:cNvSpPr/>
          <p:nvPr/>
        </p:nvSpPr>
        <p:spPr>
          <a:xfrm>
            <a:off x="1680340"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the name of the change</a:t>
            </a:r>
          </a:p>
        </p:txBody>
      </p:sp>
      <p:sp>
        <p:nvSpPr>
          <p:cNvPr id="23" name="Rectangle 22">
            <a:extLst>
              <a:ext uri="{FF2B5EF4-FFF2-40B4-BE49-F238E27FC236}">
                <a16:creationId xmlns:a16="http://schemas.microsoft.com/office/drawing/2014/main" id="{063EE2CF-A197-4D2A-AAB3-2365A5DF0782}"/>
              </a:ext>
            </a:extLst>
          </p:cNvPr>
          <p:cNvSpPr/>
          <p:nvPr/>
        </p:nvSpPr>
        <p:spPr>
          <a:xfrm>
            <a:off x="628579"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a:t>
            </a:r>
          </a:p>
          <a:p>
            <a:r>
              <a:rPr lang="en-US" sz="1000" b="1" dirty="0">
                <a:solidFill>
                  <a:schemeClr val="bg1"/>
                </a:solidFill>
                <a:latin typeface="+mj-lt"/>
                <a:cs typeface="Helvetica"/>
              </a:rPr>
              <a:t>Name</a:t>
            </a:r>
          </a:p>
        </p:txBody>
      </p:sp>
      <p:sp>
        <p:nvSpPr>
          <p:cNvPr id="25" name="Rectangle 24">
            <a:extLst>
              <a:ext uri="{FF2B5EF4-FFF2-40B4-BE49-F238E27FC236}">
                <a16:creationId xmlns:a16="http://schemas.microsoft.com/office/drawing/2014/main" id="{318C40A0-F350-425D-AAFB-2282CBCF7D2D}"/>
              </a:ext>
            </a:extLst>
          </p:cNvPr>
          <p:cNvSpPr/>
          <p:nvPr/>
        </p:nvSpPr>
        <p:spPr>
          <a:xfrm>
            <a:off x="4452777"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Business owner name</a:t>
            </a:r>
          </a:p>
        </p:txBody>
      </p:sp>
      <p:sp>
        <p:nvSpPr>
          <p:cNvPr id="26" name="Rectangle 25">
            <a:extLst>
              <a:ext uri="{FF2B5EF4-FFF2-40B4-BE49-F238E27FC236}">
                <a16:creationId xmlns:a16="http://schemas.microsoft.com/office/drawing/2014/main" id="{497212ED-382D-4D4F-A52F-EDF75B9E979C}"/>
              </a:ext>
            </a:extLst>
          </p:cNvPr>
          <p:cNvSpPr/>
          <p:nvPr/>
        </p:nvSpPr>
        <p:spPr>
          <a:xfrm>
            <a:off x="3401016"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Business Owner</a:t>
            </a:r>
          </a:p>
        </p:txBody>
      </p:sp>
      <p:sp>
        <p:nvSpPr>
          <p:cNvPr id="27" name="Rectangle 26">
            <a:extLst>
              <a:ext uri="{FF2B5EF4-FFF2-40B4-BE49-F238E27FC236}">
                <a16:creationId xmlns:a16="http://schemas.microsoft.com/office/drawing/2014/main" id="{87576E41-D5A9-49FF-9AED-EFC2C0FC7FE2}"/>
              </a:ext>
            </a:extLst>
          </p:cNvPr>
          <p:cNvSpPr/>
          <p:nvPr/>
        </p:nvSpPr>
        <p:spPr>
          <a:xfrm>
            <a:off x="7215790"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manager name</a:t>
            </a:r>
          </a:p>
        </p:txBody>
      </p:sp>
      <p:sp>
        <p:nvSpPr>
          <p:cNvPr id="28" name="Rectangle 27">
            <a:extLst>
              <a:ext uri="{FF2B5EF4-FFF2-40B4-BE49-F238E27FC236}">
                <a16:creationId xmlns:a16="http://schemas.microsoft.com/office/drawing/2014/main" id="{336EDBD3-9137-4EA9-9AE2-209E0F4FE065}"/>
              </a:ext>
            </a:extLst>
          </p:cNvPr>
          <p:cNvSpPr/>
          <p:nvPr/>
        </p:nvSpPr>
        <p:spPr>
          <a:xfrm>
            <a:off x="6164029"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manager </a:t>
            </a:r>
          </a:p>
        </p:txBody>
      </p:sp>
      <p:sp>
        <p:nvSpPr>
          <p:cNvPr id="29" name="TextBox 28">
            <a:extLst>
              <a:ext uri="{FF2B5EF4-FFF2-40B4-BE49-F238E27FC236}">
                <a16:creationId xmlns:a16="http://schemas.microsoft.com/office/drawing/2014/main" id="{9FDF2011-5648-41FD-A232-6ECDCAB5A726}"/>
              </a:ext>
            </a:extLst>
          </p:cNvPr>
          <p:cNvSpPr txBox="1"/>
          <p:nvPr/>
        </p:nvSpPr>
        <p:spPr>
          <a:xfrm>
            <a:off x="628650" y="2168294"/>
            <a:ext cx="2608263" cy="795351"/>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the employee, customer or user used to be able to do</a:t>
            </a:r>
          </a:p>
          <a:p>
            <a:endParaRPr lang="en-US" sz="923" dirty="0">
              <a:solidFill>
                <a:srgbClr val="002060"/>
              </a:solidFill>
              <a:latin typeface="+mj-lt"/>
              <a:cs typeface="Helvetica"/>
            </a:endParaRPr>
          </a:p>
          <a:p>
            <a:r>
              <a:rPr lang="en-US" sz="923" dirty="0">
                <a:solidFill>
                  <a:srgbClr val="002060"/>
                </a:solidFill>
                <a:latin typeface="+mj-lt"/>
                <a:cs typeface="Helvetica"/>
              </a:rPr>
              <a:t>Insert what the employee, customer or user will be able to do with this new change</a:t>
            </a:r>
          </a:p>
        </p:txBody>
      </p:sp>
      <p:sp>
        <p:nvSpPr>
          <p:cNvPr id="32" name="TextBox 31">
            <a:extLst>
              <a:ext uri="{FF2B5EF4-FFF2-40B4-BE49-F238E27FC236}">
                <a16:creationId xmlns:a16="http://schemas.microsoft.com/office/drawing/2014/main" id="{0D5D98BC-2E6F-4691-83B4-AFC340E0A98E}"/>
              </a:ext>
            </a:extLst>
          </p:cNvPr>
          <p:cNvSpPr txBox="1"/>
          <p:nvPr/>
        </p:nvSpPr>
        <p:spPr>
          <a:xfrm>
            <a:off x="6170084" y="2168294"/>
            <a:ext cx="2608263" cy="511299"/>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different stakeholder groups impacted by this change</a:t>
            </a:r>
          </a:p>
          <a:p>
            <a:endParaRPr lang="en-US" sz="923" dirty="0">
              <a:solidFill>
                <a:srgbClr val="002060"/>
              </a:solidFill>
              <a:latin typeface="+mj-lt"/>
              <a:cs typeface="Helvetica"/>
            </a:endParaRPr>
          </a:p>
        </p:txBody>
      </p:sp>
      <p:sp>
        <p:nvSpPr>
          <p:cNvPr id="39" name="TextBox 38">
            <a:extLst>
              <a:ext uri="{FF2B5EF4-FFF2-40B4-BE49-F238E27FC236}">
                <a16:creationId xmlns:a16="http://schemas.microsoft.com/office/drawing/2014/main" id="{EB582C42-4F94-4FE1-8290-EA65C2459AE5}"/>
              </a:ext>
            </a:extLst>
          </p:cNvPr>
          <p:cNvSpPr txBox="1"/>
          <p:nvPr/>
        </p:nvSpPr>
        <p:spPr>
          <a:xfrm>
            <a:off x="3399367" y="2168294"/>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Describe the rational behind the decision to do this change</a:t>
            </a:r>
          </a:p>
        </p:txBody>
      </p:sp>
      <p:sp>
        <p:nvSpPr>
          <p:cNvPr id="41" name="TextBox 40">
            <a:extLst>
              <a:ext uri="{FF2B5EF4-FFF2-40B4-BE49-F238E27FC236}">
                <a16:creationId xmlns:a16="http://schemas.microsoft.com/office/drawing/2014/main" id="{4B502E63-B209-4BAF-A309-1D9889DA230E}"/>
              </a:ext>
            </a:extLst>
          </p:cNvPr>
          <p:cNvSpPr txBox="1"/>
          <p:nvPr/>
        </p:nvSpPr>
        <p:spPr>
          <a:xfrm>
            <a:off x="628650"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date</a:t>
            </a:r>
          </a:p>
          <a:p>
            <a:endParaRPr lang="en-US" sz="923" dirty="0">
              <a:solidFill>
                <a:srgbClr val="002060"/>
              </a:solidFill>
              <a:latin typeface="+mj-lt"/>
              <a:cs typeface="Helvetica"/>
            </a:endParaRPr>
          </a:p>
        </p:txBody>
      </p:sp>
      <p:sp>
        <p:nvSpPr>
          <p:cNvPr id="43" name="TextBox 42">
            <a:extLst>
              <a:ext uri="{FF2B5EF4-FFF2-40B4-BE49-F238E27FC236}">
                <a16:creationId xmlns:a16="http://schemas.microsoft.com/office/drawing/2014/main" id="{0AF3A46D-DD29-46E7-9D18-9830E983937E}"/>
              </a:ext>
            </a:extLst>
          </p:cNvPr>
          <p:cNvSpPr txBox="1"/>
          <p:nvPr/>
        </p:nvSpPr>
        <p:spPr>
          <a:xfrm>
            <a:off x="8940800" y="2168294"/>
            <a:ext cx="2608263" cy="653324"/>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we will do to ensure proper adoption of the change (i.e. communication, training, pilot group,…)</a:t>
            </a:r>
          </a:p>
          <a:p>
            <a:endParaRPr lang="en-US" sz="923" dirty="0">
              <a:solidFill>
                <a:srgbClr val="002060"/>
              </a:solidFill>
              <a:latin typeface="+mj-lt"/>
              <a:cs typeface="Helvetica"/>
            </a:endParaRPr>
          </a:p>
        </p:txBody>
      </p:sp>
      <p:sp>
        <p:nvSpPr>
          <p:cNvPr id="45" name="TextBox 44">
            <a:extLst>
              <a:ext uri="{FF2B5EF4-FFF2-40B4-BE49-F238E27FC236}">
                <a16:creationId xmlns:a16="http://schemas.microsoft.com/office/drawing/2014/main" id="{F8A99211-75CA-465A-9D49-A41DB14CD13E}"/>
              </a:ext>
            </a:extLst>
          </p:cNvPr>
          <p:cNvSpPr txBox="1"/>
          <p:nvPr/>
        </p:nvSpPr>
        <p:spPr>
          <a:xfrm>
            <a:off x="3399367"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business outcomes we want to reach</a:t>
            </a:r>
          </a:p>
        </p:txBody>
      </p:sp>
      <p:sp>
        <p:nvSpPr>
          <p:cNvPr id="46" name="TextBox 45">
            <a:extLst>
              <a:ext uri="{FF2B5EF4-FFF2-40B4-BE49-F238E27FC236}">
                <a16:creationId xmlns:a16="http://schemas.microsoft.com/office/drawing/2014/main" id="{521A524C-2BAC-4684-B858-79DB4986749C}"/>
              </a:ext>
            </a:extLst>
          </p:cNvPr>
          <p:cNvSpPr txBox="1"/>
          <p:nvPr/>
        </p:nvSpPr>
        <p:spPr>
          <a:xfrm>
            <a:off x="6170084"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When available, insert the business outcomes and their source</a:t>
            </a:r>
          </a:p>
        </p:txBody>
      </p:sp>
      <p:sp>
        <p:nvSpPr>
          <p:cNvPr id="48" name="TextBox 47">
            <a:extLst>
              <a:ext uri="{FF2B5EF4-FFF2-40B4-BE49-F238E27FC236}">
                <a16:creationId xmlns:a16="http://schemas.microsoft.com/office/drawing/2014/main" id="{F211B41D-DD23-44D6-BCB6-09ADCC477515}"/>
              </a:ext>
            </a:extLst>
          </p:cNvPr>
          <p:cNvSpPr txBox="1"/>
          <p:nvPr/>
        </p:nvSpPr>
        <p:spPr>
          <a:xfrm>
            <a:off x="8940800" y="522992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clude the next steps if any</a:t>
            </a:r>
          </a:p>
          <a:p>
            <a:endParaRPr lang="en-US" sz="923" dirty="0">
              <a:solidFill>
                <a:srgbClr val="002060"/>
              </a:solidFill>
              <a:latin typeface="+mj-lt"/>
              <a:cs typeface="Helvetica"/>
            </a:endParaRPr>
          </a:p>
        </p:txBody>
      </p:sp>
      <p:sp>
        <p:nvSpPr>
          <p:cNvPr id="50" name="Rectangle 49">
            <a:extLst>
              <a:ext uri="{FF2B5EF4-FFF2-40B4-BE49-F238E27FC236}">
                <a16:creationId xmlns:a16="http://schemas.microsoft.com/office/drawing/2014/main" id="{C9809135-C306-4365-B4E9-F6528ABAB093}"/>
              </a:ext>
            </a:extLst>
          </p:cNvPr>
          <p:cNvSpPr/>
          <p:nvPr/>
        </p:nvSpPr>
        <p:spPr>
          <a:xfrm>
            <a:off x="9992157" y="877455"/>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Canvas version &amp; submit date</a:t>
            </a:r>
          </a:p>
        </p:txBody>
      </p:sp>
      <p:sp>
        <p:nvSpPr>
          <p:cNvPr id="51" name="Rectangle 50">
            <a:extLst>
              <a:ext uri="{FF2B5EF4-FFF2-40B4-BE49-F238E27FC236}">
                <a16:creationId xmlns:a16="http://schemas.microsoft.com/office/drawing/2014/main" id="{A5E246B2-EF81-40D8-A5BC-58B07530FBAE}"/>
              </a:ext>
            </a:extLst>
          </p:cNvPr>
          <p:cNvSpPr/>
          <p:nvPr/>
        </p:nvSpPr>
        <p:spPr>
          <a:xfrm>
            <a:off x="8940397" y="877455"/>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Submit </a:t>
            </a:r>
          </a:p>
          <a:p>
            <a:r>
              <a:rPr lang="en-US" sz="1000" b="1" dirty="0">
                <a:solidFill>
                  <a:schemeClr val="bg1"/>
                </a:solidFill>
                <a:latin typeface="+mj-lt"/>
                <a:cs typeface="Helvetica"/>
              </a:rPr>
              <a:t>Date</a:t>
            </a:r>
          </a:p>
        </p:txBody>
      </p:sp>
    </p:spTree>
    <p:extLst>
      <p:ext uri="{BB962C8B-B14F-4D97-AF65-F5344CB8AC3E}">
        <p14:creationId xmlns:p14="http://schemas.microsoft.com/office/powerpoint/2010/main" val="418530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br>
              <a:rPr lang="en-US" sz="2400" kern="0" dirty="0"/>
            </a:br>
            <a:r>
              <a:rPr lang="en-US" sz="2400" b="0" kern="0" dirty="0"/>
              <a:t>Sca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30" name="Rounded Rectangle 123">
            <a:extLst>
              <a:ext uri="{FF2B5EF4-FFF2-40B4-BE49-F238E27FC236}">
                <a16:creationId xmlns:a16="http://schemas.microsoft.com/office/drawing/2014/main" id="{A15C96F2-1C3C-4796-9198-C1ED9E5A8A6F}"/>
              </a:ext>
            </a:extLst>
          </p:cNvPr>
          <p:cNvSpPr/>
          <p:nvPr/>
        </p:nvSpPr>
        <p:spPr bwMode="auto">
          <a:xfrm>
            <a:off x="1683801" y="1589808"/>
            <a:ext cx="1954800" cy="157842"/>
          </a:xfrm>
          <a:prstGeom prst="rect">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Low</a:t>
            </a:r>
          </a:p>
        </p:txBody>
      </p:sp>
      <p:sp>
        <p:nvSpPr>
          <p:cNvPr id="29" name="Rounded Rectangle 125">
            <a:extLst>
              <a:ext uri="{FF2B5EF4-FFF2-40B4-BE49-F238E27FC236}">
                <a16:creationId xmlns:a16="http://schemas.microsoft.com/office/drawing/2014/main" id="{99588362-1E66-4F91-9CE6-72EB8B1106C1}"/>
              </a:ext>
            </a:extLst>
          </p:cNvPr>
          <p:cNvSpPr/>
          <p:nvPr/>
        </p:nvSpPr>
        <p:spPr bwMode="auto">
          <a:xfrm>
            <a:off x="604837" y="2217530"/>
            <a:ext cx="982159" cy="59646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solidFill>
                  <a:schemeClr val="bg1"/>
                </a:solidFill>
              </a:rPr>
              <a:t>Complexity of the change</a:t>
            </a:r>
          </a:p>
        </p:txBody>
      </p:sp>
      <p:sp>
        <p:nvSpPr>
          <p:cNvPr id="57" name="Rounded Rectangle 152">
            <a:extLst>
              <a:ext uri="{FF2B5EF4-FFF2-40B4-BE49-F238E27FC236}">
                <a16:creationId xmlns:a16="http://schemas.microsoft.com/office/drawing/2014/main" id="{BE6F78B8-FC4C-4212-A920-5D98F8AAF081}"/>
              </a:ext>
            </a:extLst>
          </p:cNvPr>
          <p:cNvSpPr/>
          <p:nvPr/>
        </p:nvSpPr>
        <p:spPr bwMode="auto">
          <a:xfrm>
            <a:off x="1683801" y="2217530"/>
            <a:ext cx="9893704" cy="596462"/>
          </a:xfrm>
          <a:prstGeom prst="rect">
            <a:avLst/>
          </a:prstGeom>
          <a:solidFill>
            <a:schemeClr val="bg1"/>
          </a:solidFill>
          <a:ln>
            <a:noFill/>
          </a:ln>
          <a:effectLst/>
        </p:spPr>
        <p:txBody>
          <a:bodyPr wrap="square" lIns="91428" tIns="45715" rIns="91428" bIns="45715" rtlCol="0" anchor="ctr">
            <a:noAutofit/>
          </a:bodyPr>
          <a:lstStyle/>
          <a:p>
            <a:pPr lvl="0" algn="ctr" defTabSz="623853">
              <a:buClr>
                <a:srgbClr val="000000"/>
              </a:buClr>
              <a:defRPr/>
            </a:pPr>
            <a:r>
              <a:rPr lang="en-AU" sz="900" kern="0" dirty="0"/>
              <a:t>The </a:t>
            </a:r>
            <a:r>
              <a:rPr lang="en-US" sz="900" kern="0" dirty="0"/>
              <a:t>Complexity of the change depends on how we rated the impact intensity of the “</a:t>
            </a:r>
            <a:r>
              <a:rPr lang="en-US" sz="900" b="1" kern="0" dirty="0"/>
              <a:t>People increase / reduction” change, “System” change, “Process” change, “Organization structure” change and “Culture” change </a:t>
            </a:r>
            <a:r>
              <a:rPr lang="en-US" sz="900" kern="0" dirty="0"/>
              <a:t>(see below)</a:t>
            </a:r>
          </a:p>
        </p:txBody>
      </p:sp>
      <p:sp>
        <p:nvSpPr>
          <p:cNvPr id="31" name="Rounded Rectangle 124">
            <a:extLst>
              <a:ext uri="{FF2B5EF4-FFF2-40B4-BE49-F238E27FC236}">
                <a16:creationId xmlns:a16="http://schemas.microsoft.com/office/drawing/2014/main" id="{3045CA18-97B5-4178-A355-7FEB9DB3875A}"/>
              </a:ext>
            </a:extLst>
          </p:cNvPr>
          <p:cNvSpPr/>
          <p:nvPr/>
        </p:nvSpPr>
        <p:spPr bwMode="auto">
          <a:xfrm>
            <a:off x="3671118" y="1589808"/>
            <a:ext cx="1954800" cy="157842"/>
          </a:xfrm>
          <a:prstGeom prst="rect">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Moderate</a:t>
            </a:r>
          </a:p>
        </p:txBody>
      </p:sp>
      <p:sp>
        <p:nvSpPr>
          <p:cNvPr id="32" name="Rounded Rectangle 129">
            <a:extLst>
              <a:ext uri="{FF2B5EF4-FFF2-40B4-BE49-F238E27FC236}">
                <a16:creationId xmlns:a16="http://schemas.microsoft.com/office/drawing/2014/main" id="{95A94C99-B0D6-4A4B-B3AA-A3F48DB57728}"/>
              </a:ext>
            </a:extLst>
          </p:cNvPr>
          <p:cNvSpPr/>
          <p:nvPr/>
        </p:nvSpPr>
        <p:spPr bwMode="auto">
          <a:xfrm>
            <a:off x="5658435" y="1589808"/>
            <a:ext cx="1954800" cy="157842"/>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900" kern="0" dirty="0"/>
              <a:t>Medium</a:t>
            </a:r>
          </a:p>
        </p:txBody>
      </p:sp>
      <p:sp>
        <p:nvSpPr>
          <p:cNvPr id="33" name="Rounded Rectangle 130">
            <a:extLst>
              <a:ext uri="{FF2B5EF4-FFF2-40B4-BE49-F238E27FC236}">
                <a16:creationId xmlns:a16="http://schemas.microsoft.com/office/drawing/2014/main" id="{63DF35F5-1F66-4A0B-8B85-8ED313A11D62}"/>
              </a:ext>
            </a:extLst>
          </p:cNvPr>
          <p:cNvSpPr/>
          <p:nvPr/>
        </p:nvSpPr>
        <p:spPr bwMode="auto">
          <a:xfrm>
            <a:off x="7645752" y="1589808"/>
            <a:ext cx="1954800" cy="157842"/>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igh</a:t>
            </a:r>
          </a:p>
        </p:txBody>
      </p:sp>
      <p:sp>
        <p:nvSpPr>
          <p:cNvPr id="34" name="Rounded Rectangle 133">
            <a:extLst>
              <a:ext uri="{FF2B5EF4-FFF2-40B4-BE49-F238E27FC236}">
                <a16:creationId xmlns:a16="http://schemas.microsoft.com/office/drawing/2014/main" id="{79193D84-D82A-4402-BD5E-586AF6B3475D}"/>
              </a:ext>
            </a:extLst>
          </p:cNvPr>
          <p:cNvSpPr/>
          <p:nvPr/>
        </p:nvSpPr>
        <p:spPr bwMode="auto">
          <a:xfrm>
            <a:off x="9633068" y="1589808"/>
            <a:ext cx="1954800" cy="157842"/>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xtreme</a:t>
            </a:r>
          </a:p>
        </p:txBody>
      </p:sp>
      <p:sp>
        <p:nvSpPr>
          <p:cNvPr id="23" name="Rounded Rectangle 17">
            <a:extLst>
              <a:ext uri="{FF2B5EF4-FFF2-40B4-BE49-F238E27FC236}">
                <a16:creationId xmlns:a16="http://schemas.microsoft.com/office/drawing/2014/main" id="{AC2C85A7-2395-430E-9C92-59231978D2FE}"/>
              </a:ext>
            </a:extLst>
          </p:cNvPr>
          <p:cNvSpPr/>
          <p:nvPr/>
        </p:nvSpPr>
        <p:spPr bwMode="auto">
          <a:xfrm>
            <a:off x="604837" y="3585888"/>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2.System change</a:t>
            </a:r>
          </a:p>
        </p:txBody>
      </p:sp>
      <p:sp>
        <p:nvSpPr>
          <p:cNvPr id="35" name="Rounded Rectangle 146">
            <a:extLst>
              <a:ext uri="{FF2B5EF4-FFF2-40B4-BE49-F238E27FC236}">
                <a16:creationId xmlns:a16="http://schemas.microsoft.com/office/drawing/2014/main" id="{7FCCFB35-7C71-45C6-9807-C40E8FDC2DD8}"/>
              </a:ext>
            </a:extLst>
          </p:cNvPr>
          <p:cNvSpPr/>
          <p:nvPr/>
        </p:nvSpPr>
        <p:spPr bwMode="auto">
          <a:xfrm>
            <a:off x="1683801"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a:t>
            </a:r>
            <a:endParaRPr lang="en-US" sz="700" b="1" kern="0" dirty="0"/>
          </a:p>
        </p:txBody>
      </p:sp>
      <p:sp>
        <p:nvSpPr>
          <p:cNvPr id="58" name="Rounded Rectangle 153">
            <a:extLst>
              <a:ext uri="{FF2B5EF4-FFF2-40B4-BE49-F238E27FC236}">
                <a16:creationId xmlns:a16="http://schemas.microsoft.com/office/drawing/2014/main" id="{BE89B07E-F29B-4ED6-B14A-31162E4A456F}"/>
              </a:ext>
            </a:extLst>
          </p:cNvPr>
          <p:cNvSpPr/>
          <p:nvPr/>
        </p:nvSpPr>
        <p:spPr bwMode="auto">
          <a:xfrm>
            <a:off x="3671118"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inor changes/enhancements to functionality in an existing system, that is low risk and noncritical</a:t>
            </a:r>
            <a:endParaRPr lang="en-US" sz="700" b="1" kern="0" dirty="0"/>
          </a:p>
        </p:txBody>
      </p:sp>
      <p:sp>
        <p:nvSpPr>
          <p:cNvPr id="66" name="Rounded Rectangle 160">
            <a:extLst>
              <a:ext uri="{FF2B5EF4-FFF2-40B4-BE49-F238E27FC236}">
                <a16:creationId xmlns:a16="http://schemas.microsoft.com/office/drawing/2014/main" id="{0666FE89-7F09-4FF0-9E7B-2304B95C9437}"/>
              </a:ext>
            </a:extLst>
          </p:cNvPr>
          <p:cNvSpPr/>
          <p:nvPr/>
        </p:nvSpPr>
        <p:spPr bwMode="auto">
          <a:xfrm>
            <a:off x="5658435"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ajor changes/enhancements to functionality in an existing system that is business critical but not customer facing</a:t>
            </a:r>
            <a:endParaRPr lang="en-US" sz="700" b="1" kern="0" dirty="0"/>
          </a:p>
        </p:txBody>
      </p:sp>
      <p:sp>
        <p:nvSpPr>
          <p:cNvPr id="72" name="Rounded Rectangle 167">
            <a:extLst>
              <a:ext uri="{FF2B5EF4-FFF2-40B4-BE49-F238E27FC236}">
                <a16:creationId xmlns:a16="http://schemas.microsoft.com/office/drawing/2014/main" id="{0E23BA25-C61B-42EB-88AA-32D52E39ED99}"/>
              </a:ext>
            </a:extLst>
          </p:cNvPr>
          <p:cNvSpPr/>
          <p:nvPr/>
        </p:nvSpPr>
        <p:spPr bwMode="auto">
          <a:xfrm>
            <a:off x="7645752"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New technology is being introduced, but the key concepts and functionality are not too dissimilar to the old system. System is customer facing and has the potential to create external exposure if the change is managed poorly</a:t>
            </a:r>
            <a:endParaRPr lang="en-US" sz="700" b="1" kern="0" dirty="0"/>
          </a:p>
        </p:txBody>
      </p:sp>
      <p:sp>
        <p:nvSpPr>
          <p:cNvPr id="78" name="Rounded Rectangle 174">
            <a:extLst>
              <a:ext uri="{FF2B5EF4-FFF2-40B4-BE49-F238E27FC236}">
                <a16:creationId xmlns:a16="http://schemas.microsoft.com/office/drawing/2014/main" id="{48F08572-9833-4C73-96C6-61743D7630CB}"/>
              </a:ext>
            </a:extLst>
          </p:cNvPr>
          <p:cNvSpPr/>
          <p:nvPr/>
        </p:nvSpPr>
        <p:spPr bwMode="auto">
          <a:xfrm>
            <a:off x="9633068" y="3585888"/>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New technology is being introduced which requires bringing a new way of thinking to an existing task. System is customer facing and has the potential to create external exposure if the change is managed poorly</a:t>
            </a:r>
            <a:endParaRPr lang="en-US" sz="700" dirty="0"/>
          </a:p>
        </p:txBody>
      </p:sp>
      <p:sp>
        <p:nvSpPr>
          <p:cNvPr id="24" name="Rounded Rectangle 18">
            <a:extLst>
              <a:ext uri="{FF2B5EF4-FFF2-40B4-BE49-F238E27FC236}">
                <a16:creationId xmlns:a16="http://schemas.microsoft.com/office/drawing/2014/main" id="{689E8BB2-F19F-40BA-A678-CDB42957D474}"/>
              </a:ext>
            </a:extLst>
          </p:cNvPr>
          <p:cNvSpPr/>
          <p:nvPr/>
        </p:nvSpPr>
        <p:spPr bwMode="auto">
          <a:xfrm>
            <a:off x="604837" y="4321665"/>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3.Process change</a:t>
            </a:r>
          </a:p>
        </p:txBody>
      </p:sp>
      <p:sp>
        <p:nvSpPr>
          <p:cNvPr id="52" name="Rounded Rectangle 147">
            <a:extLst>
              <a:ext uri="{FF2B5EF4-FFF2-40B4-BE49-F238E27FC236}">
                <a16:creationId xmlns:a16="http://schemas.microsoft.com/office/drawing/2014/main" id="{1C6D287B-9F0B-4C6D-B043-36AC60B974DF}"/>
              </a:ext>
            </a:extLst>
          </p:cNvPr>
          <p:cNvSpPr/>
          <p:nvPr/>
        </p:nvSpPr>
        <p:spPr bwMode="auto">
          <a:xfrm>
            <a:off x="1683801"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to current processes</a:t>
            </a:r>
            <a:endParaRPr lang="en-US" sz="700" b="1" kern="0" dirty="0"/>
          </a:p>
        </p:txBody>
      </p:sp>
      <p:sp>
        <p:nvSpPr>
          <p:cNvPr id="59" name="Rounded Rectangle 154">
            <a:extLst>
              <a:ext uri="{FF2B5EF4-FFF2-40B4-BE49-F238E27FC236}">
                <a16:creationId xmlns:a16="http://schemas.microsoft.com/office/drawing/2014/main" id="{9D1009B1-55A5-4B94-8EEE-8D6FEF637DEE}"/>
              </a:ext>
            </a:extLst>
          </p:cNvPr>
          <p:cNvSpPr/>
          <p:nvPr/>
        </p:nvSpPr>
        <p:spPr bwMode="auto">
          <a:xfrm>
            <a:off x="367111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ome change to current processes, however the change is only minor, and the processes are low risk, non-critical and have no impact to customers. </a:t>
            </a:r>
            <a:endParaRPr lang="en-US" sz="700" b="1" kern="0" dirty="0"/>
          </a:p>
        </p:txBody>
      </p:sp>
      <p:sp>
        <p:nvSpPr>
          <p:cNvPr id="67" name="Rounded Rectangle 161">
            <a:extLst>
              <a:ext uri="{FF2B5EF4-FFF2-40B4-BE49-F238E27FC236}">
                <a16:creationId xmlns:a16="http://schemas.microsoft.com/office/drawing/2014/main" id="{5D32F7D7-2596-4BBB-B1AA-08FD37D51EA4}"/>
              </a:ext>
            </a:extLst>
          </p:cNvPr>
          <p:cNvSpPr/>
          <p:nvPr/>
        </p:nvSpPr>
        <p:spPr bwMode="auto">
          <a:xfrm>
            <a:off x="5658435"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several current processes, however the change is not complex, and processes are low risk, non-critical and have a low impact to customers or colleagues</a:t>
            </a:r>
            <a:endParaRPr lang="en-US" sz="700" b="1" kern="0" dirty="0"/>
          </a:p>
        </p:txBody>
      </p:sp>
      <p:sp>
        <p:nvSpPr>
          <p:cNvPr id="73" name="Rounded Rectangle 168">
            <a:extLst>
              <a:ext uri="{FF2B5EF4-FFF2-40B4-BE49-F238E27FC236}">
                <a16:creationId xmlns:a16="http://schemas.microsoft.com/office/drawing/2014/main" id="{207E55EF-95C6-4DCC-A61F-ACDE6AFAB64D}"/>
              </a:ext>
            </a:extLst>
          </p:cNvPr>
          <p:cNvSpPr/>
          <p:nvPr/>
        </p:nvSpPr>
        <p:spPr bwMode="auto">
          <a:xfrm>
            <a:off x="7645752"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business-critical processes, with some of the change being quite complex. Change will be negatively visible to colleagues, and customers if things go wrong.</a:t>
            </a:r>
            <a:endParaRPr lang="en-US" sz="700" b="1" kern="0" dirty="0"/>
          </a:p>
        </p:txBody>
      </p:sp>
      <p:sp>
        <p:nvSpPr>
          <p:cNvPr id="79" name="Rounded Rectangle 175">
            <a:extLst>
              <a:ext uri="{FF2B5EF4-FFF2-40B4-BE49-F238E27FC236}">
                <a16:creationId xmlns:a16="http://schemas.microsoft.com/office/drawing/2014/main" id="{9099FA17-1479-4764-9029-1D7B57D1FBF6}"/>
              </a:ext>
            </a:extLst>
          </p:cNvPr>
          <p:cNvSpPr/>
          <p:nvPr/>
        </p:nvSpPr>
        <p:spPr bwMode="auto">
          <a:xfrm>
            <a:off x="963306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Radical change to several core business processes. Colleagues and external parties will need to take on new skills to execute processes. Previously automated processes will become manual or vice versa </a:t>
            </a:r>
            <a:endParaRPr lang="en-US" sz="700" b="1" kern="0" dirty="0"/>
          </a:p>
        </p:txBody>
      </p:sp>
      <p:sp>
        <p:nvSpPr>
          <p:cNvPr id="25" name="Rounded Rectangle 20">
            <a:extLst>
              <a:ext uri="{FF2B5EF4-FFF2-40B4-BE49-F238E27FC236}">
                <a16:creationId xmlns:a16="http://schemas.microsoft.com/office/drawing/2014/main" id="{4E86385C-2F55-4A35-B87E-6FAD901A0EC5}"/>
              </a:ext>
            </a:extLst>
          </p:cNvPr>
          <p:cNvSpPr/>
          <p:nvPr/>
        </p:nvSpPr>
        <p:spPr bwMode="auto">
          <a:xfrm>
            <a:off x="604837" y="5057442"/>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4.Organization structure change</a:t>
            </a:r>
          </a:p>
        </p:txBody>
      </p:sp>
      <p:sp>
        <p:nvSpPr>
          <p:cNvPr id="53" name="Rounded Rectangle 148">
            <a:extLst>
              <a:ext uri="{FF2B5EF4-FFF2-40B4-BE49-F238E27FC236}">
                <a16:creationId xmlns:a16="http://schemas.microsoft.com/office/drawing/2014/main" id="{1562818A-B7E3-40C7-A467-EE8E6FE39B44}"/>
              </a:ext>
            </a:extLst>
          </p:cNvPr>
          <p:cNvSpPr/>
          <p:nvPr/>
        </p:nvSpPr>
        <p:spPr bwMode="auto">
          <a:xfrm>
            <a:off x="1683801"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lmost no change to structural environment</a:t>
            </a:r>
            <a:endParaRPr lang="en-US" sz="700" dirty="0"/>
          </a:p>
        </p:txBody>
      </p:sp>
      <p:sp>
        <p:nvSpPr>
          <p:cNvPr id="60" name="Rounded Rectangle 155">
            <a:extLst>
              <a:ext uri="{FF2B5EF4-FFF2-40B4-BE49-F238E27FC236}">
                <a16:creationId xmlns:a16="http://schemas.microsoft.com/office/drawing/2014/main" id="{1CDC8C8B-975B-479A-8FE4-AD07848B1497}"/>
              </a:ext>
            </a:extLst>
          </p:cNvPr>
          <p:cNvSpPr/>
          <p:nvPr/>
        </p:nvSpPr>
        <p:spPr bwMode="auto">
          <a:xfrm>
            <a:off x="367111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minor changes to team structure</a:t>
            </a:r>
            <a:endParaRPr lang="en-US" sz="700" dirty="0"/>
          </a:p>
        </p:txBody>
      </p:sp>
      <p:sp>
        <p:nvSpPr>
          <p:cNvPr id="68" name="Rounded Rectangle 162">
            <a:extLst>
              <a:ext uri="{FF2B5EF4-FFF2-40B4-BE49-F238E27FC236}">
                <a16:creationId xmlns:a16="http://schemas.microsoft.com/office/drawing/2014/main" id="{AE8FCE22-FA56-4848-BB1E-FA6D582ECCD2}"/>
              </a:ext>
            </a:extLst>
          </p:cNvPr>
          <p:cNvSpPr/>
          <p:nvPr/>
        </p:nvSpPr>
        <p:spPr bwMode="auto">
          <a:xfrm>
            <a:off x="5658435"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changes to team structure, which will bring a mixed reaction.</a:t>
            </a:r>
            <a:endParaRPr lang="en-US" sz="700" dirty="0"/>
          </a:p>
        </p:txBody>
      </p:sp>
      <p:sp>
        <p:nvSpPr>
          <p:cNvPr id="74" name="Rounded Rectangle 169">
            <a:extLst>
              <a:ext uri="{FF2B5EF4-FFF2-40B4-BE49-F238E27FC236}">
                <a16:creationId xmlns:a16="http://schemas.microsoft.com/office/drawing/2014/main" id="{62974639-FC92-41FA-8D1A-53F0CA8483A9}"/>
              </a:ext>
            </a:extLst>
          </p:cNvPr>
          <p:cNvSpPr/>
          <p:nvPr/>
        </p:nvSpPr>
        <p:spPr bwMode="auto">
          <a:xfrm>
            <a:off x="7645752"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ignificant changes to team structure, which is likely to be disruptive and may be considered a negative change by many</a:t>
            </a:r>
            <a:endParaRPr lang="en-US" sz="700" dirty="0"/>
          </a:p>
        </p:txBody>
      </p:sp>
      <p:sp>
        <p:nvSpPr>
          <p:cNvPr id="80" name="Rounded Rectangle 176">
            <a:extLst>
              <a:ext uri="{FF2B5EF4-FFF2-40B4-BE49-F238E27FC236}">
                <a16:creationId xmlns:a16="http://schemas.microsoft.com/office/drawing/2014/main" id="{A31C6DCF-FC74-46C9-B207-27B1AB70FD04}"/>
              </a:ext>
            </a:extLst>
          </p:cNvPr>
          <p:cNvSpPr/>
          <p:nvPr/>
        </p:nvSpPr>
        <p:spPr bwMode="auto">
          <a:xfrm>
            <a:off x="963306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significant change to structure. This change will be perceived negatively by most. There is a risk of staff attrition as a result</a:t>
            </a:r>
            <a:endParaRPr lang="en-US" sz="700" dirty="0"/>
          </a:p>
        </p:txBody>
      </p:sp>
      <p:sp>
        <p:nvSpPr>
          <p:cNvPr id="26" name="Rounded Rectangle 23">
            <a:extLst>
              <a:ext uri="{FF2B5EF4-FFF2-40B4-BE49-F238E27FC236}">
                <a16:creationId xmlns:a16="http://schemas.microsoft.com/office/drawing/2014/main" id="{7482813F-C024-499A-B643-E309DA7A927F}"/>
              </a:ext>
            </a:extLst>
          </p:cNvPr>
          <p:cNvSpPr/>
          <p:nvPr/>
        </p:nvSpPr>
        <p:spPr bwMode="auto">
          <a:xfrm>
            <a:off x="604837" y="2850111"/>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1.People increase / reduction change</a:t>
            </a:r>
          </a:p>
        </p:txBody>
      </p:sp>
      <p:sp>
        <p:nvSpPr>
          <p:cNvPr id="54" name="Rounded Rectangle 149">
            <a:extLst>
              <a:ext uri="{FF2B5EF4-FFF2-40B4-BE49-F238E27FC236}">
                <a16:creationId xmlns:a16="http://schemas.microsoft.com/office/drawing/2014/main" id="{F32DE083-8CE0-4CF2-A7E4-5BEB680E31E9}"/>
              </a:ext>
            </a:extLst>
          </p:cNvPr>
          <p:cNvSpPr/>
          <p:nvPr/>
        </p:nvSpPr>
        <p:spPr bwMode="auto">
          <a:xfrm>
            <a:off x="1683801"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low reductions in headcount predicted (~1 FTE), but natural attrition will account for the numbers</a:t>
            </a:r>
            <a:endParaRPr lang="en-US" sz="700" dirty="0"/>
          </a:p>
        </p:txBody>
      </p:sp>
      <p:sp>
        <p:nvSpPr>
          <p:cNvPr id="63" name="Rounded Rectangle 156">
            <a:extLst>
              <a:ext uri="{FF2B5EF4-FFF2-40B4-BE49-F238E27FC236}">
                <a16:creationId xmlns:a16="http://schemas.microsoft.com/office/drawing/2014/main" id="{3DF3E2B9-66E8-44FA-83C7-ECF99E25F3B9}"/>
              </a:ext>
            </a:extLst>
          </p:cNvPr>
          <p:cNvSpPr/>
          <p:nvPr/>
        </p:nvSpPr>
        <p:spPr bwMode="auto">
          <a:xfrm>
            <a:off x="367111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natural attrition will account for the numbers</a:t>
            </a:r>
            <a:endParaRPr lang="en-US" sz="700" dirty="0"/>
          </a:p>
        </p:txBody>
      </p:sp>
      <p:sp>
        <p:nvSpPr>
          <p:cNvPr id="69" name="Rounded Rectangle 163">
            <a:extLst>
              <a:ext uri="{FF2B5EF4-FFF2-40B4-BE49-F238E27FC236}">
                <a16:creationId xmlns:a16="http://schemas.microsoft.com/office/drawing/2014/main" id="{FDD096DA-6B98-4FAF-A681-7421FBF603C2}"/>
              </a:ext>
            </a:extLst>
          </p:cNvPr>
          <p:cNvSpPr/>
          <p:nvPr/>
        </p:nvSpPr>
        <p:spPr bwMode="auto">
          <a:xfrm>
            <a:off x="5658435"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contractors will account for the numbers</a:t>
            </a:r>
            <a:endParaRPr lang="en-US" sz="700" dirty="0"/>
          </a:p>
        </p:txBody>
      </p:sp>
      <p:sp>
        <p:nvSpPr>
          <p:cNvPr id="75" name="Rounded Rectangle 170">
            <a:extLst>
              <a:ext uri="{FF2B5EF4-FFF2-40B4-BE49-F238E27FC236}">
                <a16:creationId xmlns:a16="http://schemas.microsoft.com/office/drawing/2014/main" id="{9C762BD0-E7BF-438C-B611-20194A016822}"/>
              </a:ext>
            </a:extLst>
          </p:cNvPr>
          <p:cNvSpPr/>
          <p:nvPr/>
        </p:nvSpPr>
        <p:spPr bwMode="auto">
          <a:xfrm>
            <a:off x="7645752"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significant reduction in headcount predicted. Redeployment &amp; redundancies will need to be factored in</a:t>
            </a:r>
            <a:endParaRPr lang="en-US" sz="700" dirty="0"/>
          </a:p>
        </p:txBody>
      </p:sp>
      <p:sp>
        <p:nvSpPr>
          <p:cNvPr id="81" name="Rounded Rectangle 177">
            <a:extLst>
              <a:ext uri="{FF2B5EF4-FFF2-40B4-BE49-F238E27FC236}">
                <a16:creationId xmlns:a16="http://schemas.microsoft.com/office/drawing/2014/main" id="{E6A05AD0-D8AC-466B-8893-E8DEC49253C0}"/>
              </a:ext>
            </a:extLst>
          </p:cNvPr>
          <p:cNvSpPr/>
          <p:nvPr/>
        </p:nvSpPr>
        <p:spPr bwMode="auto">
          <a:xfrm>
            <a:off x="963306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large headcount reduction required as part of this change. Significant effort will need to be invested in redeployment / redundancy</a:t>
            </a:r>
            <a:endParaRPr lang="en-US" sz="700" dirty="0"/>
          </a:p>
        </p:txBody>
      </p:sp>
      <p:sp>
        <p:nvSpPr>
          <p:cNvPr id="27" name="Rounded Rectangle 24">
            <a:extLst>
              <a:ext uri="{FF2B5EF4-FFF2-40B4-BE49-F238E27FC236}">
                <a16:creationId xmlns:a16="http://schemas.microsoft.com/office/drawing/2014/main" id="{17084FD9-567D-4C28-834D-A31FC04CB407}"/>
              </a:ext>
            </a:extLst>
          </p:cNvPr>
          <p:cNvSpPr/>
          <p:nvPr/>
        </p:nvSpPr>
        <p:spPr bwMode="auto">
          <a:xfrm>
            <a:off x="604837" y="5793217"/>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5.Culture change</a:t>
            </a:r>
          </a:p>
        </p:txBody>
      </p:sp>
      <p:sp>
        <p:nvSpPr>
          <p:cNvPr id="55" name="Rounded Rectangle 150">
            <a:extLst>
              <a:ext uri="{FF2B5EF4-FFF2-40B4-BE49-F238E27FC236}">
                <a16:creationId xmlns:a16="http://schemas.microsoft.com/office/drawing/2014/main" id="{FBFD0FAA-FF17-4706-80C3-C104830AFF4A}"/>
              </a:ext>
            </a:extLst>
          </p:cNvPr>
          <p:cNvSpPr/>
          <p:nvPr/>
        </p:nvSpPr>
        <p:spPr bwMode="auto">
          <a:xfrm>
            <a:off x="1683801"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Almost no culture change required</a:t>
            </a:r>
            <a:endParaRPr lang="en-US" sz="700" dirty="0"/>
          </a:p>
        </p:txBody>
      </p:sp>
      <p:sp>
        <p:nvSpPr>
          <p:cNvPr id="64" name="Rounded Rectangle 157">
            <a:extLst>
              <a:ext uri="{FF2B5EF4-FFF2-40B4-BE49-F238E27FC236}">
                <a16:creationId xmlns:a16="http://schemas.microsoft.com/office/drawing/2014/main" id="{C865E692-249F-4043-B9CB-0F0A751F9F93}"/>
              </a:ext>
            </a:extLst>
          </p:cNvPr>
          <p:cNvSpPr/>
          <p:nvPr/>
        </p:nvSpPr>
        <p:spPr bwMode="auto">
          <a:xfrm>
            <a:off x="367111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aspects of the team culture that need to be changed to support this initiative</a:t>
            </a:r>
            <a:endParaRPr lang="en-US" sz="700" dirty="0"/>
          </a:p>
        </p:txBody>
      </p:sp>
      <p:sp>
        <p:nvSpPr>
          <p:cNvPr id="70" name="Rounded Rectangle 164">
            <a:extLst>
              <a:ext uri="{FF2B5EF4-FFF2-40B4-BE49-F238E27FC236}">
                <a16:creationId xmlns:a16="http://schemas.microsoft.com/office/drawing/2014/main" id="{15B66CBB-9374-4ABD-92B3-747D8CC6A12A}"/>
              </a:ext>
            </a:extLst>
          </p:cNvPr>
          <p:cNvSpPr/>
          <p:nvPr/>
        </p:nvSpPr>
        <p:spPr bwMode="auto">
          <a:xfrm>
            <a:off x="5658435"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significant cultural shift required in the impacted areas to support this change</a:t>
            </a:r>
            <a:endParaRPr lang="en-US" sz="700" dirty="0"/>
          </a:p>
        </p:txBody>
      </p:sp>
      <p:sp>
        <p:nvSpPr>
          <p:cNvPr id="76" name="Rounded Rectangle 171">
            <a:extLst>
              <a:ext uri="{FF2B5EF4-FFF2-40B4-BE49-F238E27FC236}">
                <a16:creationId xmlns:a16="http://schemas.microsoft.com/office/drawing/2014/main" id="{82F661A6-B145-499C-A132-A2EE13B9CC20}"/>
              </a:ext>
            </a:extLst>
          </p:cNvPr>
          <p:cNvSpPr/>
          <p:nvPr/>
        </p:nvSpPr>
        <p:spPr bwMode="auto">
          <a:xfrm>
            <a:off x="7645752"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major cultural change across many teams required to support this change</a:t>
            </a:r>
            <a:endParaRPr lang="en-US" sz="700" dirty="0"/>
          </a:p>
        </p:txBody>
      </p:sp>
      <p:sp>
        <p:nvSpPr>
          <p:cNvPr id="82" name="Rounded Rectangle 178">
            <a:extLst>
              <a:ext uri="{FF2B5EF4-FFF2-40B4-BE49-F238E27FC236}">
                <a16:creationId xmlns:a16="http://schemas.microsoft.com/office/drawing/2014/main" id="{8F2C301F-1E67-44B0-ACDB-07C385CCB129}"/>
              </a:ext>
            </a:extLst>
          </p:cNvPr>
          <p:cNvSpPr/>
          <p:nvPr/>
        </p:nvSpPr>
        <p:spPr bwMode="auto">
          <a:xfrm>
            <a:off x="963306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Culture Change required in all impacted groups to support this initiative</a:t>
            </a:r>
            <a:endParaRPr lang="en-US" sz="700" dirty="0"/>
          </a:p>
        </p:txBody>
      </p:sp>
      <p:sp>
        <p:nvSpPr>
          <p:cNvPr id="28" name="Rounded Rectangle 119">
            <a:extLst>
              <a:ext uri="{FF2B5EF4-FFF2-40B4-BE49-F238E27FC236}">
                <a16:creationId xmlns:a16="http://schemas.microsoft.com/office/drawing/2014/main" id="{54E57E2C-64DC-4AA9-884E-A31B11BA63AD}"/>
              </a:ext>
            </a:extLst>
          </p:cNvPr>
          <p:cNvSpPr/>
          <p:nvPr/>
        </p:nvSpPr>
        <p:spPr bwMode="auto">
          <a:xfrm>
            <a:off x="604837" y="1783769"/>
            <a:ext cx="982159" cy="397642"/>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solidFill>
                  <a:schemeClr val="bg1"/>
                </a:solidFill>
              </a:rPr>
              <a:t>Size of the change</a:t>
            </a:r>
          </a:p>
        </p:txBody>
      </p:sp>
      <p:sp>
        <p:nvSpPr>
          <p:cNvPr id="56" name="Rounded Rectangle 151">
            <a:extLst>
              <a:ext uri="{FF2B5EF4-FFF2-40B4-BE49-F238E27FC236}">
                <a16:creationId xmlns:a16="http://schemas.microsoft.com/office/drawing/2014/main" id="{2A00B6FC-89A9-4759-88B7-AD7A83A5C54B}"/>
              </a:ext>
            </a:extLst>
          </p:cNvPr>
          <p:cNvSpPr/>
          <p:nvPr/>
        </p:nvSpPr>
        <p:spPr bwMode="auto">
          <a:xfrm>
            <a:off x="1683801"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team impacted</a:t>
            </a:r>
            <a:endParaRPr lang="en-US" sz="900" b="1" kern="0" dirty="0"/>
          </a:p>
        </p:txBody>
      </p:sp>
      <p:sp>
        <p:nvSpPr>
          <p:cNvPr id="65" name="Rounded Rectangle 158">
            <a:extLst>
              <a:ext uri="{FF2B5EF4-FFF2-40B4-BE49-F238E27FC236}">
                <a16:creationId xmlns:a16="http://schemas.microsoft.com/office/drawing/2014/main" id="{57D36A7D-B5C6-437A-9BFC-0755AFEB1833}"/>
              </a:ext>
            </a:extLst>
          </p:cNvPr>
          <p:cNvSpPr/>
          <p:nvPr/>
        </p:nvSpPr>
        <p:spPr bwMode="auto">
          <a:xfrm>
            <a:off x="367111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Business Unit</a:t>
            </a:r>
            <a:endParaRPr lang="en-US" sz="900" b="1" kern="0" dirty="0"/>
          </a:p>
        </p:txBody>
      </p:sp>
      <p:sp>
        <p:nvSpPr>
          <p:cNvPr id="71" name="Rounded Rectangle 165">
            <a:extLst>
              <a:ext uri="{FF2B5EF4-FFF2-40B4-BE49-F238E27FC236}">
                <a16:creationId xmlns:a16="http://schemas.microsoft.com/office/drawing/2014/main" id="{A2124879-D484-4466-AF37-E375E07DBE2E}"/>
              </a:ext>
            </a:extLst>
          </p:cNvPr>
          <p:cNvSpPr/>
          <p:nvPr/>
        </p:nvSpPr>
        <p:spPr bwMode="auto">
          <a:xfrm>
            <a:off x="5658435"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Division</a:t>
            </a:r>
            <a:endParaRPr lang="en-US" sz="900" b="1" kern="0" dirty="0"/>
          </a:p>
        </p:txBody>
      </p:sp>
      <p:sp>
        <p:nvSpPr>
          <p:cNvPr id="77" name="Rounded Rectangle 172">
            <a:extLst>
              <a:ext uri="{FF2B5EF4-FFF2-40B4-BE49-F238E27FC236}">
                <a16:creationId xmlns:a16="http://schemas.microsoft.com/office/drawing/2014/main" id="{F9A46D4B-1C4B-4BEB-86C9-8D36F77D0282}"/>
              </a:ext>
            </a:extLst>
          </p:cNvPr>
          <p:cNvSpPr/>
          <p:nvPr/>
        </p:nvSpPr>
        <p:spPr bwMode="auto">
          <a:xfrm>
            <a:off x="7645752"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alf of the Company</a:t>
            </a:r>
            <a:endParaRPr lang="en-US" sz="900" b="1" kern="0" dirty="0"/>
          </a:p>
        </p:txBody>
      </p:sp>
      <p:sp>
        <p:nvSpPr>
          <p:cNvPr id="83" name="Rounded Rectangle 179">
            <a:extLst>
              <a:ext uri="{FF2B5EF4-FFF2-40B4-BE49-F238E27FC236}">
                <a16:creationId xmlns:a16="http://schemas.microsoft.com/office/drawing/2014/main" id="{84870C15-ABA8-4CAB-A9C6-1A39948FA034}"/>
              </a:ext>
            </a:extLst>
          </p:cNvPr>
          <p:cNvSpPr/>
          <p:nvPr/>
        </p:nvSpPr>
        <p:spPr bwMode="auto">
          <a:xfrm>
            <a:off x="963306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very employee</a:t>
            </a:r>
            <a:endParaRPr lang="en-US" sz="900" b="1" kern="0" dirty="0"/>
          </a:p>
        </p:txBody>
      </p:sp>
    </p:spTree>
    <p:extLst>
      <p:ext uri="{BB962C8B-B14F-4D97-AF65-F5344CB8AC3E}">
        <p14:creationId xmlns:p14="http://schemas.microsoft.com/office/powerpoint/2010/main" val="11375261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I of our change management 3-phase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2" name="Chevron 17">
            <a:extLst>
              <a:ext uri="{FF2B5EF4-FFF2-40B4-BE49-F238E27FC236}">
                <a16:creationId xmlns:a16="http://schemas.microsoft.com/office/drawing/2014/main" id="{EA372256-4CD5-2346-918C-5388C53B0312}"/>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CCBDA38E-60A0-5C90-7734-91ACC355B47C}"/>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68EA1FF-45E4-32E1-A20B-8F946F778A23}"/>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6" name="Rectangle 5">
            <a:extLst>
              <a:ext uri="{FF2B5EF4-FFF2-40B4-BE49-F238E27FC236}">
                <a16:creationId xmlns:a16="http://schemas.microsoft.com/office/drawing/2014/main" id="{6B5D0C30-1D05-4AC7-75F6-E983E47BA10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7" name="Rectangle 6">
            <a:extLst>
              <a:ext uri="{FF2B5EF4-FFF2-40B4-BE49-F238E27FC236}">
                <a16:creationId xmlns:a16="http://schemas.microsoft.com/office/drawing/2014/main" id="{D22588F6-1419-FED5-7801-1A0E13102D20}"/>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8" name="Straight Connector 7">
            <a:extLst>
              <a:ext uri="{FF2B5EF4-FFF2-40B4-BE49-F238E27FC236}">
                <a16:creationId xmlns:a16="http://schemas.microsoft.com/office/drawing/2014/main" id="{1E048066-FE4B-C65D-F490-A9AADF12C51E}"/>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 name="Chevron 17">
            <a:extLst>
              <a:ext uri="{FF2B5EF4-FFF2-40B4-BE49-F238E27FC236}">
                <a16:creationId xmlns:a16="http://schemas.microsoft.com/office/drawing/2014/main" id="{DA4E9622-B718-54CD-E9BC-A6DC03D2080F}"/>
              </a:ext>
            </a:extLst>
          </p:cNvPr>
          <p:cNvSpPr/>
          <p:nvPr/>
        </p:nvSpPr>
        <p:spPr bwMode="auto">
          <a:xfrm>
            <a:off x="4235024"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10" name="Straight Connector 9">
            <a:extLst>
              <a:ext uri="{FF2B5EF4-FFF2-40B4-BE49-F238E27FC236}">
                <a16:creationId xmlns:a16="http://schemas.microsoft.com/office/drawing/2014/main" id="{877E7BA9-9980-EE5E-B9C3-FEA390969B5B}"/>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8FF1E004-3F64-42DA-6C63-D65A84E88D4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12" name="Rectangle: Rounded Corners 11">
            <a:extLst>
              <a:ext uri="{FF2B5EF4-FFF2-40B4-BE49-F238E27FC236}">
                <a16:creationId xmlns:a16="http://schemas.microsoft.com/office/drawing/2014/main" id="{D0DA8314-72A5-B45F-22C2-F0A47A6EC233}"/>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14" name="Rectangle: Rounded Corners 13">
            <a:extLst>
              <a:ext uri="{FF2B5EF4-FFF2-40B4-BE49-F238E27FC236}">
                <a16:creationId xmlns:a16="http://schemas.microsoft.com/office/drawing/2014/main" id="{388256E9-96B5-C63B-9E23-512131381DD4}"/>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15" name="Rectangle: Rounded Corners 14">
            <a:extLst>
              <a:ext uri="{FF2B5EF4-FFF2-40B4-BE49-F238E27FC236}">
                <a16:creationId xmlns:a16="http://schemas.microsoft.com/office/drawing/2014/main" id="{4706150A-1402-6EF9-E6F2-33938197B2F6}"/>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17" name="Rectangle: Rounded Corners 16">
            <a:extLst>
              <a:ext uri="{FF2B5EF4-FFF2-40B4-BE49-F238E27FC236}">
                <a16:creationId xmlns:a16="http://schemas.microsoft.com/office/drawing/2014/main" id="{D42823B9-4006-D710-68B0-7BC047D52755}"/>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Prosci 3-phase process</a:t>
            </a:r>
            <a:endParaRPr lang="en-US" sz="1000" b="1" dirty="0">
              <a:solidFill>
                <a:schemeClr val="tx1"/>
              </a:solidFill>
              <a:latin typeface="+mj-lt"/>
              <a:cs typeface="Helvetica"/>
            </a:endParaRPr>
          </a:p>
        </p:txBody>
      </p:sp>
      <p:sp>
        <p:nvSpPr>
          <p:cNvPr id="18" name="Rectangle: Rounded Corners 17">
            <a:extLst>
              <a:ext uri="{FF2B5EF4-FFF2-40B4-BE49-F238E27FC236}">
                <a16:creationId xmlns:a16="http://schemas.microsoft.com/office/drawing/2014/main" id="{50C9D806-C2F4-199D-8694-A7E603CE9F60}"/>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dkar Change Management Model</a:t>
            </a:r>
            <a:endParaRPr lang="en-US" sz="1000" b="1" dirty="0">
              <a:solidFill>
                <a:schemeClr val="tx1"/>
              </a:solidFill>
              <a:latin typeface="+mj-lt"/>
              <a:cs typeface="Helvetica"/>
            </a:endParaRPr>
          </a:p>
        </p:txBody>
      </p:sp>
      <p:sp>
        <p:nvSpPr>
          <p:cNvPr id="19" name="Rectangle: Rounded Corners 18">
            <a:extLst>
              <a:ext uri="{FF2B5EF4-FFF2-40B4-BE49-F238E27FC236}">
                <a16:creationId xmlns:a16="http://schemas.microsoft.com/office/drawing/2014/main" id="{B6FC0B36-45A8-D04A-8FE8-4E10F542BD8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0" name="Rectangle: Rounded Corners 19">
            <a:extLst>
              <a:ext uri="{FF2B5EF4-FFF2-40B4-BE49-F238E27FC236}">
                <a16:creationId xmlns:a16="http://schemas.microsoft.com/office/drawing/2014/main" id="{64F8BED4-7F2D-54F2-6817-BDE365C940CF}"/>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21" name="Rectangle: Rounded Corners 20">
            <a:extLst>
              <a:ext uri="{FF2B5EF4-FFF2-40B4-BE49-F238E27FC236}">
                <a16:creationId xmlns:a16="http://schemas.microsoft.com/office/drawing/2014/main" id="{84AB36C2-5AF2-F66F-2B42-80E630721555}"/>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22" name="Rectangle: Rounded Corners 21">
            <a:extLst>
              <a:ext uri="{FF2B5EF4-FFF2-40B4-BE49-F238E27FC236}">
                <a16:creationId xmlns:a16="http://schemas.microsoft.com/office/drawing/2014/main" id="{35D5B6F9-83EE-973B-3903-77F27F0DEC2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23" name="Rectangle: Rounded Corners 22">
            <a:extLst>
              <a:ext uri="{FF2B5EF4-FFF2-40B4-BE49-F238E27FC236}">
                <a16:creationId xmlns:a16="http://schemas.microsoft.com/office/drawing/2014/main" id="{057109E9-69FA-BE2C-898C-6802C18DE49F}"/>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24" name="Rectangle: Rounded Corners 23">
            <a:extLst>
              <a:ext uri="{FF2B5EF4-FFF2-40B4-BE49-F238E27FC236}">
                <a16:creationId xmlns:a16="http://schemas.microsoft.com/office/drawing/2014/main" id="{81AB403B-B532-F2F4-F9DD-D751FCC5D62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25" name="Rectangle: Rounded Corners 24">
            <a:extLst>
              <a:ext uri="{FF2B5EF4-FFF2-40B4-BE49-F238E27FC236}">
                <a16:creationId xmlns:a16="http://schemas.microsoft.com/office/drawing/2014/main" id="{CBCE1A8B-0CAE-DFCC-945C-1EEB482B7A3B}"/>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26" name="Graphic 25" descr="Blueprint outline">
            <a:extLst>
              <a:ext uri="{FF2B5EF4-FFF2-40B4-BE49-F238E27FC236}">
                <a16:creationId xmlns:a16="http://schemas.microsoft.com/office/drawing/2014/main" id="{D3F45C01-36A9-E107-A7E8-88D2887218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27" name="Graphic 26" descr="Target outline">
            <a:extLst>
              <a:ext uri="{FF2B5EF4-FFF2-40B4-BE49-F238E27FC236}">
                <a16:creationId xmlns:a16="http://schemas.microsoft.com/office/drawing/2014/main" id="{74E93B48-2377-9D9A-369E-AB75C98E4A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28" name="Graphic 27" descr="Clipboard Partially Checked outline">
            <a:extLst>
              <a:ext uri="{FF2B5EF4-FFF2-40B4-BE49-F238E27FC236}">
                <a16:creationId xmlns:a16="http://schemas.microsoft.com/office/drawing/2014/main" id="{40345514-E895-CC65-CC98-78295CCAEF3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4917382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verarching Change Management Plan</a:t>
            </a:r>
            <a:br>
              <a:rPr lang="en-US" sz="2400" kern="0" dirty="0"/>
            </a:br>
            <a:r>
              <a:rPr lang="en-US" b="0" kern="0" dirty="0"/>
              <a:t>Open the Excel document “Overarching Change Management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pic>
        <p:nvPicPr>
          <p:cNvPr id="5" name="Picture 4" descr="Graphical user interface, application, table, Excel&#10;&#10;Description automatically generated">
            <a:extLst>
              <a:ext uri="{FF2B5EF4-FFF2-40B4-BE49-F238E27FC236}">
                <a16:creationId xmlns:a16="http://schemas.microsoft.com/office/drawing/2014/main" id="{9639206E-1E34-4EA9-9A19-C076A706E053}"/>
              </a:ext>
            </a:extLst>
          </p:cNvPr>
          <p:cNvPicPr>
            <a:picLocks noChangeAspect="1"/>
          </p:cNvPicPr>
          <p:nvPr/>
        </p:nvPicPr>
        <p:blipFill>
          <a:blip r:embed="rId5"/>
          <a:stretch>
            <a:fillRect/>
          </a:stretch>
        </p:blipFill>
        <p:spPr>
          <a:xfrm>
            <a:off x="2957274" y="1663562"/>
            <a:ext cx="5743381" cy="476132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628935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kern="0" dirty="0"/>
              <a:t>Communication channel matrix</a:t>
            </a:r>
            <a:br>
              <a:rPr lang="en-US" sz="2400" kern="0" dirty="0"/>
            </a:br>
            <a:r>
              <a:rPr lang="en-GB" sz="2200" b="0" kern="0" dirty="0"/>
              <a:t>The Channel Matrix below will give us a comprehensive list of the key communication channels to consider, from face-to-face meetings to newsletter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ounded Rectangle 4">
            <a:extLst>
              <a:ext uri="{FF2B5EF4-FFF2-40B4-BE49-F238E27FC236}">
                <a16:creationId xmlns:a16="http://schemas.microsoft.com/office/drawing/2014/main" id="{EE26DFE2-5FB0-4601-A7E3-319697CCA45F}"/>
              </a:ext>
            </a:extLst>
          </p:cNvPr>
          <p:cNvSpPr/>
          <p:nvPr/>
        </p:nvSpPr>
        <p:spPr bwMode="auto">
          <a:xfrm>
            <a:off x="4478165" y="1642707"/>
            <a:ext cx="7108997" cy="1712398"/>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Department or enterprise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Group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Focus group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One-on-one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Road show presentations (by project team)</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own Hall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eam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Brown bag lunche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raining courses and workshops</a:t>
            </a:r>
          </a:p>
        </p:txBody>
      </p:sp>
      <p:sp>
        <p:nvSpPr>
          <p:cNvPr id="11" name="Rounded Rectangle 5">
            <a:extLst>
              <a:ext uri="{FF2B5EF4-FFF2-40B4-BE49-F238E27FC236}">
                <a16:creationId xmlns:a16="http://schemas.microsoft.com/office/drawing/2014/main" id="{9A763CF7-0B21-4101-8F2D-5304201EFD7E}"/>
              </a:ext>
            </a:extLst>
          </p:cNvPr>
          <p:cNvSpPr/>
          <p:nvPr/>
        </p:nvSpPr>
        <p:spPr bwMode="auto">
          <a:xfrm>
            <a:off x="2002958" y="1642706"/>
            <a:ext cx="1358476" cy="1712401"/>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Face-to-face options </a:t>
            </a:r>
          </a:p>
        </p:txBody>
      </p:sp>
      <p:sp>
        <p:nvSpPr>
          <p:cNvPr id="12" name="Rounded Rectangle 6">
            <a:extLst>
              <a:ext uri="{FF2B5EF4-FFF2-40B4-BE49-F238E27FC236}">
                <a16:creationId xmlns:a16="http://schemas.microsoft.com/office/drawing/2014/main" id="{1CA6EF8C-323C-4CC7-BFA5-DA5EDC4AA4FB}"/>
              </a:ext>
            </a:extLst>
          </p:cNvPr>
          <p:cNvSpPr/>
          <p:nvPr/>
        </p:nvSpPr>
        <p:spPr bwMode="auto">
          <a:xfrm>
            <a:off x="4478165" y="3450726"/>
            <a:ext cx="7108997" cy="2020506"/>
          </a:xfrm>
          <a:prstGeom prst="rect">
            <a:avLst/>
          </a:prstGeom>
          <a:solidFill>
            <a:schemeClr val="bg1"/>
          </a:solidFill>
          <a:ln>
            <a:noFill/>
          </a:ln>
          <a:effectLst/>
        </p:spPr>
        <p:txBody>
          <a:bodyPr wrap="square" lIns="91428" tIns="45715" rIns="91428" bIns="45715" numCol="2"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Email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Bulletin board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afeteria pos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hange bookle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orporate newsletters (feature section)</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Demonstration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Frequently asked questions (memos or newsletter feature)</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Internal memo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Intranet pop-up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Leafle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Poster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Project newsletter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Video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Voicemail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ebcas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ebsite (Intranet)</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ord of mouth</a:t>
            </a:r>
          </a:p>
        </p:txBody>
      </p:sp>
      <p:sp>
        <p:nvSpPr>
          <p:cNvPr id="14" name="Rounded Rectangle 7">
            <a:extLst>
              <a:ext uri="{FF2B5EF4-FFF2-40B4-BE49-F238E27FC236}">
                <a16:creationId xmlns:a16="http://schemas.microsoft.com/office/drawing/2014/main" id="{B589247D-75A4-41D4-822E-B528E391FDDA}"/>
              </a:ext>
            </a:extLst>
          </p:cNvPr>
          <p:cNvSpPr/>
          <p:nvPr/>
        </p:nvSpPr>
        <p:spPr bwMode="auto">
          <a:xfrm>
            <a:off x="2002958" y="3450725"/>
            <a:ext cx="1358476" cy="2020509"/>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Alternate communication channels</a:t>
            </a:r>
          </a:p>
        </p:txBody>
      </p:sp>
      <p:sp>
        <p:nvSpPr>
          <p:cNvPr id="15" name="Rounded Rectangle 8">
            <a:extLst>
              <a:ext uri="{FF2B5EF4-FFF2-40B4-BE49-F238E27FC236}">
                <a16:creationId xmlns:a16="http://schemas.microsoft.com/office/drawing/2014/main" id="{FF8961C6-2B9B-48A0-804D-3D6ECDCDC866}"/>
              </a:ext>
            </a:extLst>
          </p:cNvPr>
          <p:cNvSpPr/>
          <p:nvPr/>
        </p:nvSpPr>
        <p:spPr bwMode="auto">
          <a:xfrm>
            <a:off x="4478165" y="5578472"/>
            <a:ext cx="7108997" cy="914400"/>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Marketplace change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ustomer input</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Ready-access to information</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Employee rumors</a:t>
            </a:r>
          </a:p>
        </p:txBody>
      </p:sp>
      <p:sp>
        <p:nvSpPr>
          <p:cNvPr id="17" name="Rounded Rectangle 9">
            <a:extLst>
              <a:ext uri="{FF2B5EF4-FFF2-40B4-BE49-F238E27FC236}">
                <a16:creationId xmlns:a16="http://schemas.microsoft.com/office/drawing/2014/main" id="{AB80120D-17DA-4DEF-A9A9-ABC3375C2F1F}"/>
              </a:ext>
            </a:extLst>
          </p:cNvPr>
          <p:cNvSpPr/>
          <p:nvPr/>
        </p:nvSpPr>
        <p:spPr bwMode="auto">
          <a:xfrm>
            <a:off x="590549" y="5578472"/>
            <a:ext cx="2770885" cy="914402"/>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nels not under direct control of management </a:t>
            </a:r>
          </a:p>
        </p:txBody>
      </p:sp>
      <p:sp>
        <p:nvSpPr>
          <p:cNvPr id="18" name="Rounded Rectangle 11">
            <a:extLst>
              <a:ext uri="{FF2B5EF4-FFF2-40B4-BE49-F238E27FC236}">
                <a16:creationId xmlns:a16="http://schemas.microsoft.com/office/drawing/2014/main" id="{C62ECD01-BABC-4FB7-BC68-9E21970FE570}"/>
              </a:ext>
            </a:extLst>
          </p:cNvPr>
          <p:cNvSpPr/>
          <p:nvPr/>
        </p:nvSpPr>
        <p:spPr bwMode="auto">
          <a:xfrm>
            <a:off x="590549" y="1642706"/>
            <a:ext cx="1358476" cy="3828526"/>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nels under direct control of management </a:t>
            </a:r>
          </a:p>
        </p:txBody>
      </p:sp>
      <p:sp>
        <p:nvSpPr>
          <p:cNvPr id="19" name="Striped Right Arrow 12">
            <a:extLst>
              <a:ext uri="{FF2B5EF4-FFF2-40B4-BE49-F238E27FC236}">
                <a16:creationId xmlns:a16="http://schemas.microsoft.com/office/drawing/2014/main" id="{5ECF368D-DD58-4A4F-B85B-B85BCEBC05F6}"/>
              </a:ext>
            </a:extLst>
          </p:cNvPr>
          <p:cNvSpPr/>
          <p:nvPr/>
        </p:nvSpPr>
        <p:spPr bwMode="auto">
          <a:xfrm>
            <a:off x="3438875" y="2199338"/>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20" name="Striped Right Arrow 14">
            <a:extLst>
              <a:ext uri="{FF2B5EF4-FFF2-40B4-BE49-F238E27FC236}">
                <a16:creationId xmlns:a16="http://schemas.microsoft.com/office/drawing/2014/main" id="{BB98F414-6A57-4581-B881-34CD8397188E}"/>
              </a:ext>
            </a:extLst>
          </p:cNvPr>
          <p:cNvSpPr/>
          <p:nvPr/>
        </p:nvSpPr>
        <p:spPr bwMode="auto">
          <a:xfrm>
            <a:off x="3438875" y="3954555"/>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23" name="Striped Right Arrow 15">
            <a:extLst>
              <a:ext uri="{FF2B5EF4-FFF2-40B4-BE49-F238E27FC236}">
                <a16:creationId xmlns:a16="http://schemas.microsoft.com/office/drawing/2014/main" id="{B3421CFE-9CAC-4425-B41E-A7D85D16ABF3}"/>
              </a:ext>
            </a:extLst>
          </p:cNvPr>
          <p:cNvSpPr/>
          <p:nvPr/>
        </p:nvSpPr>
        <p:spPr bwMode="auto">
          <a:xfrm>
            <a:off x="3438875" y="5671426"/>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Tree>
    <p:extLst>
      <p:ext uri="{BB962C8B-B14F-4D97-AF65-F5344CB8AC3E}">
        <p14:creationId xmlns:p14="http://schemas.microsoft.com/office/powerpoint/2010/main" val="20686659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II of our change management 3-phase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 name="Chevron 17">
            <a:extLst>
              <a:ext uri="{FF2B5EF4-FFF2-40B4-BE49-F238E27FC236}">
                <a16:creationId xmlns:a16="http://schemas.microsoft.com/office/drawing/2014/main" id="{EA372256-4CD5-2346-918C-5388C53B0312}"/>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CCBDA38E-60A0-5C90-7734-91ACC355B47C}"/>
              </a:ext>
            </a:extLst>
          </p:cNvPr>
          <p:cNvSpPr/>
          <p:nvPr/>
        </p:nvSpPr>
        <p:spPr bwMode="auto">
          <a:xfrm>
            <a:off x="7877047"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68EA1FF-45E4-32E1-A20B-8F946F778A23}"/>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6" name="Rectangle 5">
            <a:extLst>
              <a:ext uri="{FF2B5EF4-FFF2-40B4-BE49-F238E27FC236}">
                <a16:creationId xmlns:a16="http://schemas.microsoft.com/office/drawing/2014/main" id="{6B5D0C30-1D05-4AC7-75F6-E983E47BA10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7" name="Rectangle 6">
            <a:extLst>
              <a:ext uri="{FF2B5EF4-FFF2-40B4-BE49-F238E27FC236}">
                <a16:creationId xmlns:a16="http://schemas.microsoft.com/office/drawing/2014/main" id="{D22588F6-1419-FED5-7801-1A0E13102D20}"/>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8" name="Straight Connector 7">
            <a:extLst>
              <a:ext uri="{FF2B5EF4-FFF2-40B4-BE49-F238E27FC236}">
                <a16:creationId xmlns:a16="http://schemas.microsoft.com/office/drawing/2014/main" id="{1E048066-FE4B-C65D-F490-A9AADF12C51E}"/>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 name="Chevron 17">
            <a:extLst>
              <a:ext uri="{FF2B5EF4-FFF2-40B4-BE49-F238E27FC236}">
                <a16:creationId xmlns:a16="http://schemas.microsoft.com/office/drawing/2014/main" id="{DA4E9622-B718-54CD-E9BC-A6DC03D2080F}"/>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10" name="Straight Connector 9">
            <a:extLst>
              <a:ext uri="{FF2B5EF4-FFF2-40B4-BE49-F238E27FC236}">
                <a16:creationId xmlns:a16="http://schemas.microsoft.com/office/drawing/2014/main" id="{877E7BA9-9980-EE5E-B9C3-FEA390969B5B}"/>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8FF1E004-3F64-42DA-6C63-D65A84E88D46}"/>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12" name="Rectangle: Rounded Corners 11">
            <a:extLst>
              <a:ext uri="{FF2B5EF4-FFF2-40B4-BE49-F238E27FC236}">
                <a16:creationId xmlns:a16="http://schemas.microsoft.com/office/drawing/2014/main" id="{D0DA8314-72A5-B45F-22C2-F0A47A6EC233}"/>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14" name="Rectangle: Rounded Corners 13">
            <a:extLst>
              <a:ext uri="{FF2B5EF4-FFF2-40B4-BE49-F238E27FC236}">
                <a16:creationId xmlns:a16="http://schemas.microsoft.com/office/drawing/2014/main" id="{388256E9-96B5-C63B-9E23-512131381DD4}"/>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15" name="Rectangle: Rounded Corners 14">
            <a:extLst>
              <a:ext uri="{FF2B5EF4-FFF2-40B4-BE49-F238E27FC236}">
                <a16:creationId xmlns:a16="http://schemas.microsoft.com/office/drawing/2014/main" id="{4706150A-1402-6EF9-E6F2-33938197B2F6}"/>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17" name="Rectangle: Rounded Corners 16">
            <a:extLst>
              <a:ext uri="{FF2B5EF4-FFF2-40B4-BE49-F238E27FC236}">
                <a16:creationId xmlns:a16="http://schemas.microsoft.com/office/drawing/2014/main" id="{D42823B9-4006-D710-68B0-7BC047D52755}"/>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Prosci 3-phase process</a:t>
            </a:r>
            <a:endParaRPr lang="en-US" sz="1000" b="1" dirty="0">
              <a:solidFill>
                <a:schemeClr val="tx1"/>
              </a:solidFill>
              <a:latin typeface="+mj-lt"/>
              <a:cs typeface="Helvetica"/>
            </a:endParaRPr>
          </a:p>
        </p:txBody>
      </p:sp>
      <p:sp>
        <p:nvSpPr>
          <p:cNvPr id="18" name="Rectangle: Rounded Corners 17">
            <a:extLst>
              <a:ext uri="{FF2B5EF4-FFF2-40B4-BE49-F238E27FC236}">
                <a16:creationId xmlns:a16="http://schemas.microsoft.com/office/drawing/2014/main" id="{50C9D806-C2F4-199D-8694-A7E603CE9F60}"/>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dkar Change Management Model</a:t>
            </a:r>
            <a:endParaRPr lang="en-US" sz="1000" b="1" dirty="0">
              <a:solidFill>
                <a:schemeClr val="tx1"/>
              </a:solidFill>
              <a:latin typeface="+mj-lt"/>
              <a:cs typeface="Helvetica"/>
            </a:endParaRPr>
          </a:p>
        </p:txBody>
      </p:sp>
      <p:sp>
        <p:nvSpPr>
          <p:cNvPr id="19" name="Rectangle: Rounded Corners 18">
            <a:extLst>
              <a:ext uri="{FF2B5EF4-FFF2-40B4-BE49-F238E27FC236}">
                <a16:creationId xmlns:a16="http://schemas.microsoft.com/office/drawing/2014/main" id="{B6FC0B36-45A8-D04A-8FE8-4E10F542BD8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0" name="Rectangle: Rounded Corners 19">
            <a:extLst>
              <a:ext uri="{FF2B5EF4-FFF2-40B4-BE49-F238E27FC236}">
                <a16:creationId xmlns:a16="http://schemas.microsoft.com/office/drawing/2014/main" id="{64F8BED4-7F2D-54F2-6817-BDE365C940CF}"/>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21" name="Rectangle: Rounded Corners 20">
            <a:extLst>
              <a:ext uri="{FF2B5EF4-FFF2-40B4-BE49-F238E27FC236}">
                <a16:creationId xmlns:a16="http://schemas.microsoft.com/office/drawing/2014/main" id="{84AB36C2-5AF2-F66F-2B42-80E630721555}"/>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22" name="Rectangle: Rounded Corners 21">
            <a:extLst>
              <a:ext uri="{FF2B5EF4-FFF2-40B4-BE49-F238E27FC236}">
                <a16:creationId xmlns:a16="http://schemas.microsoft.com/office/drawing/2014/main" id="{35D5B6F9-83EE-973B-3903-77F27F0DEC2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23" name="Rectangle: Rounded Corners 22">
            <a:extLst>
              <a:ext uri="{FF2B5EF4-FFF2-40B4-BE49-F238E27FC236}">
                <a16:creationId xmlns:a16="http://schemas.microsoft.com/office/drawing/2014/main" id="{057109E9-69FA-BE2C-898C-6802C18DE49F}"/>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24" name="Rectangle: Rounded Corners 23">
            <a:extLst>
              <a:ext uri="{FF2B5EF4-FFF2-40B4-BE49-F238E27FC236}">
                <a16:creationId xmlns:a16="http://schemas.microsoft.com/office/drawing/2014/main" id="{81AB403B-B532-F2F4-F9DD-D751FCC5D62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25" name="Rectangle: Rounded Corners 24">
            <a:extLst>
              <a:ext uri="{FF2B5EF4-FFF2-40B4-BE49-F238E27FC236}">
                <a16:creationId xmlns:a16="http://schemas.microsoft.com/office/drawing/2014/main" id="{CBCE1A8B-0CAE-DFCC-945C-1EEB482B7A3B}"/>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26" name="Graphic 25" descr="Blueprint outline">
            <a:extLst>
              <a:ext uri="{FF2B5EF4-FFF2-40B4-BE49-F238E27FC236}">
                <a16:creationId xmlns:a16="http://schemas.microsoft.com/office/drawing/2014/main" id="{D3F45C01-36A9-E107-A7E8-88D2887218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27" name="Graphic 26" descr="Target outline">
            <a:extLst>
              <a:ext uri="{FF2B5EF4-FFF2-40B4-BE49-F238E27FC236}">
                <a16:creationId xmlns:a16="http://schemas.microsoft.com/office/drawing/2014/main" id="{74E93B48-2377-9D9A-369E-AB75C98E4A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28" name="Graphic 27" descr="Clipboard Partially Checked outline">
            <a:extLst>
              <a:ext uri="{FF2B5EF4-FFF2-40B4-BE49-F238E27FC236}">
                <a16:creationId xmlns:a16="http://schemas.microsoft.com/office/drawing/2014/main" id="{CBAEBF00-BA7F-B80F-699B-2C32FAB2656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14045941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verarching Change Management Plan - Status Report</a:t>
            </a:r>
            <a:br>
              <a:rPr lang="en-US" sz="2400" kern="0" dirty="0"/>
            </a:br>
            <a:r>
              <a:rPr lang="en-US" b="0" kern="0" dirty="0"/>
              <a:t>One-page summary</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1000" b="1" kern="1200" baseline="0" dirty="0">
                          <a:solidFill>
                            <a:schemeClr val="bg1"/>
                          </a:solidFill>
                          <a:latin typeface="+mn-lt"/>
                          <a:ea typeface="Calibri"/>
                          <a:cs typeface="Times New Roman"/>
                        </a:rPr>
                        <a:t>Understand the Company’s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mn-lt"/>
                          <a:ea typeface="Calibri"/>
                          <a:cs typeface="Times New Roman"/>
                        </a:rPr>
                        <a:t>Understand the Change required to implement the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Define your Change Management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Identify the Impact of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mmunication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Sponsorship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ach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Train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Resistance Management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Implement, Track &amp; Manage Progress</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Reinforce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18" name="Rectangle 106">
            <a:extLst>
              <a:ext uri="{FF2B5EF4-FFF2-40B4-BE49-F238E27FC236}">
                <a16:creationId xmlns:a16="http://schemas.microsoft.com/office/drawing/2014/main" id="{C402759E-935D-43CF-8061-46A75C78FA88}"/>
              </a:ext>
            </a:extLst>
          </p:cNvPr>
          <p:cNvSpPr>
            <a:spLocks noChangeArrowheads="1"/>
          </p:cNvSpPr>
          <p:nvPr/>
        </p:nvSpPr>
        <p:spPr bwMode="auto">
          <a:xfrm>
            <a:off x="10444068" y="1074305"/>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On track or completed</a:t>
            </a:r>
          </a:p>
        </p:txBody>
      </p:sp>
      <p:sp>
        <p:nvSpPr>
          <p:cNvPr id="19" name="Rectangle: Rounded Corners 18">
            <a:extLst>
              <a:ext uri="{FF2B5EF4-FFF2-40B4-BE49-F238E27FC236}">
                <a16:creationId xmlns:a16="http://schemas.microsoft.com/office/drawing/2014/main" id="{66E66ED0-B2B2-4109-9DFA-19E11B320F08}"/>
              </a:ext>
            </a:extLst>
          </p:cNvPr>
          <p:cNvSpPr/>
          <p:nvPr/>
        </p:nvSpPr>
        <p:spPr bwMode="auto">
          <a:xfrm>
            <a:off x="7448248" y="1183594"/>
            <a:ext cx="137160" cy="137160"/>
          </a:xfrm>
          <a:prstGeom prst="roundRect">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7" name="Rectangle 105">
            <a:extLst>
              <a:ext uri="{FF2B5EF4-FFF2-40B4-BE49-F238E27FC236}">
                <a16:creationId xmlns:a16="http://schemas.microsoft.com/office/drawing/2014/main" id="{79F0C36D-CFE5-45B6-A9A3-3B63FD86E67E}"/>
              </a:ext>
            </a:extLst>
          </p:cNvPr>
          <p:cNvSpPr>
            <a:spLocks noChangeArrowheads="1"/>
          </p:cNvSpPr>
          <p:nvPr/>
        </p:nvSpPr>
        <p:spPr bwMode="auto">
          <a:xfrm>
            <a:off x="9028653" y="1074305"/>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lightly behind</a:t>
            </a:r>
          </a:p>
        </p:txBody>
      </p:sp>
      <p:sp>
        <p:nvSpPr>
          <p:cNvPr id="20" name="Rectangle: Rounded Corners 19">
            <a:extLst>
              <a:ext uri="{FF2B5EF4-FFF2-40B4-BE49-F238E27FC236}">
                <a16:creationId xmlns:a16="http://schemas.microsoft.com/office/drawing/2014/main" id="{FBE8A3F4-4E54-4512-8F09-FA06395ED564}"/>
              </a:ext>
            </a:extLst>
          </p:cNvPr>
          <p:cNvSpPr/>
          <p:nvPr/>
        </p:nvSpPr>
        <p:spPr bwMode="auto">
          <a:xfrm>
            <a:off x="8852233" y="1183594"/>
            <a:ext cx="137160" cy="137160"/>
          </a:xfrm>
          <a:prstGeom prst="round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1" name="Rectangle: Rounded Corners 20">
            <a:extLst>
              <a:ext uri="{FF2B5EF4-FFF2-40B4-BE49-F238E27FC236}">
                <a16:creationId xmlns:a16="http://schemas.microsoft.com/office/drawing/2014/main" id="{8BF03566-83FF-4742-9720-44A4E4714142}"/>
              </a:ext>
            </a:extLst>
          </p:cNvPr>
          <p:cNvSpPr/>
          <p:nvPr/>
        </p:nvSpPr>
        <p:spPr bwMode="auto">
          <a:xfrm>
            <a:off x="10256218" y="1183594"/>
            <a:ext cx="137160" cy="137160"/>
          </a:xfrm>
          <a:prstGeom prst="roundRect">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2" name="Rectangle 105">
            <a:extLst>
              <a:ext uri="{FF2B5EF4-FFF2-40B4-BE49-F238E27FC236}">
                <a16:creationId xmlns:a16="http://schemas.microsoft.com/office/drawing/2014/main" id="{68989B61-3BEB-4D9E-BB99-D6D252A3C799}"/>
              </a:ext>
            </a:extLst>
          </p:cNvPr>
          <p:cNvSpPr>
            <a:spLocks noChangeArrowheads="1"/>
          </p:cNvSpPr>
          <p:nvPr/>
        </p:nvSpPr>
        <p:spPr bwMode="auto">
          <a:xfrm>
            <a:off x="7624668" y="1074305"/>
            <a:ext cx="1134000" cy="355739"/>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solidFill>
                  <a:schemeClr val="tx2"/>
                </a:solidFill>
                <a:latin typeface="Arial" panose="020B0604020202020204" pitchFamily="34" charset="0"/>
              </a:rPr>
              <a:t>Significantly behind</a:t>
            </a:r>
          </a:p>
        </p:txBody>
      </p:sp>
    </p:spTree>
    <p:extLst>
      <p:ext uri="{BB962C8B-B14F-4D97-AF65-F5344CB8AC3E}">
        <p14:creationId xmlns:p14="http://schemas.microsoft.com/office/powerpoint/2010/main" val="34430982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mmunication Plan - Status Report</a:t>
            </a:r>
            <a:br>
              <a:rPr lang="en-US" sz="2400" kern="0" dirty="0"/>
            </a:br>
            <a:r>
              <a:rPr lang="en-US" b="0" kern="0" dirty="0"/>
              <a:t>Open the Excel document “Communication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5" name="TextBox 4">
            <a:extLst>
              <a:ext uri="{FF2B5EF4-FFF2-40B4-BE49-F238E27FC236}">
                <a16:creationId xmlns:a16="http://schemas.microsoft.com/office/drawing/2014/main" id="{0550D2D2-AB65-42BC-8CA8-07D4B69E65F6}"/>
              </a:ext>
            </a:extLst>
          </p:cNvPr>
          <p:cNvSpPr txBox="1"/>
          <p:nvPr/>
        </p:nvSpPr>
        <p:spPr>
          <a:xfrm>
            <a:off x="563419" y="1616368"/>
            <a:ext cx="9790545" cy="584775"/>
          </a:xfrm>
          <a:prstGeom prst="rect">
            <a:avLst/>
          </a:prstGeom>
          <a:noFill/>
        </p:spPr>
        <p:txBody>
          <a:bodyPr wrap="square" rtlCol="0">
            <a:spAutoFit/>
          </a:bodyPr>
          <a:lstStyle/>
          <a:p>
            <a:r>
              <a:rPr lang="en-GB" sz="1600" b="0" kern="0" dirty="0"/>
              <a:t>This structured communication plan will help us present the right messages, at the right time, in the right format, and from the right sender.</a:t>
            </a:r>
            <a:endParaRPr lang="en-US" sz="1600" dirty="0"/>
          </a:p>
        </p:txBody>
      </p:sp>
      <p:pic>
        <p:nvPicPr>
          <p:cNvPr id="4" name="Picture 3" descr="A screenshot of a computer&#10;&#10;Description automatically generated with medium confidence">
            <a:extLst>
              <a:ext uri="{FF2B5EF4-FFF2-40B4-BE49-F238E27FC236}">
                <a16:creationId xmlns:a16="http://schemas.microsoft.com/office/drawing/2014/main" id="{10672D1D-794A-4DC2-9FD7-0445C100CABD}"/>
              </a:ext>
            </a:extLst>
          </p:cNvPr>
          <p:cNvPicPr>
            <a:picLocks noChangeAspect="1"/>
          </p:cNvPicPr>
          <p:nvPr/>
        </p:nvPicPr>
        <p:blipFill>
          <a:blip r:embed="rId5"/>
          <a:stretch>
            <a:fillRect/>
          </a:stretch>
        </p:blipFill>
        <p:spPr>
          <a:xfrm>
            <a:off x="563419" y="2662839"/>
            <a:ext cx="10659099" cy="153232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26594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some </a:t>
            </a:r>
            <a:r>
              <a:rPr lang="en-GB" sz="2700" dirty="0"/>
              <a:t>change management frameworks and tools commonly used in most Fortune 500 companie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2" name="Chevron 17">
            <a:extLst>
              <a:ext uri="{FF2B5EF4-FFF2-40B4-BE49-F238E27FC236}">
                <a16:creationId xmlns:a16="http://schemas.microsoft.com/office/drawing/2014/main" id="{EA372256-4CD5-2346-918C-5388C53B0312}"/>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CCBDA38E-60A0-5C90-7734-91ACC355B47C}"/>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A68EA1FF-45E4-32E1-A20B-8F946F778A23}"/>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6" name="Rectangle 5">
            <a:extLst>
              <a:ext uri="{FF2B5EF4-FFF2-40B4-BE49-F238E27FC236}">
                <a16:creationId xmlns:a16="http://schemas.microsoft.com/office/drawing/2014/main" id="{6B5D0C30-1D05-4AC7-75F6-E983E47BA10E}"/>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7" name="Rectangle 6">
            <a:extLst>
              <a:ext uri="{FF2B5EF4-FFF2-40B4-BE49-F238E27FC236}">
                <a16:creationId xmlns:a16="http://schemas.microsoft.com/office/drawing/2014/main" id="{D22588F6-1419-FED5-7801-1A0E13102D20}"/>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8" name="Straight Connector 7">
            <a:extLst>
              <a:ext uri="{FF2B5EF4-FFF2-40B4-BE49-F238E27FC236}">
                <a16:creationId xmlns:a16="http://schemas.microsoft.com/office/drawing/2014/main" id="{1E048066-FE4B-C65D-F490-A9AADF12C51E}"/>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 name="Chevron 17">
            <a:extLst>
              <a:ext uri="{FF2B5EF4-FFF2-40B4-BE49-F238E27FC236}">
                <a16:creationId xmlns:a16="http://schemas.microsoft.com/office/drawing/2014/main" id="{DA4E9622-B718-54CD-E9BC-A6DC03D2080F}"/>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10" name="Straight Connector 9">
            <a:extLst>
              <a:ext uri="{FF2B5EF4-FFF2-40B4-BE49-F238E27FC236}">
                <a16:creationId xmlns:a16="http://schemas.microsoft.com/office/drawing/2014/main" id="{877E7BA9-9980-EE5E-B9C3-FEA390969B5B}"/>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8FF1E004-3F64-42DA-6C63-D65A84E88D46}"/>
              </a:ext>
            </a:extLst>
          </p:cNvPr>
          <p:cNvSpPr/>
          <p:nvPr/>
        </p:nvSpPr>
        <p:spPr>
          <a:xfrm>
            <a:off x="596861" y="5195505"/>
            <a:ext cx="10993157" cy="1364476"/>
          </a:xfrm>
          <a:prstGeom prst="roundRect">
            <a:avLst>
              <a:gd name="adj" fmla="val 36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12" name="Rectangle: Rounded Corners 11">
            <a:extLst>
              <a:ext uri="{FF2B5EF4-FFF2-40B4-BE49-F238E27FC236}">
                <a16:creationId xmlns:a16="http://schemas.microsoft.com/office/drawing/2014/main" id="{D0DA8314-72A5-B45F-22C2-F0A47A6EC233}"/>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14" name="Rectangle: Rounded Corners 13">
            <a:extLst>
              <a:ext uri="{FF2B5EF4-FFF2-40B4-BE49-F238E27FC236}">
                <a16:creationId xmlns:a16="http://schemas.microsoft.com/office/drawing/2014/main" id="{388256E9-96B5-C63B-9E23-512131381DD4}"/>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15" name="Rectangle: Rounded Corners 14">
            <a:extLst>
              <a:ext uri="{FF2B5EF4-FFF2-40B4-BE49-F238E27FC236}">
                <a16:creationId xmlns:a16="http://schemas.microsoft.com/office/drawing/2014/main" id="{4706150A-1402-6EF9-E6F2-33938197B2F6}"/>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17" name="Rectangle: Rounded Corners 16">
            <a:extLst>
              <a:ext uri="{FF2B5EF4-FFF2-40B4-BE49-F238E27FC236}">
                <a16:creationId xmlns:a16="http://schemas.microsoft.com/office/drawing/2014/main" id="{D42823B9-4006-D710-68B0-7BC047D52755}"/>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Prosci 3-phase process</a:t>
            </a:r>
            <a:endParaRPr lang="en-US" sz="1000" b="1" dirty="0">
              <a:solidFill>
                <a:schemeClr val="tx1"/>
              </a:solidFill>
              <a:latin typeface="+mj-lt"/>
              <a:cs typeface="Helvetica"/>
            </a:endParaRPr>
          </a:p>
        </p:txBody>
      </p:sp>
      <p:sp>
        <p:nvSpPr>
          <p:cNvPr id="18" name="Rectangle: Rounded Corners 17">
            <a:extLst>
              <a:ext uri="{FF2B5EF4-FFF2-40B4-BE49-F238E27FC236}">
                <a16:creationId xmlns:a16="http://schemas.microsoft.com/office/drawing/2014/main" id="{50C9D806-C2F4-199D-8694-A7E603CE9F60}"/>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dkar Change Management Model</a:t>
            </a:r>
            <a:endParaRPr lang="en-US" sz="1000" b="1" dirty="0">
              <a:solidFill>
                <a:schemeClr val="tx1"/>
              </a:solidFill>
              <a:latin typeface="+mj-lt"/>
              <a:cs typeface="Helvetica"/>
            </a:endParaRPr>
          </a:p>
        </p:txBody>
      </p:sp>
      <p:sp>
        <p:nvSpPr>
          <p:cNvPr id="19" name="Rectangle: Rounded Corners 18">
            <a:extLst>
              <a:ext uri="{FF2B5EF4-FFF2-40B4-BE49-F238E27FC236}">
                <a16:creationId xmlns:a16="http://schemas.microsoft.com/office/drawing/2014/main" id="{B6FC0B36-45A8-D04A-8FE8-4E10F542BD8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0" name="Rectangle: Rounded Corners 19">
            <a:extLst>
              <a:ext uri="{FF2B5EF4-FFF2-40B4-BE49-F238E27FC236}">
                <a16:creationId xmlns:a16="http://schemas.microsoft.com/office/drawing/2014/main" id="{64F8BED4-7F2D-54F2-6817-BDE365C940CF}"/>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21" name="Rectangle: Rounded Corners 20">
            <a:extLst>
              <a:ext uri="{FF2B5EF4-FFF2-40B4-BE49-F238E27FC236}">
                <a16:creationId xmlns:a16="http://schemas.microsoft.com/office/drawing/2014/main" id="{84AB36C2-5AF2-F66F-2B42-80E630721555}"/>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22" name="Rectangle: Rounded Corners 21">
            <a:extLst>
              <a:ext uri="{FF2B5EF4-FFF2-40B4-BE49-F238E27FC236}">
                <a16:creationId xmlns:a16="http://schemas.microsoft.com/office/drawing/2014/main" id="{35D5B6F9-83EE-973B-3903-77F27F0DEC2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23" name="Rectangle: Rounded Corners 22">
            <a:extLst>
              <a:ext uri="{FF2B5EF4-FFF2-40B4-BE49-F238E27FC236}">
                <a16:creationId xmlns:a16="http://schemas.microsoft.com/office/drawing/2014/main" id="{057109E9-69FA-BE2C-898C-6802C18DE49F}"/>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24" name="Rectangle: Rounded Corners 23">
            <a:extLst>
              <a:ext uri="{FF2B5EF4-FFF2-40B4-BE49-F238E27FC236}">
                <a16:creationId xmlns:a16="http://schemas.microsoft.com/office/drawing/2014/main" id="{81AB403B-B532-F2F4-F9DD-D751FCC5D62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25" name="Rectangle: Rounded Corners 24">
            <a:extLst>
              <a:ext uri="{FF2B5EF4-FFF2-40B4-BE49-F238E27FC236}">
                <a16:creationId xmlns:a16="http://schemas.microsoft.com/office/drawing/2014/main" id="{CBCE1A8B-0CAE-DFCC-945C-1EEB482B7A3B}"/>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26" name="Graphic 25" descr="Blueprint outline">
            <a:extLst>
              <a:ext uri="{FF2B5EF4-FFF2-40B4-BE49-F238E27FC236}">
                <a16:creationId xmlns:a16="http://schemas.microsoft.com/office/drawing/2014/main" id="{D3F45C01-36A9-E107-A7E8-88D2887218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27" name="Graphic 26" descr="Target outline">
            <a:extLst>
              <a:ext uri="{FF2B5EF4-FFF2-40B4-BE49-F238E27FC236}">
                <a16:creationId xmlns:a16="http://schemas.microsoft.com/office/drawing/2014/main" id="{74E93B48-2377-9D9A-369E-AB75C98E4A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28" name="Graphic 27" descr="Clipboard Partially Checked outline">
            <a:extLst>
              <a:ext uri="{FF2B5EF4-FFF2-40B4-BE49-F238E27FC236}">
                <a16:creationId xmlns:a16="http://schemas.microsoft.com/office/drawing/2014/main" id="{536195F5-D725-3247-392F-9631A733D2E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1046321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troduction</a:t>
            </a:r>
            <a:endParaRPr lang="en-US" sz="2000" b="0" kern="0" dirty="0">
              <a:solidFill>
                <a:schemeClr val="tx2">
                  <a:lumMod val="60000"/>
                  <a:lumOff val="40000"/>
                </a:schemeClr>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4" name="TextBox 3">
            <a:extLst>
              <a:ext uri="{FF2B5EF4-FFF2-40B4-BE49-F238E27FC236}">
                <a16:creationId xmlns:a16="http://schemas.microsoft.com/office/drawing/2014/main" id="{75234E7C-CFB3-4A0A-8825-F2911FE94F71}"/>
              </a:ext>
            </a:extLst>
          </p:cNvPr>
          <p:cNvSpPr txBox="1"/>
          <p:nvPr/>
        </p:nvSpPr>
        <p:spPr>
          <a:xfrm>
            <a:off x="514350" y="1690255"/>
            <a:ext cx="11169650" cy="2554545"/>
          </a:xfrm>
          <a:prstGeom prst="rect">
            <a:avLst/>
          </a:prstGeom>
          <a:noFill/>
        </p:spPr>
        <p:txBody>
          <a:bodyPr wrap="square" rtlCol="0">
            <a:spAutoFit/>
          </a:bodyPr>
          <a:lstStyle/>
          <a:p>
            <a:r>
              <a:rPr lang="en-GB" sz="1600" b="0" i="0" dirty="0">
                <a:solidFill>
                  <a:srgbClr val="002060"/>
                </a:solidFill>
                <a:effectLst/>
                <a:latin typeface="+mj-lt"/>
                <a:cs typeface="Calibri" panose="020F0502020204030204" pitchFamily="34" charset="0"/>
              </a:rPr>
              <a:t>This Change &amp; Project Management Toolkit will help you create a holistic approach within your organization that tackles both </a:t>
            </a:r>
            <a:r>
              <a:rPr lang="en-GB" sz="1600" dirty="0">
                <a:solidFill>
                  <a:srgbClr val="002060"/>
                </a:solidFill>
                <a:latin typeface="+mj-lt"/>
                <a:cs typeface="Calibri" panose="020F0502020204030204" pitchFamily="34" charset="0"/>
              </a:rPr>
              <a:t>project management and change management </a:t>
            </a:r>
            <a:r>
              <a:rPr lang="en-GB" sz="1600" b="0" i="0" dirty="0">
                <a:solidFill>
                  <a:srgbClr val="002060"/>
                </a:solidFill>
                <a:effectLst/>
                <a:latin typeface="+mj-lt"/>
                <a:cs typeface="Calibri" panose="020F0502020204030204" pitchFamily="34" charset="0"/>
              </a:rPr>
              <a:t>simultaneously.</a:t>
            </a:r>
            <a:br>
              <a:rPr lang="en-GB" sz="1600" dirty="0">
                <a:solidFill>
                  <a:srgbClr val="002060"/>
                </a:solidFill>
                <a:latin typeface="+mj-lt"/>
                <a:cs typeface="Calibri" panose="020F0502020204030204" pitchFamily="34" charset="0"/>
              </a:rPr>
            </a:br>
            <a:br>
              <a:rPr lang="en-GB" sz="1600" dirty="0">
                <a:solidFill>
                  <a:srgbClr val="002060"/>
                </a:solidFill>
                <a:latin typeface="+mj-lt"/>
                <a:cs typeface="Calibri" panose="020F0502020204030204" pitchFamily="34" charset="0"/>
              </a:rPr>
            </a:br>
            <a:r>
              <a:rPr lang="en-GB" sz="1600" b="0" i="0" dirty="0">
                <a:solidFill>
                  <a:srgbClr val="002060"/>
                </a:solidFill>
                <a:effectLst/>
                <a:latin typeface="+mj-lt"/>
                <a:cs typeface="Calibri" panose="020F0502020204030204" pitchFamily="34" charset="0"/>
              </a:rPr>
              <a:t>Indeed, we believe that one should not </a:t>
            </a:r>
            <a:r>
              <a:rPr lang="en-GB" sz="1600" dirty="0">
                <a:solidFill>
                  <a:srgbClr val="002060"/>
                </a:solidFill>
                <a:latin typeface="+mj-lt"/>
                <a:cs typeface="Calibri" panose="020F0502020204030204" pitchFamily="34" charset="0"/>
              </a:rPr>
              <a:t>come </a:t>
            </a:r>
            <a:r>
              <a:rPr lang="en-GB" sz="1600" b="0" i="0" dirty="0">
                <a:solidFill>
                  <a:srgbClr val="002060"/>
                </a:solidFill>
                <a:effectLst/>
                <a:latin typeface="+mj-lt"/>
                <a:cs typeface="Calibri" panose="020F0502020204030204" pitchFamily="34" charset="0"/>
              </a:rPr>
              <a:t>without the other. On one hand, </a:t>
            </a:r>
            <a:r>
              <a:rPr lang="en-GB" sz="1600" dirty="0">
                <a:solidFill>
                  <a:srgbClr val="002060"/>
                </a:solidFill>
                <a:latin typeface="+mj-lt"/>
                <a:cs typeface="Calibri" panose="020F0502020204030204" pitchFamily="34" charset="0"/>
              </a:rPr>
              <a:t>project management </a:t>
            </a:r>
            <a:r>
              <a:rPr lang="en-GB" sz="1600" b="0" i="0" dirty="0">
                <a:solidFill>
                  <a:srgbClr val="002060"/>
                </a:solidFill>
                <a:effectLst/>
                <a:latin typeface="+mj-lt"/>
                <a:cs typeface="Calibri" panose="020F0502020204030204" pitchFamily="34" charset="0"/>
              </a:rPr>
              <a:t>focuses on defining and implementing projects that will change your organization's structure, job roles, processes</a:t>
            </a:r>
            <a:r>
              <a:rPr lang="en-GB" sz="1600" dirty="0">
                <a:solidFill>
                  <a:srgbClr val="002060"/>
                </a:solidFill>
                <a:latin typeface="+mj-lt"/>
                <a:cs typeface="Calibri" panose="020F0502020204030204" pitchFamily="34" charset="0"/>
              </a:rPr>
              <a:t>,</a:t>
            </a:r>
            <a:r>
              <a:rPr lang="en-GB" sz="1600" b="0" i="0" dirty="0">
                <a:solidFill>
                  <a:srgbClr val="002060"/>
                </a:solidFill>
                <a:effectLst/>
                <a:latin typeface="+mj-lt"/>
                <a:cs typeface="Calibri" panose="020F0502020204030204" pitchFamily="34" charset="0"/>
              </a:rPr>
              <a:t> and systems. On the other hand, </a:t>
            </a:r>
            <a:r>
              <a:rPr lang="en-GB" sz="1600" dirty="0">
                <a:solidFill>
                  <a:srgbClr val="002060"/>
                </a:solidFill>
                <a:latin typeface="+mj-lt"/>
                <a:cs typeface="Calibri" panose="020F0502020204030204" pitchFamily="34" charset="0"/>
              </a:rPr>
              <a:t>change management </a:t>
            </a:r>
            <a:r>
              <a:rPr lang="en-GB" sz="1600" b="0" i="0" dirty="0">
                <a:solidFill>
                  <a:srgbClr val="002060"/>
                </a:solidFill>
                <a:effectLst/>
                <a:latin typeface="+mj-lt"/>
                <a:cs typeface="Calibri" panose="020F0502020204030204" pitchFamily="34" charset="0"/>
              </a:rPr>
              <a:t>focuses on helping individuals impacted by these changes to adapt and be successful. </a:t>
            </a:r>
            <a:br>
              <a:rPr lang="en-GB" sz="1600" dirty="0">
                <a:solidFill>
                  <a:srgbClr val="002060"/>
                </a:solidFill>
                <a:latin typeface="+mj-lt"/>
                <a:cs typeface="Calibri" panose="020F0502020204030204" pitchFamily="34" charset="0"/>
              </a:rPr>
            </a:br>
            <a:br>
              <a:rPr lang="en-GB" sz="1600" dirty="0">
                <a:solidFill>
                  <a:srgbClr val="002060"/>
                </a:solidFill>
                <a:latin typeface="+mj-lt"/>
                <a:cs typeface="Calibri" panose="020F0502020204030204" pitchFamily="34" charset="0"/>
              </a:rPr>
            </a:br>
            <a:r>
              <a:rPr lang="en-GB" sz="1600" b="0" i="0" dirty="0">
                <a:solidFill>
                  <a:srgbClr val="002060"/>
                </a:solidFill>
                <a:effectLst/>
                <a:latin typeface="+mj-lt"/>
                <a:cs typeface="Calibri" panose="020F0502020204030204" pitchFamily="34" charset="0"/>
              </a:rPr>
              <a:t>Far too often, we </a:t>
            </a:r>
            <a:r>
              <a:rPr lang="en-GB" sz="1600" dirty="0">
                <a:solidFill>
                  <a:srgbClr val="002060"/>
                </a:solidFill>
                <a:latin typeface="+mj-lt"/>
                <a:cs typeface="Calibri" panose="020F0502020204030204" pitchFamily="34" charset="0"/>
              </a:rPr>
              <a:t>have </a:t>
            </a:r>
            <a:r>
              <a:rPr lang="en-GB" sz="1600" b="0" i="0" dirty="0">
                <a:solidFill>
                  <a:srgbClr val="002060"/>
                </a:solidFill>
                <a:effectLst/>
                <a:latin typeface="+mj-lt"/>
                <a:cs typeface="Calibri" panose="020F0502020204030204" pitchFamily="34" charset="0"/>
              </a:rPr>
              <a:t>noticed that many companies underestimate the importance of </a:t>
            </a:r>
            <a:r>
              <a:rPr lang="en-GB" sz="1600" dirty="0">
                <a:solidFill>
                  <a:srgbClr val="002060"/>
                </a:solidFill>
                <a:latin typeface="+mj-lt"/>
                <a:cs typeface="Calibri" panose="020F0502020204030204" pitchFamily="34" charset="0"/>
              </a:rPr>
              <a:t>change management</a:t>
            </a:r>
            <a:r>
              <a:rPr lang="en-GB" sz="1600" b="0" i="0" dirty="0">
                <a:solidFill>
                  <a:srgbClr val="002060"/>
                </a:solidFill>
                <a:effectLst/>
                <a:latin typeface="+mj-lt"/>
                <a:cs typeface="Calibri" panose="020F0502020204030204" pitchFamily="34" charset="0"/>
              </a:rPr>
              <a:t>. The main problem is that if the employees and managers </a:t>
            </a:r>
            <a:r>
              <a:rPr lang="en-GB" sz="1600" dirty="0">
                <a:solidFill>
                  <a:srgbClr val="002060"/>
                </a:solidFill>
                <a:latin typeface="+mj-lt"/>
                <a:cs typeface="Calibri" panose="020F0502020204030204" pitchFamily="34" charset="0"/>
              </a:rPr>
              <a:t>in </a:t>
            </a:r>
            <a:r>
              <a:rPr lang="en-GB" sz="1600" b="0" i="0" dirty="0">
                <a:solidFill>
                  <a:srgbClr val="002060"/>
                </a:solidFill>
                <a:effectLst/>
                <a:latin typeface="+mj-lt"/>
                <a:cs typeface="Calibri" panose="020F0502020204030204" pitchFamily="34" charset="0"/>
              </a:rPr>
              <a:t>your organization do not adopt and embrace the new changes, your projects will rarely </a:t>
            </a:r>
            <a:r>
              <a:rPr lang="en-GB" sz="1600" dirty="0">
                <a:solidFill>
                  <a:srgbClr val="002060"/>
                </a:solidFill>
                <a:latin typeface="+mj-lt"/>
                <a:cs typeface="Calibri" panose="020F0502020204030204" pitchFamily="34" charset="0"/>
              </a:rPr>
              <a:t>achieve </a:t>
            </a:r>
            <a:r>
              <a:rPr lang="en-GB" sz="1600" b="0" i="0" dirty="0">
                <a:solidFill>
                  <a:srgbClr val="002060"/>
                </a:solidFill>
                <a:effectLst/>
                <a:latin typeface="+mj-lt"/>
                <a:cs typeface="Calibri" panose="020F0502020204030204" pitchFamily="34" charset="0"/>
              </a:rPr>
              <a:t>their expected return on investment.</a:t>
            </a:r>
            <a:endParaRPr lang="en-AU" sz="1600" dirty="0">
              <a:solidFill>
                <a:srgbClr val="002060"/>
              </a:solidFill>
              <a:latin typeface="+mj-lt"/>
              <a:cs typeface="Calibri" panose="020F0502020204030204" pitchFamily="34" charset="0"/>
            </a:endParaRPr>
          </a:p>
        </p:txBody>
      </p:sp>
    </p:spTree>
    <p:extLst>
      <p:ext uri="{BB962C8B-B14F-4D97-AF65-F5344CB8AC3E}">
        <p14:creationId xmlns:p14="http://schemas.microsoft.com/office/powerpoint/2010/main" val="18407262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erms and Definitions according to Kotter</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4" name="object 4">
            <a:extLst>
              <a:ext uri="{FF2B5EF4-FFF2-40B4-BE49-F238E27FC236}">
                <a16:creationId xmlns:a16="http://schemas.microsoft.com/office/drawing/2014/main" id="{ED6DAE83-BDAF-7757-497B-21F97FA225B7}"/>
              </a:ext>
            </a:extLst>
          </p:cNvPr>
          <p:cNvSpPr/>
          <p:nvPr/>
        </p:nvSpPr>
        <p:spPr>
          <a:xfrm>
            <a:off x="838200" y="1879092"/>
            <a:ext cx="10515600" cy="723900"/>
          </a:xfrm>
          <a:custGeom>
            <a:avLst/>
            <a:gdLst/>
            <a:ahLst/>
            <a:cxnLst/>
            <a:rect l="l" t="t" r="r" b="b"/>
            <a:pathLst>
              <a:path w="10515600" h="723900">
                <a:moveTo>
                  <a:pt x="10443210" y="0"/>
                </a:moveTo>
                <a:lnTo>
                  <a:pt x="72389" y="0"/>
                </a:lnTo>
                <a:lnTo>
                  <a:pt x="44212" y="5685"/>
                </a:lnTo>
                <a:lnTo>
                  <a:pt x="21202" y="21193"/>
                </a:lnTo>
                <a:lnTo>
                  <a:pt x="5688" y="44201"/>
                </a:lnTo>
                <a:lnTo>
                  <a:pt x="0" y="72389"/>
                </a:lnTo>
                <a:lnTo>
                  <a:pt x="0" y="651510"/>
                </a:lnTo>
                <a:lnTo>
                  <a:pt x="5688" y="679698"/>
                </a:lnTo>
                <a:lnTo>
                  <a:pt x="21202" y="702706"/>
                </a:lnTo>
                <a:lnTo>
                  <a:pt x="44212" y="718214"/>
                </a:lnTo>
                <a:lnTo>
                  <a:pt x="72389" y="723900"/>
                </a:lnTo>
                <a:lnTo>
                  <a:pt x="10443210" y="723900"/>
                </a:lnTo>
                <a:lnTo>
                  <a:pt x="10471398" y="718214"/>
                </a:lnTo>
                <a:lnTo>
                  <a:pt x="10494406" y="702706"/>
                </a:lnTo>
                <a:lnTo>
                  <a:pt x="10509914" y="679698"/>
                </a:lnTo>
                <a:lnTo>
                  <a:pt x="10515600" y="651510"/>
                </a:lnTo>
                <a:lnTo>
                  <a:pt x="10515600" y="72389"/>
                </a:lnTo>
                <a:lnTo>
                  <a:pt x="10509914" y="44201"/>
                </a:lnTo>
                <a:lnTo>
                  <a:pt x="10494406" y="21193"/>
                </a:lnTo>
                <a:lnTo>
                  <a:pt x="10471398" y="5685"/>
                </a:lnTo>
                <a:lnTo>
                  <a:pt x="10443210" y="0"/>
                </a:lnTo>
                <a:close/>
              </a:path>
            </a:pathLst>
          </a:custGeom>
          <a:solidFill>
            <a:schemeClr val="tx1"/>
          </a:solidFill>
        </p:spPr>
        <p:txBody>
          <a:bodyPr wrap="square" lIns="0" tIns="0" rIns="0" bIns="0" rtlCol="0" anchor="ctr"/>
          <a:lstStyle/>
          <a:p>
            <a:pPr marL="182563"/>
            <a:r>
              <a:rPr lang="en-GB" sz="1800" b="1" spc="-10" dirty="0">
                <a:solidFill>
                  <a:srgbClr val="FFFFFF"/>
                </a:solidFill>
                <a:latin typeface="Calibri"/>
                <a:cs typeface="Calibri"/>
              </a:rPr>
              <a:t>Change </a:t>
            </a:r>
            <a:r>
              <a:rPr lang="en-GB" sz="1800" b="1" dirty="0">
                <a:solidFill>
                  <a:srgbClr val="FFFFFF"/>
                </a:solidFill>
                <a:latin typeface="Calibri"/>
                <a:cs typeface="Calibri"/>
              </a:rPr>
              <a:t>:</a:t>
            </a:r>
            <a:r>
              <a:rPr lang="en-GB" sz="1800" b="1" spc="15" dirty="0">
                <a:solidFill>
                  <a:srgbClr val="FFFFFF"/>
                </a:solidFill>
                <a:latin typeface="Calibri"/>
                <a:cs typeface="Calibri"/>
              </a:rPr>
              <a:t> </a:t>
            </a:r>
            <a:r>
              <a:rPr lang="en-GB" sz="1800" spc="-5" dirty="0">
                <a:solidFill>
                  <a:srgbClr val="FFFFFF"/>
                </a:solidFill>
                <a:latin typeface="Calibri"/>
                <a:cs typeface="Calibri"/>
              </a:rPr>
              <a:t>The</a:t>
            </a:r>
            <a:r>
              <a:rPr lang="en-GB" sz="1800" spc="-10" dirty="0">
                <a:solidFill>
                  <a:srgbClr val="FFFFFF"/>
                </a:solidFill>
                <a:latin typeface="Calibri"/>
                <a:cs typeface="Calibri"/>
              </a:rPr>
              <a:t> transition</a:t>
            </a:r>
            <a:r>
              <a:rPr lang="en-GB" sz="1800" spc="15" dirty="0">
                <a:solidFill>
                  <a:srgbClr val="FFFFFF"/>
                </a:solidFill>
                <a:latin typeface="Calibri"/>
                <a:cs typeface="Calibri"/>
              </a:rPr>
              <a:t> </a:t>
            </a:r>
            <a:r>
              <a:rPr lang="en-GB" sz="1800" spc="-10" dirty="0">
                <a:solidFill>
                  <a:srgbClr val="FFFFFF"/>
                </a:solidFill>
                <a:latin typeface="Calibri"/>
                <a:cs typeface="Calibri"/>
              </a:rPr>
              <a:t>from</a:t>
            </a:r>
            <a:r>
              <a:rPr lang="en-GB" sz="1800" spc="-15" dirty="0">
                <a:solidFill>
                  <a:srgbClr val="FFFFFF"/>
                </a:solidFill>
                <a:latin typeface="Calibri"/>
                <a:cs typeface="Calibri"/>
              </a:rPr>
              <a:t> </a:t>
            </a:r>
            <a:r>
              <a:rPr lang="en-GB" sz="1800" dirty="0">
                <a:solidFill>
                  <a:srgbClr val="FFFFFF"/>
                </a:solidFill>
                <a:latin typeface="Calibri"/>
                <a:cs typeface="Calibri"/>
              </a:rPr>
              <a:t>a</a:t>
            </a:r>
            <a:r>
              <a:rPr lang="en-GB" sz="1800" spc="-5" dirty="0">
                <a:solidFill>
                  <a:srgbClr val="FFFFFF"/>
                </a:solidFill>
                <a:latin typeface="Calibri"/>
                <a:cs typeface="Calibri"/>
              </a:rPr>
              <a:t> </a:t>
            </a:r>
            <a:r>
              <a:rPr lang="en-GB" sz="1800" spc="-10" dirty="0">
                <a:solidFill>
                  <a:srgbClr val="FFFFFF"/>
                </a:solidFill>
                <a:latin typeface="Calibri"/>
                <a:cs typeface="Calibri"/>
              </a:rPr>
              <a:t>current</a:t>
            </a:r>
            <a:r>
              <a:rPr lang="en-GB" sz="1800" spc="5" dirty="0">
                <a:solidFill>
                  <a:srgbClr val="FFFFFF"/>
                </a:solidFill>
                <a:latin typeface="Calibri"/>
                <a:cs typeface="Calibri"/>
              </a:rPr>
              <a:t> </a:t>
            </a:r>
            <a:r>
              <a:rPr lang="en-GB" sz="1800" spc="-20" dirty="0">
                <a:solidFill>
                  <a:srgbClr val="FFFFFF"/>
                </a:solidFill>
                <a:latin typeface="Calibri"/>
                <a:cs typeface="Calibri"/>
              </a:rPr>
              <a:t>state</a:t>
            </a:r>
            <a:r>
              <a:rPr lang="en-GB" sz="1800" dirty="0">
                <a:solidFill>
                  <a:srgbClr val="FFFFFF"/>
                </a:solidFill>
                <a:latin typeface="Calibri"/>
                <a:cs typeface="Calibri"/>
              </a:rPr>
              <a:t> </a:t>
            </a:r>
            <a:r>
              <a:rPr lang="en-GB" sz="1800" spc="-10" dirty="0">
                <a:solidFill>
                  <a:srgbClr val="FFFFFF"/>
                </a:solidFill>
                <a:latin typeface="Calibri"/>
                <a:cs typeface="Calibri"/>
              </a:rPr>
              <a:t>to</a:t>
            </a:r>
            <a:r>
              <a:rPr lang="en-GB" sz="1800" spc="-5" dirty="0">
                <a:solidFill>
                  <a:srgbClr val="FFFFFF"/>
                </a:solidFill>
                <a:latin typeface="Calibri"/>
                <a:cs typeface="Calibri"/>
              </a:rPr>
              <a:t> </a:t>
            </a:r>
            <a:r>
              <a:rPr lang="en-GB" sz="1800" dirty="0">
                <a:solidFill>
                  <a:srgbClr val="FFFFFF"/>
                </a:solidFill>
                <a:latin typeface="Calibri"/>
                <a:cs typeface="Calibri"/>
              </a:rPr>
              <a:t>a </a:t>
            </a:r>
            <a:r>
              <a:rPr lang="en-GB" sz="1800" spc="-10" dirty="0">
                <a:solidFill>
                  <a:srgbClr val="FFFFFF"/>
                </a:solidFill>
                <a:latin typeface="Calibri"/>
                <a:cs typeface="Calibri"/>
              </a:rPr>
              <a:t>future </a:t>
            </a:r>
            <a:r>
              <a:rPr lang="en-GB" sz="1800" spc="-20" dirty="0">
                <a:solidFill>
                  <a:srgbClr val="FFFFFF"/>
                </a:solidFill>
                <a:latin typeface="Calibri"/>
                <a:cs typeface="Calibri"/>
              </a:rPr>
              <a:t>state</a:t>
            </a:r>
            <a:endParaRPr lang="en-GB" sz="1800" dirty="0">
              <a:latin typeface="Calibri"/>
              <a:cs typeface="Calibri"/>
            </a:endParaRPr>
          </a:p>
        </p:txBody>
      </p:sp>
      <p:sp>
        <p:nvSpPr>
          <p:cNvPr id="5" name="object 4">
            <a:extLst>
              <a:ext uri="{FF2B5EF4-FFF2-40B4-BE49-F238E27FC236}">
                <a16:creationId xmlns:a16="http://schemas.microsoft.com/office/drawing/2014/main" id="{FF8E0AF2-CBE3-D3B5-8E0D-29AB86A4BE59}"/>
              </a:ext>
            </a:extLst>
          </p:cNvPr>
          <p:cNvSpPr/>
          <p:nvPr/>
        </p:nvSpPr>
        <p:spPr>
          <a:xfrm>
            <a:off x="838200" y="2757890"/>
            <a:ext cx="10515600" cy="723900"/>
          </a:xfrm>
          <a:custGeom>
            <a:avLst/>
            <a:gdLst/>
            <a:ahLst/>
            <a:cxnLst/>
            <a:rect l="l" t="t" r="r" b="b"/>
            <a:pathLst>
              <a:path w="10515600" h="723900">
                <a:moveTo>
                  <a:pt x="10443210" y="0"/>
                </a:moveTo>
                <a:lnTo>
                  <a:pt x="72389" y="0"/>
                </a:lnTo>
                <a:lnTo>
                  <a:pt x="44212" y="5685"/>
                </a:lnTo>
                <a:lnTo>
                  <a:pt x="21202" y="21193"/>
                </a:lnTo>
                <a:lnTo>
                  <a:pt x="5688" y="44201"/>
                </a:lnTo>
                <a:lnTo>
                  <a:pt x="0" y="72389"/>
                </a:lnTo>
                <a:lnTo>
                  <a:pt x="0" y="651510"/>
                </a:lnTo>
                <a:lnTo>
                  <a:pt x="5688" y="679698"/>
                </a:lnTo>
                <a:lnTo>
                  <a:pt x="21202" y="702706"/>
                </a:lnTo>
                <a:lnTo>
                  <a:pt x="44212" y="718214"/>
                </a:lnTo>
                <a:lnTo>
                  <a:pt x="72389" y="723900"/>
                </a:lnTo>
                <a:lnTo>
                  <a:pt x="10443210" y="723900"/>
                </a:lnTo>
                <a:lnTo>
                  <a:pt x="10471398" y="718214"/>
                </a:lnTo>
                <a:lnTo>
                  <a:pt x="10494406" y="702706"/>
                </a:lnTo>
                <a:lnTo>
                  <a:pt x="10509914" y="679698"/>
                </a:lnTo>
                <a:lnTo>
                  <a:pt x="10515600" y="651510"/>
                </a:lnTo>
                <a:lnTo>
                  <a:pt x="10515600" y="72389"/>
                </a:lnTo>
                <a:lnTo>
                  <a:pt x="10509914" y="44201"/>
                </a:lnTo>
                <a:lnTo>
                  <a:pt x="10494406" y="21193"/>
                </a:lnTo>
                <a:lnTo>
                  <a:pt x="10471398" y="5685"/>
                </a:lnTo>
                <a:lnTo>
                  <a:pt x="10443210" y="0"/>
                </a:lnTo>
                <a:close/>
              </a:path>
            </a:pathLst>
          </a:custGeom>
          <a:solidFill>
            <a:schemeClr val="tx1"/>
          </a:solidFill>
        </p:spPr>
        <p:txBody>
          <a:bodyPr wrap="square" lIns="0" tIns="0" rIns="0" bIns="0" rtlCol="0" anchor="ctr"/>
          <a:lstStyle/>
          <a:p>
            <a:pPr marL="182563"/>
            <a:r>
              <a:rPr lang="en-GB" b="1" spc="-10" dirty="0">
                <a:solidFill>
                  <a:srgbClr val="FFFFFF"/>
                </a:solidFill>
                <a:latin typeface="Calibri"/>
                <a:cs typeface="Calibri"/>
              </a:rPr>
              <a:t>Change Management : </a:t>
            </a:r>
            <a:r>
              <a:rPr lang="en-GB" spc="-10" dirty="0">
                <a:solidFill>
                  <a:srgbClr val="FFFFFF"/>
                </a:solidFill>
                <a:latin typeface="Calibri"/>
                <a:cs typeface="Calibri"/>
              </a:rPr>
              <a:t>The practice of applying a structured approach to transition an organization  from a current state to a future state to achieve expected benefits</a:t>
            </a:r>
          </a:p>
        </p:txBody>
      </p:sp>
      <p:sp>
        <p:nvSpPr>
          <p:cNvPr id="6" name="object 4">
            <a:extLst>
              <a:ext uri="{FF2B5EF4-FFF2-40B4-BE49-F238E27FC236}">
                <a16:creationId xmlns:a16="http://schemas.microsoft.com/office/drawing/2014/main" id="{5824AB9F-72D5-82F0-EDDA-E21F76611A0D}"/>
              </a:ext>
            </a:extLst>
          </p:cNvPr>
          <p:cNvSpPr/>
          <p:nvPr/>
        </p:nvSpPr>
        <p:spPr>
          <a:xfrm>
            <a:off x="838200" y="3636688"/>
            <a:ext cx="10515600" cy="723900"/>
          </a:xfrm>
          <a:custGeom>
            <a:avLst/>
            <a:gdLst/>
            <a:ahLst/>
            <a:cxnLst/>
            <a:rect l="l" t="t" r="r" b="b"/>
            <a:pathLst>
              <a:path w="10515600" h="723900">
                <a:moveTo>
                  <a:pt x="10443210" y="0"/>
                </a:moveTo>
                <a:lnTo>
                  <a:pt x="72389" y="0"/>
                </a:lnTo>
                <a:lnTo>
                  <a:pt x="44212" y="5685"/>
                </a:lnTo>
                <a:lnTo>
                  <a:pt x="21202" y="21193"/>
                </a:lnTo>
                <a:lnTo>
                  <a:pt x="5688" y="44201"/>
                </a:lnTo>
                <a:lnTo>
                  <a:pt x="0" y="72389"/>
                </a:lnTo>
                <a:lnTo>
                  <a:pt x="0" y="651510"/>
                </a:lnTo>
                <a:lnTo>
                  <a:pt x="5688" y="679698"/>
                </a:lnTo>
                <a:lnTo>
                  <a:pt x="21202" y="702706"/>
                </a:lnTo>
                <a:lnTo>
                  <a:pt x="44212" y="718214"/>
                </a:lnTo>
                <a:lnTo>
                  <a:pt x="72389" y="723900"/>
                </a:lnTo>
                <a:lnTo>
                  <a:pt x="10443210" y="723900"/>
                </a:lnTo>
                <a:lnTo>
                  <a:pt x="10471398" y="718214"/>
                </a:lnTo>
                <a:lnTo>
                  <a:pt x="10494406" y="702706"/>
                </a:lnTo>
                <a:lnTo>
                  <a:pt x="10509914" y="679698"/>
                </a:lnTo>
                <a:lnTo>
                  <a:pt x="10515600" y="651510"/>
                </a:lnTo>
                <a:lnTo>
                  <a:pt x="10515600" y="72389"/>
                </a:lnTo>
                <a:lnTo>
                  <a:pt x="10509914" y="44201"/>
                </a:lnTo>
                <a:lnTo>
                  <a:pt x="10494406" y="21193"/>
                </a:lnTo>
                <a:lnTo>
                  <a:pt x="10471398" y="5685"/>
                </a:lnTo>
                <a:lnTo>
                  <a:pt x="10443210" y="0"/>
                </a:lnTo>
                <a:close/>
              </a:path>
            </a:pathLst>
          </a:custGeom>
          <a:solidFill>
            <a:schemeClr val="tx1"/>
          </a:solidFill>
        </p:spPr>
        <p:txBody>
          <a:bodyPr wrap="square" lIns="0" tIns="0" rIns="0" bIns="0" rtlCol="0" anchor="ctr"/>
          <a:lstStyle/>
          <a:p>
            <a:pPr marL="182563"/>
            <a:r>
              <a:rPr lang="en-GB" b="1" spc="-10" dirty="0">
                <a:solidFill>
                  <a:srgbClr val="FFFFFF"/>
                </a:solidFill>
                <a:latin typeface="Calibri"/>
                <a:cs typeface="Calibri"/>
              </a:rPr>
              <a:t>Change Impact : </a:t>
            </a:r>
            <a:r>
              <a:rPr lang="en-GB" spc="-10" dirty="0">
                <a:solidFill>
                  <a:srgbClr val="FFFFFF"/>
                </a:solidFill>
                <a:latin typeface="Calibri"/>
                <a:cs typeface="Calibri"/>
              </a:rPr>
              <a:t>How people, process, technology, and the workplace are affected during the  transition from the current state to the future state.</a:t>
            </a:r>
          </a:p>
        </p:txBody>
      </p:sp>
      <p:sp>
        <p:nvSpPr>
          <p:cNvPr id="7" name="object 4">
            <a:extLst>
              <a:ext uri="{FF2B5EF4-FFF2-40B4-BE49-F238E27FC236}">
                <a16:creationId xmlns:a16="http://schemas.microsoft.com/office/drawing/2014/main" id="{5591B3BB-E691-1E1D-70C6-252DF181F2C3}"/>
              </a:ext>
            </a:extLst>
          </p:cNvPr>
          <p:cNvSpPr/>
          <p:nvPr/>
        </p:nvSpPr>
        <p:spPr>
          <a:xfrm>
            <a:off x="838200" y="4515485"/>
            <a:ext cx="10515600" cy="723900"/>
          </a:xfrm>
          <a:custGeom>
            <a:avLst/>
            <a:gdLst/>
            <a:ahLst/>
            <a:cxnLst/>
            <a:rect l="l" t="t" r="r" b="b"/>
            <a:pathLst>
              <a:path w="10515600" h="723900">
                <a:moveTo>
                  <a:pt x="10443210" y="0"/>
                </a:moveTo>
                <a:lnTo>
                  <a:pt x="72389" y="0"/>
                </a:lnTo>
                <a:lnTo>
                  <a:pt x="44212" y="5685"/>
                </a:lnTo>
                <a:lnTo>
                  <a:pt x="21202" y="21193"/>
                </a:lnTo>
                <a:lnTo>
                  <a:pt x="5688" y="44201"/>
                </a:lnTo>
                <a:lnTo>
                  <a:pt x="0" y="72389"/>
                </a:lnTo>
                <a:lnTo>
                  <a:pt x="0" y="651510"/>
                </a:lnTo>
                <a:lnTo>
                  <a:pt x="5688" y="679698"/>
                </a:lnTo>
                <a:lnTo>
                  <a:pt x="21202" y="702706"/>
                </a:lnTo>
                <a:lnTo>
                  <a:pt x="44212" y="718214"/>
                </a:lnTo>
                <a:lnTo>
                  <a:pt x="72389" y="723900"/>
                </a:lnTo>
                <a:lnTo>
                  <a:pt x="10443210" y="723900"/>
                </a:lnTo>
                <a:lnTo>
                  <a:pt x="10471398" y="718214"/>
                </a:lnTo>
                <a:lnTo>
                  <a:pt x="10494406" y="702706"/>
                </a:lnTo>
                <a:lnTo>
                  <a:pt x="10509914" y="679698"/>
                </a:lnTo>
                <a:lnTo>
                  <a:pt x="10515600" y="651510"/>
                </a:lnTo>
                <a:lnTo>
                  <a:pt x="10515600" y="72389"/>
                </a:lnTo>
                <a:lnTo>
                  <a:pt x="10509914" y="44201"/>
                </a:lnTo>
                <a:lnTo>
                  <a:pt x="10494406" y="21193"/>
                </a:lnTo>
                <a:lnTo>
                  <a:pt x="10471398" y="5685"/>
                </a:lnTo>
                <a:lnTo>
                  <a:pt x="10443210" y="0"/>
                </a:lnTo>
                <a:close/>
              </a:path>
            </a:pathLst>
          </a:custGeom>
          <a:solidFill>
            <a:schemeClr val="tx1"/>
          </a:solidFill>
        </p:spPr>
        <p:txBody>
          <a:bodyPr wrap="square" lIns="0" tIns="0" rIns="0" bIns="0" rtlCol="0" anchor="ctr"/>
          <a:lstStyle/>
          <a:p>
            <a:pPr marL="182563"/>
            <a:r>
              <a:rPr lang="en-GB" b="1" spc="-10" dirty="0">
                <a:solidFill>
                  <a:srgbClr val="FFFFFF"/>
                </a:solidFill>
                <a:latin typeface="Calibri"/>
                <a:cs typeface="Calibri"/>
              </a:rPr>
              <a:t>Current State: The condition at the time the change is initiated.</a:t>
            </a:r>
          </a:p>
        </p:txBody>
      </p:sp>
      <p:sp>
        <p:nvSpPr>
          <p:cNvPr id="8" name="object 4">
            <a:extLst>
              <a:ext uri="{FF2B5EF4-FFF2-40B4-BE49-F238E27FC236}">
                <a16:creationId xmlns:a16="http://schemas.microsoft.com/office/drawing/2014/main" id="{34D5F9C0-1D60-671B-C04F-04187ACEEA4B}"/>
              </a:ext>
            </a:extLst>
          </p:cNvPr>
          <p:cNvSpPr/>
          <p:nvPr/>
        </p:nvSpPr>
        <p:spPr>
          <a:xfrm>
            <a:off x="838200" y="5394282"/>
            <a:ext cx="10515600" cy="723900"/>
          </a:xfrm>
          <a:custGeom>
            <a:avLst/>
            <a:gdLst/>
            <a:ahLst/>
            <a:cxnLst/>
            <a:rect l="l" t="t" r="r" b="b"/>
            <a:pathLst>
              <a:path w="10515600" h="723900">
                <a:moveTo>
                  <a:pt x="10443210" y="0"/>
                </a:moveTo>
                <a:lnTo>
                  <a:pt x="72389" y="0"/>
                </a:lnTo>
                <a:lnTo>
                  <a:pt x="44212" y="5685"/>
                </a:lnTo>
                <a:lnTo>
                  <a:pt x="21202" y="21193"/>
                </a:lnTo>
                <a:lnTo>
                  <a:pt x="5688" y="44201"/>
                </a:lnTo>
                <a:lnTo>
                  <a:pt x="0" y="72389"/>
                </a:lnTo>
                <a:lnTo>
                  <a:pt x="0" y="651510"/>
                </a:lnTo>
                <a:lnTo>
                  <a:pt x="5688" y="679698"/>
                </a:lnTo>
                <a:lnTo>
                  <a:pt x="21202" y="702706"/>
                </a:lnTo>
                <a:lnTo>
                  <a:pt x="44212" y="718214"/>
                </a:lnTo>
                <a:lnTo>
                  <a:pt x="72389" y="723900"/>
                </a:lnTo>
                <a:lnTo>
                  <a:pt x="10443210" y="723900"/>
                </a:lnTo>
                <a:lnTo>
                  <a:pt x="10471398" y="718214"/>
                </a:lnTo>
                <a:lnTo>
                  <a:pt x="10494406" y="702706"/>
                </a:lnTo>
                <a:lnTo>
                  <a:pt x="10509914" y="679698"/>
                </a:lnTo>
                <a:lnTo>
                  <a:pt x="10515600" y="651510"/>
                </a:lnTo>
                <a:lnTo>
                  <a:pt x="10515600" y="72389"/>
                </a:lnTo>
                <a:lnTo>
                  <a:pt x="10509914" y="44201"/>
                </a:lnTo>
                <a:lnTo>
                  <a:pt x="10494406" y="21193"/>
                </a:lnTo>
                <a:lnTo>
                  <a:pt x="10471398" y="5685"/>
                </a:lnTo>
                <a:lnTo>
                  <a:pt x="10443210" y="0"/>
                </a:lnTo>
                <a:close/>
              </a:path>
            </a:pathLst>
          </a:custGeom>
          <a:solidFill>
            <a:schemeClr val="tx1"/>
          </a:solidFill>
        </p:spPr>
        <p:txBody>
          <a:bodyPr wrap="square" lIns="0" tIns="0" rIns="0" bIns="0" rtlCol="0" anchor="ctr"/>
          <a:lstStyle/>
          <a:p>
            <a:pPr marL="182563"/>
            <a:r>
              <a:rPr lang="en-GB" b="1" spc="-10" dirty="0">
                <a:solidFill>
                  <a:srgbClr val="FFFFFF"/>
                </a:solidFill>
                <a:latin typeface="Calibri"/>
                <a:cs typeface="Calibri"/>
              </a:rPr>
              <a:t>Future State: The condition at the time when the benefits have been realized.</a:t>
            </a:r>
          </a:p>
        </p:txBody>
      </p:sp>
    </p:spTree>
    <p:extLst>
      <p:ext uri="{BB962C8B-B14F-4D97-AF65-F5344CB8AC3E}">
        <p14:creationId xmlns:p14="http://schemas.microsoft.com/office/powerpoint/2010/main" val="4029045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Folded Corner 1">
            <a:extLst>
              <a:ext uri="{FF2B5EF4-FFF2-40B4-BE49-F238E27FC236}">
                <a16:creationId xmlns:a16="http://schemas.microsoft.com/office/drawing/2014/main" id="{C8042D7C-02C6-41CC-9707-C9C5F6FA269D}"/>
              </a:ext>
            </a:extLst>
          </p:cNvPr>
          <p:cNvSpPr/>
          <p:nvPr/>
        </p:nvSpPr>
        <p:spPr>
          <a:xfrm>
            <a:off x="3757922" y="2253238"/>
            <a:ext cx="4676156" cy="3957062"/>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3987736" y="2395849"/>
            <a:ext cx="4216528" cy="38985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1" i="0" u="none" strike="noStrike" kern="1200" cap="none" spc="0" normalizeH="0" baseline="0" noProof="0" dirty="0">
                <a:ln>
                  <a:noFill/>
                </a:ln>
                <a:solidFill>
                  <a:srgbClr val="002060"/>
                </a:solidFill>
                <a:effectLst/>
                <a:uLnTx/>
                <a:uFillTx/>
                <a:latin typeface="Arial" panose="020B0604020202020204"/>
                <a:ea typeface="+mn-ea"/>
                <a:cs typeface="+mn-cs"/>
              </a:rPr>
              <a:t>Kotter’s 8 Step Change Management Model is a process designed to help leaders successfully implement organizational chang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b="1" i="0" u="none" strike="noStrike" kern="1200" cap="none" spc="0" normalizeH="0" baseline="0" noProof="0" dirty="0">
                <a:ln>
                  <a:noFill/>
                </a:ln>
                <a:solidFill>
                  <a:srgbClr val="002060"/>
                </a:solidFill>
                <a:effectLst/>
                <a:uLnTx/>
                <a:uFillTx/>
                <a:latin typeface="Arial" panose="020B0604020202020204"/>
                <a:ea typeface="+mn-ea"/>
                <a:cs typeface="+mn-cs"/>
              </a:rPr>
              <a:t>This model was developed by John P. Kotter, a Harvard Business School professor, and  presented in his book “Leading Change,” which was based on years of research that  showed that there’s only a 30% chance of effective organizational change  implementation.</a:t>
            </a: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GB"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Description of the Kotter’s 8 step Model of Chang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6097739" y="208207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6088650" y="1912147"/>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18175741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The Model walks you through the process of initiating, managing, and  sustaining change in eight step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 name="Shape 59118">
            <a:extLst>
              <a:ext uri="{FF2B5EF4-FFF2-40B4-BE49-F238E27FC236}">
                <a16:creationId xmlns:a16="http://schemas.microsoft.com/office/drawing/2014/main" id="{885CA99C-CBFA-514C-58AD-AF24C23FC4A6}"/>
              </a:ext>
            </a:extLst>
          </p:cNvPr>
          <p:cNvSpPr/>
          <p:nvPr/>
        </p:nvSpPr>
        <p:spPr>
          <a:xfrm>
            <a:off x="4602409" y="185126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bg1">
              <a:lumMod val="50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4" name="Shape 59119">
            <a:extLst>
              <a:ext uri="{FF2B5EF4-FFF2-40B4-BE49-F238E27FC236}">
                <a16:creationId xmlns:a16="http://schemas.microsoft.com/office/drawing/2014/main" id="{D7617DFC-FB00-492A-690E-A47E333DF542}"/>
              </a:ext>
            </a:extLst>
          </p:cNvPr>
          <p:cNvSpPr/>
          <p:nvPr/>
        </p:nvSpPr>
        <p:spPr>
          <a:xfrm>
            <a:off x="3906565" y="2555481"/>
            <a:ext cx="1748041" cy="1595195"/>
          </a:xfrm>
          <a:custGeom>
            <a:avLst/>
            <a:gdLst/>
            <a:ahLst/>
            <a:cxnLst>
              <a:cxn ang="0">
                <a:pos x="wd2" y="hd2"/>
              </a:cxn>
              <a:cxn ang="5400000">
                <a:pos x="wd2" y="hd2"/>
              </a:cxn>
              <a:cxn ang="10800000">
                <a:pos x="wd2" y="hd2"/>
              </a:cxn>
              <a:cxn ang="16200000">
                <a:pos x="wd2" y="hd2"/>
              </a:cxn>
            </a:cxnLst>
            <a:rect l="0" t="0" r="r" b="b"/>
            <a:pathLst>
              <a:path w="21600" h="21600" extrusionOk="0">
                <a:moveTo>
                  <a:pt x="8251" y="0"/>
                </a:moveTo>
                <a:cubicBezTo>
                  <a:pt x="5770" y="2801"/>
                  <a:pt x="3749" y="6098"/>
                  <a:pt x="2329" y="9742"/>
                </a:cubicBezTo>
                <a:cubicBezTo>
                  <a:pt x="909" y="13385"/>
                  <a:pt x="88" y="17377"/>
                  <a:pt x="0" y="21573"/>
                </a:cubicBezTo>
                <a:lnTo>
                  <a:pt x="18974" y="21600"/>
                </a:lnTo>
                <a:cubicBezTo>
                  <a:pt x="19085" y="20283"/>
                  <a:pt x="19372" y="19028"/>
                  <a:pt x="19808" y="17861"/>
                </a:cubicBezTo>
                <a:cubicBezTo>
                  <a:pt x="20255" y="16665"/>
                  <a:pt x="20861" y="15555"/>
                  <a:pt x="21600" y="14565"/>
                </a:cubicBezTo>
                <a:lnTo>
                  <a:pt x="8251" y="0"/>
                </a:lnTo>
                <a:close/>
              </a:path>
            </a:pathLst>
          </a:custGeom>
          <a:solidFill>
            <a:schemeClr val="bg1">
              <a:lumMod val="50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6" name="Shape 59120">
            <a:extLst>
              <a:ext uri="{FF2B5EF4-FFF2-40B4-BE49-F238E27FC236}">
                <a16:creationId xmlns:a16="http://schemas.microsoft.com/office/drawing/2014/main" id="{D747A18C-803A-60A0-505C-72F06462BC1B}"/>
              </a:ext>
            </a:extLst>
          </p:cNvPr>
          <p:cNvSpPr/>
          <p:nvPr/>
        </p:nvSpPr>
        <p:spPr>
          <a:xfrm>
            <a:off x="4602409" y="475128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accent2"/>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7" name="Shape 59121">
            <a:extLst>
              <a:ext uri="{FF2B5EF4-FFF2-40B4-BE49-F238E27FC236}">
                <a16:creationId xmlns:a16="http://schemas.microsoft.com/office/drawing/2014/main" id="{27FC0F19-AC64-16B2-7377-59FBC96DA4F0}"/>
              </a:ext>
            </a:extLst>
          </p:cNvPr>
          <p:cNvSpPr/>
          <p:nvPr/>
        </p:nvSpPr>
        <p:spPr>
          <a:xfrm>
            <a:off x="3903104" y="4203774"/>
            <a:ext cx="1753117" cy="1595195"/>
          </a:xfrm>
          <a:custGeom>
            <a:avLst/>
            <a:gdLst/>
            <a:ahLst/>
            <a:cxnLst>
              <a:cxn ang="0">
                <a:pos x="wd2" y="hd2"/>
              </a:cxn>
              <a:cxn ang="5400000">
                <a:pos x="wd2" y="hd2"/>
              </a:cxn>
              <a:cxn ang="10800000">
                <a:pos x="wd2" y="hd2"/>
              </a:cxn>
              <a:cxn ang="16200000">
                <a:pos x="wd2" y="hd2"/>
              </a:cxn>
            </a:cxnLst>
            <a:rect l="0" t="0" r="r" b="b"/>
            <a:pathLst>
              <a:path w="21600" h="21600" extrusionOk="0">
                <a:moveTo>
                  <a:pt x="8142" y="21600"/>
                </a:moveTo>
                <a:cubicBezTo>
                  <a:pt x="5658" y="18808"/>
                  <a:pt x="3642" y="15510"/>
                  <a:pt x="2238" y="11858"/>
                </a:cubicBezTo>
                <a:cubicBezTo>
                  <a:pt x="834" y="8207"/>
                  <a:pt x="42" y="4202"/>
                  <a:pt x="0" y="0"/>
                </a:cubicBezTo>
                <a:lnTo>
                  <a:pt x="18834" y="0"/>
                </a:lnTo>
                <a:cubicBezTo>
                  <a:pt x="18902" y="1327"/>
                  <a:pt x="19193" y="2588"/>
                  <a:pt x="19666" y="3739"/>
                </a:cubicBezTo>
                <a:cubicBezTo>
                  <a:pt x="20140" y="4889"/>
                  <a:pt x="20798" y="5928"/>
                  <a:pt x="21600" y="6810"/>
                </a:cubicBezTo>
                <a:lnTo>
                  <a:pt x="8142" y="21600"/>
                </a:lnTo>
                <a:close/>
              </a:path>
            </a:pathLst>
          </a:custGeom>
          <a:solidFill>
            <a:schemeClr val="accent2"/>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8" name="Shape 59122">
            <a:extLst>
              <a:ext uri="{FF2B5EF4-FFF2-40B4-BE49-F238E27FC236}">
                <a16:creationId xmlns:a16="http://schemas.microsoft.com/office/drawing/2014/main" id="{47767D63-5702-82B8-8CE1-7DE7E989C115}"/>
              </a:ext>
            </a:extLst>
          </p:cNvPr>
          <p:cNvSpPr/>
          <p:nvPr/>
        </p:nvSpPr>
        <p:spPr>
          <a:xfrm flipH="1">
            <a:off x="6249248" y="185126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9" name="Shape 59123">
            <a:extLst>
              <a:ext uri="{FF2B5EF4-FFF2-40B4-BE49-F238E27FC236}">
                <a16:creationId xmlns:a16="http://schemas.microsoft.com/office/drawing/2014/main" id="{4510BFD4-3779-1360-912B-7C5F235823A3}"/>
              </a:ext>
            </a:extLst>
          </p:cNvPr>
          <p:cNvSpPr/>
          <p:nvPr/>
        </p:nvSpPr>
        <p:spPr>
          <a:xfrm flipH="1">
            <a:off x="6787432" y="2555481"/>
            <a:ext cx="1746084" cy="1595195"/>
          </a:xfrm>
          <a:custGeom>
            <a:avLst/>
            <a:gdLst/>
            <a:ahLst/>
            <a:cxnLst>
              <a:cxn ang="0">
                <a:pos x="wd2" y="hd2"/>
              </a:cxn>
              <a:cxn ang="5400000">
                <a:pos x="wd2" y="hd2"/>
              </a:cxn>
              <a:cxn ang="10800000">
                <a:pos x="wd2" y="hd2"/>
              </a:cxn>
              <a:cxn ang="16200000">
                <a:pos x="wd2" y="hd2"/>
              </a:cxn>
            </a:cxnLst>
            <a:rect l="0" t="0" r="r" b="b"/>
            <a:pathLst>
              <a:path w="21600" h="21600" extrusionOk="0">
                <a:moveTo>
                  <a:pt x="8175" y="0"/>
                </a:moveTo>
                <a:cubicBezTo>
                  <a:pt x="5681" y="2792"/>
                  <a:pt x="3656" y="6090"/>
                  <a:pt x="2247" y="9742"/>
                </a:cubicBezTo>
                <a:cubicBezTo>
                  <a:pt x="837" y="13393"/>
                  <a:pt x="42" y="17398"/>
                  <a:pt x="0" y="21600"/>
                </a:cubicBezTo>
                <a:lnTo>
                  <a:pt x="18910" y="21600"/>
                </a:lnTo>
                <a:cubicBezTo>
                  <a:pt x="18996" y="20277"/>
                  <a:pt x="19286" y="19018"/>
                  <a:pt x="19746" y="17861"/>
                </a:cubicBezTo>
                <a:cubicBezTo>
                  <a:pt x="20204" y="16707"/>
                  <a:pt x="20833" y="15651"/>
                  <a:pt x="21600" y="14733"/>
                </a:cubicBezTo>
                <a:lnTo>
                  <a:pt x="8175"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0" name="Shape 59124">
            <a:extLst>
              <a:ext uri="{FF2B5EF4-FFF2-40B4-BE49-F238E27FC236}">
                <a16:creationId xmlns:a16="http://schemas.microsoft.com/office/drawing/2014/main" id="{AFA47E68-BCB2-1F29-9E4A-E98F0750D4B4}"/>
              </a:ext>
            </a:extLst>
          </p:cNvPr>
          <p:cNvSpPr/>
          <p:nvPr/>
        </p:nvSpPr>
        <p:spPr>
          <a:xfrm flipH="1">
            <a:off x="6249248" y="475128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accent2"/>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1" name="Shape 59125">
            <a:extLst>
              <a:ext uri="{FF2B5EF4-FFF2-40B4-BE49-F238E27FC236}">
                <a16:creationId xmlns:a16="http://schemas.microsoft.com/office/drawing/2014/main" id="{643ACD71-C775-DECC-1DD9-A449F15FC93D}"/>
              </a:ext>
            </a:extLst>
          </p:cNvPr>
          <p:cNvSpPr/>
          <p:nvPr/>
        </p:nvSpPr>
        <p:spPr>
          <a:xfrm flipH="1">
            <a:off x="6800573" y="4203774"/>
            <a:ext cx="1743255" cy="1595195"/>
          </a:xfrm>
          <a:custGeom>
            <a:avLst/>
            <a:gdLst/>
            <a:ahLst/>
            <a:cxnLst>
              <a:cxn ang="0">
                <a:pos x="wd2" y="hd2"/>
              </a:cxn>
              <a:cxn ang="5400000">
                <a:pos x="wd2" y="hd2"/>
              </a:cxn>
              <a:cxn ang="10800000">
                <a:pos x="wd2" y="hd2"/>
              </a:cxn>
              <a:cxn ang="16200000">
                <a:pos x="wd2" y="hd2"/>
              </a:cxn>
            </a:cxnLst>
            <a:rect l="0" t="0" r="r" b="b"/>
            <a:pathLst>
              <a:path w="21600" h="21600" extrusionOk="0">
                <a:moveTo>
                  <a:pt x="8189" y="21600"/>
                </a:moveTo>
                <a:cubicBezTo>
                  <a:pt x="5690" y="18808"/>
                  <a:pt x="3662" y="15510"/>
                  <a:pt x="2250" y="11858"/>
                </a:cubicBezTo>
                <a:cubicBezTo>
                  <a:pt x="839" y="8207"/>
                  <a:pt x="42" y="4202"/>
                  <a:pt x="0" y="0"/>
                </a:cubicBezTo>
                <a:lnTo>
                  <a:pt x="18941" y="0"/>
                </a:lnTo>
                <a:cubicBezTo>
                  <a:pt x="19037" y="1321"/>
                  <a:pt x="19326" y="2578"/>
                  <a:pt x="19778" y="3739"/>
                </a:cubicBezTo>
                <a:cubicBezTo>
                  <a:pt x="20230" y="4902"/>
                  <a:pt x="20847" y="5973"/>
                  <a:pt x="21600" y="6914"/>
                </a:cubicBezTo>
                <a:lnTo>
                  <a:pt x="8189"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55" name="TextBox 54">
            <a:extLst>
              <a:ext uri="{FF2B5EF4-FFF2-40B4-BE49-F238E27FC236}">
                <a16:creationId xmlns:a16="http://schemas.microsoft.com/office/drawing/2014/main" id="{E3B70BD5-2CF3-08E9-4552-B58033692F57}"/>
              </a:ext>
            </a:extLst>
          </p:cNvPr>
          <p:cNvSpPr txBox="1"/>
          <p:nvPr/>
        </p:nvSpPr>
        <p:spPr>
          <a:xfrm>
            <a:off x="6222634" y="2301898"/>
            <a:ext cx="1158512" cy="646331"/>
          </a:xfrm>
          <a:prstGeom prst="rect">
            <a:avLst/>
          </a:prstGeom>
          <a:noFill/>
        </p:spPr>
        <p:txBody>
          <a:bodyPr wrap="square" rtlCol="0">
            <a:spAutoFit/>
          </a:bodyPr>
          <a:lstStyle/>
          <a:p>
            <a:pPr algn="ctr"/>
            <a:r>
              <a:rPr lang="en-US" sz="1200" b="1" dirty="0">
                <a:solidFill>
                  <a:schemeClr val="bg1"/>
                </a:solidFill>
              </a:rPr>
              <a:t>1</a:t>
            </a:r>
          </a:p>
          <a:p>
            <a:pPr algn="ctr"/>
            <a:r>
              <a:rPr lang="en-US" sz="1200" b="1" dirty="0">
                <a:solidFill>
                  <a:schemeClr val="bg1"/>
                </a:solidFill>
              </a:rPr>
              <a:t>Create Urgency</a:t>
            </a:r>
          </a:p>
        </p:txBody>
      </p:sp>
      <p:sp>
        <p:nvSpPr>
          <p:cNvPr id="56" name="TextBox 55">
            <a:extLst>
              <a:ext uri="{FF2B5EF4-FFF2-40B4-BE49-F238E27FC236}">
                <a16:creationId xmlns:a16="http://schemas.microsoft.com/office/drawing/2014/main" id="{666E8CF2-6FBC-BEC9-72E6-19F8204D4597}"/>
              </a:ext>
            </a:extLst>
          </p:cNvPr>
          <p:cNvSpPr txBox="1"/>
          <p:nvPr/>
        </p:nvSpPr>
        <p:spPr>
          <a:xfrm>
            <a:off x="7092112" y="3136612"/>
            <a:ext cx="1317412" cy="830997"/>
          </a:xfrm>
          <a:prstGeom prst="rect">
            <a:avLst/>
          </a:prstGeom>
          <a:noFill/>
        </p:spPr>
        <p:txBody>
          <a:bodyPr wrap="square" rtlCol="0">
            <a:spAutoFit/>
          </a:bodyPr>
          <a:lstStyle/>
          <a:p>
            <a:pPr algn="ctr"/>
            <a:r>
              <a:rPr lang="en-US" sz="1200" b="1" dirty="0">
                <a:solidFill>
                  <a:schemeClr val="bg1"/>
                </a:solidFill>
              </a:rPr>
              <a:t>2</a:t>
            </a:r>
          </a:p>
          <a:p>
            <a:pPr algn="ctr"/>
            <a:r>
              <a:rPr lang="en-US" sz="1200" b="1" dirty="0">
                <a:solidFill>
                  <a:schemeClr val="bg1"/>
                </a:solidFill>
              </a:rPr>
              <a:t>Form a Powerful Coalition</a:t>
            </a:r>
          </a:p>
        </p:txBody>
      </p:sp>
      <p:sp>
        <p:nvSpPr>
          <p:cNvPr id="57" name="TextBox 56">
            <a:extLst>
              <a:ext uri="{FF2B5EF4-FFF2-40B4-BE49-F238E27FC236}">
                <a16:creationId xmlns:a16="http://schemas.microsoft.com/office/drawing/2014/main" id="{EABD27A8-A8D6-9B7A-8249-496EE939FAA5}"/>
              </a:ext>
            </a:extLst>
          </p:cNvPr>
          <p:cNvSpPr txBox="1"/>
          <p:nvPr/>
        </p:nvSpPr>
        <p:spPr>
          <a:xfrm>
            <a:off x="7071517" y="4474740"/>
            <a:ext cx="1317412" cy="646331"/>
          </a:xfrm>
          <a:prstGeom prst="rect">
            <a:avLst/>
          </a:prstGeom>
          <a:noFill/>
        </p:spPr>
        <p:txBody>
          <a:bodyPr wrap="square" rtlCol="0">
            <a:spAutoFit/>
          </a:bodyPr>
          <a:lstStyle/>
          <a:p>
            <a:pPr algn="ctr"/>
            <a:r>
              <a:rPr lang="en-US" sz="1200" b="1" dirty="0">
                <a:solidFill>
                  <a:schemeClr val="bg1"/>
                </a:solidFill>
              </a:rPr>
              <a:t>3</a:t>
            </a:r>
          </a:p>
          <a:p>
            <a:pPr algn="ctr"/>
            <a:r>
              <a:rPr lang="en-GB" sz="1200" b="1" dirty="0">
                <a:solidFill>
                  <a:schemeClr val="bg1"/>
                </a:solidFill>
              </a:rPr>
              <a:t>Create a Vision for Change</a:t>
            </a:r>
            <a:endParaRPr lang="en-US" sz="1200" b="1" dirty="0">
              <a:solidFill>
                <a:schemeClr val="bg1"/>
              </a:solidFill>
            </a:endParaRPr>
          </a:p>
        </p:txBody>
      </p:sp>
      <p:sp>
        <p:nvSpPr>
          <p:cNvPr id="58" name="TextBox 57">
            <a:extLst>
              <a:ext uri="{FF2B5EF4-FFF2-40B4-BE49-F238E27FC236}">
                <a16:creationId xmlns:a16="http://schemas.microsoft.com/office/drawing/2014/main" id="{309957B4-A761-26EA-E75C-092DD642E238}"/>
              </a:ext>
            </a:extLst>
          </p:cNvPr>
          <p:cNvSpPr txBox="1"/>
          <p:nvPr/>
        </p:nvSpPr>
        <p:spPr>
          <a:xfrm>
            <a:off x="6197684" y="5432298"/>
            <a:ext cx="1317412" cy="646331"/>
          </a:xfrm>
          <a:prstGeom prst="rect">
            <a:avLst/>
          </a:prstGeom>
          <a:noFill/>
        </p:spPr>
        <p:txBody>
          <a:bodyPr wrap="square" rtlCol="0">
            <a:spAutoFit/>
          </a:bodyPr>
          <a:lstStyle/>
          <a:p>
            <a:pPr algn="ctr"/>
            <a:r>
              <a:rPr lang="en-US" sz="1200" b="1" dirty="0">
                <a:solidFill>
                  <a:schemeClr val="bg1"/>
                </a:solidFill>
              </a:rPr>
              <a:t>4</a:t>
            </a:r>
          </a:p>
          <a:p>
            <a:pPr algn="ctr"/>
            <a:r>
              <a:rPr lang="en-US" sz="1200" b="1" dirty="0">
                <a:solidFill>
                  <a:schemeClr val="bg1"/>
                </a:solidFill>
              </a:rPr>
              <a:t>Communicate the Vision</a:t>
            </a:r>
          </a:p>
        </p:txBody>
      </p:sp>
      <p:sp>
        <p:nvSpPr>
          <p:cNvPr id="59" name="TextBox 58">
            <a:extLst>
              <a:ext uri="{FF2B5EF4-FFF2-40B4-BE49-F238E27FC236}">
                <a16:creationId xmlns:a16="http://schemas.microsoft.com/office/drawing/2014/main" id="{BE729DE7-B7B2-6AED-01FE-2E2513A1CA48}"/>
              </a:ext>
            </a:extLst>
          </p:cNvPr>
          <p:cNvSpPr txBox="1"/>
          <p:nvPr/>
        </p:nvSpPr>
        <p:spPr>
          <a:xfrm>
            <a:off x="4929165" y="5328681"/>
            <a:ext cx="1317412" cy="646331"/>
          </a:xfrm>
          <a:prstGeom prst="rect">
            <a:avLst/>
          </a:prstGeom>
          <a:noFill/>
        </p:spPr>
        <p:txBody>
          <a:bodyPr wrap="square" rtlCol="0">
            <a:spAutoFit/>
          </a:bodyPr>
          <a:lstStyle/>
          <a:p>
            <a:pPr algn="ctr"/>
            <a:r>
              <a:rPr lang="en-US" sz="1200" b="1" dirty="0">
                <a:solidFill>
                  <a:schemeClr val="bg1"/>
                </a:solidFill>
              </a:rPr>
              <a:t>5</a:t>
            </a:r>
          </a:p>
          <a:p>
            <a:pPr algn="ctr"/>
            <a:r>
              <a:rPr lang="en-US" sz="1200" b="1" dirty="0">
                <a:solidFill>
                  <a:schemeClr val="bg1"/>
                </a:solidFill>
              </a:rPr>
              <a:t>Remove Obstacles</a:t>
            </a:r>
          </a:p>
        </p:txBody>
      </p:sp>
      <p:sp>
        <p:nvSpPr>
          <p:cNvPr id="60" name="TextBox 59">
            <a:extLst>
              <a:ext uri="{FF2B5EF4-FFF2-40B4-BE49-F238E27FC236}">
                <a16:creationId xmlns:a16="http://schemas.microsoft.com/office/drawing/2014/main" id="{B269BA62-54E0-BEDC-BBF5-B435AFB9204E}"/>
              </a:ext>
            </a:extLst>
          </p:cNvPr>
          <p:cNvSpPr txBox="1"/>
          <p:nvPr/>
        </p:nvSpPr>
        <p:spPr>
          <a:xfrm>
            <a:off x="4010917" y="4512349"/>
            <a:ext cx="1317412" cy="646331"/>
          </a:xfrm>
          <a:prstGeom prst="rect">
            <a:avLst/>
          </a:prstGeom>
          <a:noFill/>
        </p:spPr>
        <p:txBody>
          <a:bodyPr wrap="square" rtlCol="0">
            <a:spAutoFit/>
          </a:bodyPr>
          <a:lstStyle/>
          <a:p>
            <a:pPr algn="ctr"/>
            <a:r>
              <a:rPr lang="en-US" sz="1200" b="1" dirty="0">
                <a:solidFill>
                  <a:schemeClr val="bg1"/>
                </a:solidFill>
              </a:rPr>
              <a:t>6</a:t>
            </a:r>
          </a:p>
          <a:p>
            <a:pPr algn="ctr"/>
            <a:r>
              <a:rPr lang="en-US" sz="1200" b="1" dirty="0">
                <a:solidFill>
                  <a:schemeClr val="bg1"/>
                </a:solidFill>
              </a:rPr>
              <a:t>Create Short-Term Wins</a:t>
            </a:r>
          </a:p>
        </p:txBody>
      </p:sp>
      <p:sp>
        <p:nvSpPr>
          <p:cNvPr id="61" name="TextBox 60">
            <a:extLst>
              <a:ext uri="{FF2B5EF4-FFF2-40B4-BE49-F238E27FC236}">
                <a16:creationId xmlns:a16="http://schemas.microsoft.com/office/drawing/2014/main" id="{A36F4840-F5DB-3C4B-5750-138B9E168EBD}"/>
              </a:ext>
            </a:extLst>
          </p:cNvPr>
          <p:cNvSpPr txBox="1"/>
          <p:nvPr/>
        </p:nvSpPr>
        <p:spPr>
          <a:xfrm>
            <a:off x="4055786" y="3277583"/>
            <a:ext cx="1317412" cy="646331"/>
          </a:xfrm>
          <a:prstGeom prst="rect">
            <a:avLst/>
          </a:prstGeom>
          <a:noFill/>
        </p:spPr>
        <p:txBody>
          <a:bodyPr wrap="square" rtlCol="0">
            <a:spAutoFit/>
          </a:bodyPr>
          <a:lstStyle/>
          <a:p>
            <a:pPr algn="ctr"/>
            <a:r>
              <a:rPr lang="en-US" sz="1200" b="1" dirty="0">
                <a:solidFill>
                  <a:schemeClr val="bg1"/>
                </a:solidFill>
              </a:rPr>
              <a:t>7</a:t>
            </a:r>
          </a:p>
          <a:p>
            <a:pPr algn="ctr"/>
            <a:r>
              <a:rPr lang="en-US" sz="1200" b="1" dirty="0">
                <a:solidFill>
                  <a:schemeClr val="bg1"/>
                </a:solidFill>
              </a:rPr>
              <a:t>Build on the Change</a:t>
            </a:r>
          </a:p>
        </p:txBody>
      </p:sp>
      <p:sp>
        <p:nvSpPr>
          <p:cNvPr id="62" name="TextBox 61">
            <a:extLst>
              <a:ext uri="{FF2B5EF4-FFF2-40B4-BE49-F238E27FC236}">
                <a16:creationId xmlns:a16="http://schemas.microsoft.com/office/drawing/2014/main" id="{901BFBBF-4A18-4017-A4D0-CD0AF5E58C29}"/>
              </a:ext>
            </a:extLst>
          </p:cNvPr>
          <p:cNvSpPr txBox="1"/>
          <p:nvPr/>
        </p:nvSpPr>
        <p:spPr>
          <a:xfrm>
            <a:off x="4962191" y="2145924"/>
            <a:ext cx="1317412" cy="1015663"/>
          </a:xfrm>
          <a:prstGeom prst="rect">
            <a:avLst/>
          </a:prstGeom>
          <a:noFill/>
        </p:spPr>
        <p:txBody>
          <a:bodyPr wrap="square" rtlCol="0">
            <a:spAutoFit/>
          </a:bodyPr>
          <a:lstStyle/>
          <a:p>
            <a:pPr algn="ctr"/>
            <a:r>
              <a:rPr lang="en-GB" sz="1200" b="1" dirty="0">
                <a:solidFill>
                  <a:schemeClr val="bg1"/>
                </a:solidFill>
              </a:rPr>
              <a:t>8</a:t>
            </a:r>
          </a:p>
          <a:p>
            <a:pPr algn="ctr"/>
            <a:r>
              <a:rPr lang="en-GB" sz="1200" b="1" dirty="0">
                <a:solidFill>
                  <a:schemeClr val="bg1"/>
                </a:solidFill>
              </a:rPr>
              <a:t>Anchor the Changes in Corporate Culture</a:t>
            </a:r>
            <a:endParaRPr lang="en-US" sz="1200" b="1" dirty="0">
              <a:solidFill>
                <a:schemeClr val="bg1"/>
              </a:solidFill>
            </a:endParaRPr>
          </a:p>
        </p:txBody>
      </p:sp>
      <p:sp>
        <p:nvSpPr>
          <p:cNvPr id="63" name="Oval 62">
            <a:extLst>
              <a:ext uri="{FF2B5EF4-FFF2-40B4-BE49-F238E27FC236}">
                <a16:creationId xmlns:a16="http://schemas.microsoft.com/office/drawing/2014/main" id="{C69BF1D1-240B-79A1-52B5-1339114E3B79}"/>
              </a:ext>
            </a:extLst>
          </p:cNvPr>
          <p:cNvSpPr/>
          <p:nvPr/>
        </p:nvSpPr>
        <p:spPr>
          <a:xfrm>
            <a:off x="5232634" y="3174856"/>
            <a:ext cx="1980000" cy="19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b="1" kern="0" dirty="0"/>
              <a:t>Kotter’s 8 step Model of Change</a:t>
            </a:r>
            <a:endParaRPr lang="en-US" b="1" dirty="0"/>
          </a:p>
        </p:txBody>
      </p:sp>
      <p:sp>
        <p:nvSpPr>
          <p:cNvPr id="64" name="TextBox 63">
            <a:extLst>
              <a:ext uri="{FF2B5EF4-FFF2-40B4-BE49-F238E27FC236}">
                <a16:creationId xmlns:a16="http://schemas.microsoft.com/office/drawing/2014/main" id="{D0AE50A0-6216-F4A8-68DB-375189BDB894}"/>
              </a:ext>
            </a:extLst>
          </p:cNvPr>
          <p:cNvSpPr txBox="1"/>
          <p:nvPr/>
        </p:nvSpPr>
        <p:spPr>
          <a:xfrm>
            <a:off x="8688264" y="2844225"/>
            <a:ext cx="1317412" cy="584775"/>
          </a:xfrm>
          <a:prstGeom prst="rect">
            <a:avLst/>
          </a:prstGeom>
          <a:noFill/>
        </p:spPr>
        <p:txBody>
          <a:bodyPr wrap="square" rtlCol="0">
            <a:spAutoFit/>
          </a:bodyPr>
          <a:lstStyle/>
          <a:p>
            <a:pPr algn="ctr"/>
            <a:r>
              <a:rPr lang="en-US" sz="1600" b="1" dirty="0"/>
              <a:t>Initiating Change</a:t>
            </a:r>
          </a:p>
        </p:txBody>
      </p:sp>
      <p:sp>
        <p:nvSpPr>
          <p:cNvPr id="65" name="TextBox 64">
            <a:extLst>
              <a:ext uri="{FF2B5EF4-FFF2-40B4-BE49-F238E27FC236}">
                <a16:creationId xmlns:a16="http://schemas.microsoft.com/office/drawing/2014/main" id="{EC5BD73B-6493-73F0-0B62-0954BFD3BF08}"/>
              </a:ext>
            </a:extLst>
          </p:cNvPr>
          <p:cNvSpPr txBox="1"/>
          <p:nvPr/>
        </p:nvSpPr>
        <p:spPr>
          <a:xfrm>
            <a:off x="3117582" y="2075511"/>
            <a:ext cx="1317412" cy="584775"/>
          </a:xfrm>
          <a:prstGeom prst="rect">
            <a:avLst/>
          </a:prstGeom>
          <a:noFill/>
        </p:spPr>
        <p:txBody>
          <a:bodyPr wrap="square" rtlCol="0">
            <a:spAutoFit/>
          </a:bodyPr>
          <a:lstStyle/>
          <a:p>
            <a:pPr algn="ctr"/>
            <a:r>
              <a:rPr lang="en-US" sz="1600" b="1" dirty="0">
                <a:solidFill>
                  <a:schemeClr val="bg1">
                    <a:lumMod val="50000"/>
                  </a:schemeClr>
                </a:solidFill>
              </a:rPr>
              <a:t>Sustaining Change</a:t>
            </a:r>
          </a:p>
        </p:txBody>
      </p:sp>
      <p:sp>
        <p:nvSpPr>
          <p:cNvPr id="66" name="TextBox 65">
            <a:extLst>
              <a:ext uri="{FF2B5EF4-FFF2-40B4-BE49-F238E27FC236}">
                <a16:creationId xmlns:a16="http://schemas.microsoft.com/office/drawing/2014/main" id="{3CD7148F-93C5-A97D-6FF3-740F78E4580F}"/>
              </a:ext>
            </a:extLst>
          </p:cNvPr>
          <p:cNvSpPr txBox="1"/>
          <p:nvPr/>
        </p:nvSpPr>
        <p:spPr>
          <a:xfrm>
            <a:off x="2919026" y="5694164"/>
            <a:ext cx="1317412" cy="584775"/>
          </a:xfrm>
          <a:prstGeom prst="rect">
            <a:avLst/>
          </a:prstGeom>
          <a:noFill/>
        </p:spPr>
        <p:txBody>
          <a:bodyPr wrap="square" rtlCol="0">
            <a:spAutoFit/>
          </a:bodyPr>
          <a:lstStyle/>
          <a:p>
            <a:pPr algn="ctr"/>
            <a:r>
              <a:rPr lang="en-US" sz="1600" b="1" dirty="0">
                <a:solidFill>
                  <a:schemeClr val="accent2"/>
                </a:solidFill>
              </a:rPr>
              <a:t>Managing Change</a:t>
            </a:r>
          </a:p>
        </p:txBody>
      </p:sp>
    </p:spTree>
    <p:extLst>
      <p:ext uri="{BB962C8B-B14F-4D97-AF65-F5344CB8AC3E}">
        <p14:creationId xmlns:p14="http://schemas.microsoft.com/office/powerpoint/2010/main" val="8443052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Step 1: Create Urgency</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4" name="Isosceles Triangle 13">
            <a:extLst>
              <a:ext uri="{FF2B5EF4-FFF2-40B4-BE49-F238E27FC236}">
                <a16:creationId xmlns:a16="http://schemas.microsoft.com/office/drawing/2014/main" id="{216CA426-2895-31B7-F8F7-07FFE70E7BCE}"/>
              </a:ext>
            </a:extLst>
          </p:cNvPr>
          <p:cNvSpPr/>
          <p:nvPr/>
        </p:nvSpPr>
        <p:spPr>
          <a:xfrm rot="5400000">
            <a:off x="4231005" y="3915783"/>
            <a:ext cx="3806190" cy="41148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4BD89E0C-C724-93CD-171E-844DDA4B3CA6}"/>
              </a:ext>
            </a:extLst>
          </p:cNvPr>
          <p:cNvSpPr/>
          <p:nvPr/>
        </p:nvSpPr>
        <p:spPr>
          <a:xfrm>
            <a:off x="639845" y="2059420"/>
            <a:ext cx="4754399" cy="4124206"/>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GB" sz="1600" dirty="0"/>
              <a:t>For change to happen, it helps if the whole company really wants it. Develop a sense of urgency around the need for change. This may help you spark the initial motivation to get things moving.</a:t>
            </a:r>
          </a:p>
          <a:p>
            <a:pPr>
              <a:spcBef>
                <a:spcPts val="300"/>
              </a:spcBef>
              <a:spcAft>
                <a:spcPts val="300"/>
              </a:spcAft>
            </a:pPr>
            <a:endParaRPr lang="en-GB" sz="1600" dirty="0"/>
          </a:p>
          <a:p>
            <a:pPr>
              <a:spcBef>
                <a:spcPts val="300"/>
              </a:spcBef>
              <a:spcAft>
                <a:spcPts val="300"/>
              </a:spcAft>
            </a:pPr>
            <a:r>
              <a:rPr lang="en-GB" sz="1600" dirty="0"/>
              <a:t>This isn't simply a matter of showing people poor sales statistics or talking about increased competition. Open an honest and convincing dialog about what's happening in the marketplace and with your competition. If many people start talking about the change you propose, the urgency can build and feed on itself.</a:t>
            </a:r>
            <a:endParaRPr lang="en-US" sz="1600" dirty="0"/>
          </a:p>
        </p:txBody>
      </p:sp>
      <p:sp>
        <p:nvSpPr>
          <p:cNvPr id="18" name="Rectangle 17">
            <a:extLst>
              <a:ext uri="{FF2B5EF4-FFF2-40B4-BE49-F238E27FC236}">
                <a16:creationId xmlns:a16="http://schemas.microsoft.com/office/drawing/2014/main" id="{C42DC14D-AF0C-A6F7-EA37-DEDBF2E945E0}"/>
              </a:ext>
            </a:extLst>
          </p:cNvPr>
          <p:cNvSpPr/>
          <p:nvPr/>
        </p:nvSpPr>
        <p:spPr>
          <a:xfrm>
            <a:off x="6797756" y="2059420"/>
            <a:ext cx="4754399" cy="4124206"/>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00"/>
              </a:spcBef>
              <a:spcAft>
                <a:spcPts val="300"/>
              </a:spcAft>
              <a:buFont typeface="Wingdings" panose="05000000000000000000" pitchFamily="2" charset="2"/>
              <a:buChar char="ü"/>
            </a:pPr>
            <a:r>
              <a:rPr lang="en-GB" sz="1600" dirty="0"/>
              <a:t>Identify potential threats and develop scenarios showing what could happen in the future.</a:t>
            </a:r>
          </a:p>
          <a:p>
            <a:pPr marL="285750" indent="-285750">
              <a:spcBef>
                <a:spcPts val="300"/>
              </a:spcBef>
              <a:spcAft>
                <a:spcPts val="300"/>
              </a:spcAft>
              <a:buFont typeface="Wingdings" panose="05000000000000000000" pitchFamily="2" charset="2"/>
              <a:buChar char="ü"/>
            </a:pPr>
            <a:r>
              <a:rPr lang="en-GB" sz="1600" dirty="0"/>
              <a:t>Examine opportunities that should be, or could be, exploited.</a:t>
            </a:r>
          </a:p>
          <a:p>
            <a:pPr marL="285750" indent="-285750">
              <a:spcBef>
                <a:spcPts val="300"/>
              </a:spcBef>
              <a:spcAft>
                <a:spcPts val="300"/>
              </a:spcAft>
              <a:buFont typeface="Wingdings" panose="05000000000000000000" pitchFamily="2" charset="2"/>
              <a:buChar char="ü"/>
            </a:pPr>
            <a:r>
              <a:rPr lang="en-GB" sz="1600" dirty="0"/>
              <a:t>Start honest discussions and give dynamic and convincing reasons to get people talking and thinking.</a:t>
            </a:r>
          </a:p>
          <a:p>
            <a:pPr marL="285750" indent="-285750">
              <a:spcBef>
                <a:spcPts val="300"/>
              </a:spcBef>
              <a:spcAft>
                <a:spcPts val="300"/>
              </a:spcAft>
              <a:buFont typeface="Wingdings" panose="05000000000000000000" pitchFamily="2" charset="2"/>
              <a:buChar char="ü"/>
            </a:pPr>
            <a:r>
              <a:rPr lang="en-GB" sz="1600" dirty="0"/>
              <a:t>Request support from customers to strengthen your argument.</a:t>
            </a:r>
            <a:endParaRPr lang="en-US" sz="1600" dirty="0"/>
          </a:p>
        </p:txBody>
      </p:sp>
      <p:sp>
        <p:nvSpPr>
          <p:cNvPr id="20" name="TextBox 19">
            <a:extLst>
              <a:ext uri="{FF2B5EF4-FFF2-40B4-BE49-F238E27FC236}">
                <a16:creationId xmlns:a16="http://schemas.microsoft.com/office/drawing/2014/main" id="{F6357608-375E-6808-4619-2D0972FA5E58}"/>
              </a:ext>
            </a:extLst>
          </p:cNvPr>
          <p:cNvSpPr txBox="1"/>
          <p:nvPr/>
        </p:nvSpPr>
        <p:spPr>
          <a:xfrm>
            <a:off x="1936909" y="1657350"/>
            <a:ext cx="2160270" cy="369332"/>
          </a:xfrm>
          <a:prstGeom prst="rect">
            <a:avLst/>
          </a:prstGeom>
          <a:noFill/>
        </p:spPr>
        <p:txBody>
          <a:bodyPr wrap="square" rtlCol="0">
            <a:spAutoFit/>
          </a:bodyPr>
          <a:lstStyle/>
          <a:p>
            <a:pPr algn="ctr"/>
            <a:r>
              <a:rPr lang="en-US" b="1" dirty="0"/>
              <a:t>Description*</a:t>
            </a:r>
          </a:p>
        </p:txBody>
      </p:sp>
      <p:sp>
        <p:nvSpPr>
          <p:cNvPr id="21" name="TextBox 20">
            <a:extLst>
              <a:ext uri="{FF2B5EF4-FFF2-40B4-BE49-F238E27FC236}">
                <a16:creationId xmlns:a16="http://schemas.microsoft.com/office/drawing/2014/main" id="{60091574-6B7A-8764-9694-97A9D838F0EA}"/>
              </a:ext>
            </a:extLst>
          </p:cNvPr>
          <p:cNvSpPr txBox="1"/>
          <p:nvPr/>
        </p:nvSpPr>
        <p:spPr>
          <a:xfrm>
            <a:off x="8094823" y="1657350"/>
            <a:ext cx="2160270" cy="369332"/>
          </a:xfrm>
          <a:prstGeom prst="rect">
            <a:avLst/>
          </a:prstGeom>
          <a:noFill/>
        </p:spPr>
        <p:txBody>
          <a:bodyPr wrap="square" rtlCol="0">
            <a:spAutoFit/>
          </a:bodyPr>
          <a:lstStyle/>
          <a:p>
            <a:pPr algn="ctr"/>
            <a:r>
              <a:rPr lang="en-US" b="1" dirty="0"/>
              <a:t>Potential Actions*</a:t>
            </a:r>
          </a:p>
        </p:txBody>
      </p:sp>
      <p:sp>
        <p:nvSpPr>
          <p:cNvPr id="22" name="TextBox 21">
            <a:extLst>
              <a:ext uri="{FF2B5EF4-FFF2-40B4-BE49-F238E27FC236}">
                <a16:creationId xmlns:a16="http://schemas.microsoft.com/office/drawing/2014/main" id="{B589BA74-3884-4E11-2C37-92D2E6E52D6E}"/>
              </a:ext>
            </a:extLst>
          </p:cNvPr>
          <p:cNvSpPr txBox="1"/>
          <p:nvPr/>
        </p:nvSpPr>
        <p:spPr>
          <a:xfrm>
            <a:off x="565312" y="6258924"/>
            <a:ext cx="4113014" cy="276999"/>
          </a:xfrm>
          <a:prstGeom prst="rect">
            <a:avLst/>
          </a:prstGeom>
          <a:noFill/>
        </p:spPr>
        <p:txBody>
          <a:bodyPr wrap="square" rtlCol="0">
            <a:spAutoFit/>
          </a:bodyPr>
          <a:lstStyle/>
          <a:p>
            <a:r>
              <a:rPr lang="en-US" sz="1200" dirty="0"/>
              <a:t>*Source: “Leading Change” from John P. Kotter</a:t>
            </a:r>
          </a:p>
        </p:txBody>
      </p:sp>
    </p:spTree>
    <p:extLst>
      <p:ext uri="{BB962C8B-B14F-4D97-AF65-F5344CB8AC3E}">
        <p14:creationId xmlns:p14="http://schemas.microsoft.com/office/powerpoint/2010/main" val="29148241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McKinsey Seven-S</a:t>
            </a:r>
            <a:br>
              <a:rPr lang="en-US" sz="2400" kern="0" dirty="0"/>
            </a:br>
            <a:r>
              <a:rPr lang="en-US" sz="2400" b="0" kern="0" dirty="0"/>
              <a:t>Purpos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2" name="Rectangle: Folded Corner 1">
            <a:extLst>
              <a:ext uri="{FF2B5EF4-FFF2-40B4-BE49-F238E27FC236}">
                <a16:creationId xmlns:a16="http://schemas.microsoft.com/office/drawing/2014/main" id="{C8042D7C-02C6-41CC-9707-C9C5F6FA269D}"/>
              </a:ext>
            </a:extLst>
          </p:cNvPr>
          <p:cNvSpPr/>
          <p:nvPr/>
        </p:nvSpPr>
        <p:spPr>
          <a:xfrm>
            <a:off x="2308514" y="2253237"/>
            <a:ext cx="3574472" cy="3763099"/>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409748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4088400" y="1957867"/>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2484185" y="2611292"/>
            <a:ext cx="3223131" cy="3046988"/>
          </a:xfrm>
          <a:prstGeom prst="rect">
            <a:avLst/>
          </a:prstGeom>
          <a:noFill/>
        </p:spPr>
        <p:txBody>
          <a:bodyPr wrap="square" rtlCol="0" anchor="ctr">
            <a:spAutoFit/>
          </a:bodyPr>
          <a:lstStyle/>
          <a:p>
            <a:r>
              <a:rPr lang="en-US" sz="1600" b="1" dirty="0"/>
              <a:t>The McKinsey 7-S</a:t>
            </a:r>
            <a:r>
              <a:rPr lang="en-GB" sz="1600" b="1" dirty="0"/>
              <a:t> framework maps a constellation of interrelated factors that influence an organization's ability to change. It</a:t>
            </a:r>
            <a:r>
              <a:rPr lang="en-US" sz="1600" b="1" dirty="0"/>
              <a:t> will help you ensure that:</a:t>
            </a:r>
          </a:p>
          <a:p>
            <a:pPr marL="114300" indent="-114300">
              <a:buFont typeface="Arial" panose="020B0604020202020204" pitchFamily="34" charset="0"/>
              <a:buChar char="•"/>
            </a:pPr>
            <a:r>
              <a:rPr lang="en-US" sz="1600" dirty="0"/>
              <a:t>All parts of your Organization are aligned and work in harmony. </a:t>
            </a:r>
          </a:p>
          <a:p>
            <a:pPr marL="114300" indent="-114300">
              <a:buFont typeface="Arial" panose="020B0604020202020204" pitchFamily="34" charset="0"/>
              <a:buChar char="•"/>
            </a:pPr>
            <a:r>
              <a:rPr lang="en-US" sz="1600" dirty="0"/>
              <a:t>Your organization is well organized to achieve its Vision and Strategic Goals.</a:t>
            </a:r>
          </a:p>
        </p:txBody>
      </p:sp>
      <p:sp>
        <p:nvSpPr>
          <p:cNvPr id="9" name="Rectangle: Folded Corner 8">
            <a:extLst>
              <a:ext uri="{FF2B5EF4-FFF2-40B4-BE49-F238E27FC236}">
                <a16:creationId xmlns:a16="http://schemas.microsoft.com/office/drawing/2014/main" id="{B87E5555-7E69-4480-B759-7802E09212A6}"/>
              </a:ext>
            </a:extLst>
          </p:cNvPr>
          <p:cNvSpPr/>
          <p:nvPr/>
        </p:nvSpPr>
        <p:spPr>
          <a:xfrm>
            <a:off x="6309014" y="2253237"/>
            <a:ext cx="3574472" cy="3763099"/>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Isosceles Triangle 9">
            <a:extLst>
              <a:ext uri="{FF2B5EF4-FFF2-40B4-BE49-F238E27FC236}">
                <a16:creationId xmlns:a16="http://schemas.microsoft.com/office/drawing/2014/main" id="{6AD1FA5A-308E-4B15-8060-B825035125E9}"/>
              </a:ext>
            </a:extLst>
          </p:cNvPr>
          <p:cNvSpPr/>
          <p:nvPr/>
        </p:nvSpPr>
        <p:spPr bwMode="auto">
          <a:xfrm rot="11821990">
            <a:off x="809798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 name="Oval 10">
            <a:extLst>
              <a:ext uri="{FF2B5EF4-FFF2-40B4-BE49-F238E27FC236}">
                <a16:creationId xmlns:a16="http://schemas.microsoft.com/office/drawing/2014/main" id="{52BD22B7-C77D-4F20-BD98-3ED67DDF166F}"/>
              </a:ext>
            </a:extLst>
          </p:cNvPr>
          <p:cNvSpPr/>
          <p:nvPr/>
        </p:nvSpPr>
        <p:spPr bwMode="auto">
          <a:xfrm>
            <a:off x="8088900" y="1957867"/>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 name="TextBox 11">
            <a:extLst>
              <a:ext uri="{FF2B5EF4-FFF2-40B4-BE49-F238E27FC236}">
                <a16:creationId xmlns:a16="http://schemas.microsoft.com/office/drawing/2014/main" id="{097356CD-6F0E-4F19-94F8-58DEDB1B5E83}"/>
              </a:ext>
            </a:extLst>
          </p:cNvPr>
          <p:cNvSpPr txBox="1"/>
          <p:nvPr/>
        </p:nvSpPr>
        <p:spPr>
          <a:xfrm>
            <a:off x="6484685" y="2965235"/>
            <a:ext cx="3223131" cy="2031325"/>
          </a:xfrm>
          <a:prstGeom prst="rect">
            <a:avLst/>
          </a:prstGeom>
          <a:noFill/>
        </p:spPr>
        <p:txBody>
          <a:bodyPr wrap="square" rtlCol="0" anchor="ctr">
            <a:spAutoFit/>
          </a:bodyPr>
          <a:lstStyle/>
          <a:p>
            <a:r>
              <a:rPr lang="en-US" b="1" dirty="0"/>
              <a:t>The McKinsey 7-S Framework was developed in the early 1980s by Tom Peters and Robert Waterman, two consultants working at the McKinsey &amp; Company consulting firm.</a:t>
            </a:r>
          </a:p>
        </p:txBody>
      </p:sp>
    </p:spTree>
    <p:extLst>
      <p:ext uri="{BB962C8B-B14F-4D97-AF65-F5344CB8AC3E}">
        <p14:creationId xmlns:p14="http://schemas.microsoft.com/office/powerpoint/2010/main" val="18996320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McKinsey Seven-S</a:t>
            </a:r>
            <a:br>
              <a:rPr lang="en-US" sz="2400" kern="0" dirty="0"/>
            </a:br>
            <a:r>
              <a:rPr lang="en-US" sz="2400" b="0" kern="0" dirty="0"/>
              <a:t>Description (1/2)</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63" name="Rounded Rectangle 105">
            <a:extLst>
              <a:ext uri="{FF2B5EF4-FFF2-40B4-BE49-F238E27FC236}">
                <a16:creationId xmlns:a16="http://schemas.microsoft.com/office/drawing/2014/main" id="{BCD709DB-6989-4E10-8B03-9188AD5A53D9}"/>
              </a:ext>
            </a:extLst>
          </p:cNvPr>
          <p:cNvSpPr/>
          <p:nvPr/>
        </p:nvSpPr>
        <p:spPr bwMode="auto">
          <a:xfrm>
            <a:off x="602673" y="1788028"/>
            <a:ext cx="5679972" cy="1005840"/>
          </a:xfrm>
          <a:prstGeom prst="rect">
            <a:avLst/>
          </a:prstGeom>
          <a:solidFill>
            <a:schemeClr val="bg1"/>
          </a:solidFill>
          <a:ln>
            <a:noFill/>
          </a:ln>
          <a:effectLst/>
        </p:spPr>
        <p:txBody>
          <a:bodyPr wrap="square" lIns="91428" tIns="45715" rIns="91428" bIns="45715" rtlCol="0" anchor="ctr">
            <a:noAutofit/>
          </a:bodyPr>
          <a:lstStyle/>
          <a:p>
            <a:pPr marL="0" marR="0" lvl="0" indent="0" defTabSz="623853" eaLnBrk="1" fontAlgn="base"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effectLst/>
                <a:uLnTx/>
                <a:uFillTx/>
                <a:cs typeface="Times New Roman" pitchFamily="18" charset="0"/>
              </a:rPr>
              <a:t>The </a:t>
            </a:r>
            <a:r>
              <a:rPr kumimoji="0" lang="en-US" sz="1200" b="1" i="0" u="none" strike="noStrike" kern="0" cap="none" spc="0" normalizeH="0" baseline="0" noProof="0" dirty="0">
                <a:ln>
                  <a:noFill/>
                </a:ln>
                <a:effectLst/>
                <a:uLnTx/>
                <a:uFillTx/>
                <a:cs typeface="Times New Roman" pitchFamily="18" charset="0"/>
              </a:rPr>
              <a:t>Seven-S</a:t>
            </a:r>
            <a:r>
              <a:rPr kumimoji="0" lang="en-US" sz="1200" b="0" i="0" u="none" strike="noStrike" kern="0" cap="none" spc="0" normalizeH="0" baseline="0" noProof="0" dirty="0">
                <a:ln>
                  <a:noFill/>
                </a:ln>
                <a:effectLst/>
                <a:uLnTx/>
                <a:uFillTx/>
                <a:cs typeface="Times New Roman" pitchFamily="18" charset="0"/>
              </a:rPr>
              <a:t> tool is based on the theory that an organization is not just “Structure”, but is comprised of </a:t>
            </a:r>
            <a:r>
              <a:rPr kumimoji="0" lang="en-US" sz="1200" b="1" i="0" u="none" strike="noStrike" kern="0" cap="none" spc="0" normalizeH="0" baseline="0" noProof="0" dirty="0">
                <a:ln>
                  <a:noFill/>
                </a:ln>
                <a:effectLst/>
                <a:uLnTx/>
                <a:uFillTx/>
                <a:cs typeface="Times New Roman" pitchFamily="18" charset="0"/>
              </a:rPr>
              <a:t>seven elements </a:t>
            </a:r>
            <a:r>
              <a:rPr kumimoji="0" lang="en-US" sz="1200" b="0" i="0" u="none" strike="noStrike" kern="0" cap="none" spc="0" normalizeH="0" baseline="0" noProof="0" dirty="0">
                <a:ln>
                  <a:noFill/>
                </a:ln>
                <a:effectLst/>
                <a:uLnTx/>
                <a:uFillTx/>
                <a:cs typeface="Times New Roman" pitchFamily="18" charset="0"/>
              </a:rPr>
              <a:t>distinguished by the </a:t>
            </a:r>
            <a:r>
              <a:rPr kumimoji="0" lang="en-US" sz="1200" b="1" i="0" u="none" strike="noStrike" kern="0" cap="none" spc="0" normalizeH="0" baseline="0" noProof="0" dirty="0">
                <a:ln>
                  <a:noFill/>
                </a:ln>
                <a:effectLst/>
                <a:uLnTx/>
                <a:uFillTx/>
                <a:cs typeface="Times New Roman" pitchFamily="18" charset="0"/>
              </a:rPr>
              <a:t>“hard S” </a:t>
            </a:r>
            <a:r>
              <a:rPr kumimoji="0" lang="en-US" sz="1200" b="0" i="0" u="none" strike="noStrike" kern="0" cap="none" spc="0" normalizeH="0" baseline="0" noProof="0" dirty="0">
                <a:ln>
                  <a:noFill/>
                </a:ln>
                <a:effectLst/>
                <a:uLnTx/>
                <a:uFillTx/>
                <a:cs typeface="Times New Roman" pitchFamily="18" charset="0"/>
              </a:rPr>
              <a:t>and </a:t>
            </a:r>
            <a:r>
              <a:rPr kumimoji="0" lang="en-US" sz="1200" b="1" i="0" u="none" strike="noStrike" kern="0" cap="none" spc="0" normalizeH="0" baseline="0" noProof="0" dirty="0">
                <a:ln>
                  <a:noFill/>
                </a:ln>
                <a:effectLst/>
                <a:uLnTx/>
                <a:uFillTx/>
                <a:cs typeface="Times New Roman" pitchFamily="18" charset="0"/>
              </a:rPr>
              <a:t>“soft S”</a:t>
            </a:r>
          </a:p>
        </p:txBody>
      </p:sp>
      <p:sp>
        <p:nvSpPr>
          <p:cNvPr id="64" name="Rounded Rectangle 106">
            <a:extLst>
              <a:ext uri="{FF2B5EF4-FFF2-40B4-BE49-F238E27FC236}">
                <a16:creationId xmlns:a16="http://schemas.microsoft.com/office/drawing/2014/main" id="{3EBD83F9-AF89-4B43-9E91-4996FE256C3B}"/>
              </a:ext>
            </a:extLst>
          </p:cNvPr>
          <p:cNvSpPr/>
          <p:nvPr/>
        </p:nvSpPr>
        <p:spPr bwMode="auto">
          <a:xfrm>
            <a:off x="602673" y="2956857"/>
            <a:ext cx="5679972" cy="1005840"/>
          </a:xfrm>
          <a:prstGeom prst="rect">
            <a:avLst/>
          </a:prstGeom>
          <a:solidFill>
            <a:schemeClr val="bg1"/>
          </a:solidFill>
          <a:ln>
            <a:noFill/>
          </a:ln>
          <a:effectLst/>
        </p:spPr>
        <p:txBody>
          <a:bodyPr wrap="square" lIns="91428" tIns="45715" rIns="91428" bIns="45715" rtlCol="0" anchor="ctr">
            <a:noAutofit/>
          </a:bodyPr>
          <a:lstStyle/>
          <a:p>
            <a:pPr marL="0" marR="0" lvl="0" indent="0" defTabSz="623853" eaLnBrk="1" fontAlgn="base"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effectLst/>
                <a:uLnTx/>
                <a:uFillTx/>
                <a:cs typeface="Times New Roman" pitchFamily="18" charset="0"/>
              </a:rPr>
              <a:t>The </a:t>
            </a:r>
            <a:r>
              <a:rPr kumimoji="0" lang="en-US" sz="1200" b="1" i="0" u="none" strike="noStrike" kern="0" cap="none" spc="0" normalizeH="0" baseline="0" noProof="0" dirty="0">
                <a:ln>
                  <a:noFill/>
                </a:ln>
                <a:effectLst/>
                <a:uLnTx/>
                <a:uFillTx/>
                <a:cs typeface="Times New Roman" pitchFamily="18" charset="0"/>
              </a:rPr>
              <a:t>3 “hard S”, Structure, Strategy, </a:t>
            </a:r>
            <a:r>
              <a:rPr kumimoji="0" lang="en-US" sz="1200" b="0" i="0" u="none" strike="noStrike" kern="0" cap="none" spc="0" normalizeH="0" baseline="0" noProof="0" dirty="0">
                <a:ln>
                  <a:noFill/>
                </a:ln>
                <a:effectLst/>
                <a:uLnTx/>
                <a:uFillTx/>
                <a:cs typeface="Times New Roman" pitchFamily="18" charset="0"/>
              </a:rPr>
              <a:t>and </a:t>
            </a:r>
            <a:r>
              <a:rPr kumimoji="0" lang="en-US" sz="1200" b="1" i="0" u="none" strike="noStrike" kern="0" cap="none" spc="0" normalizeH="0" baseline="0" noProof="0" dirty="0">
                <a:ln>
                  <a:noFill/>
                </a:ln>
                <a:effectLst/>
                <a:uLnTx/>
                <a:uFillTx/>
                <a:cs typeface="Times New Roman" pitchFamily="18" charset="0"/>
              </a:rPr>
              <a:t>Systems</a:t>
            </a:r>
            <a:r>
              <a:rPr kumimoji="0" lang="en-US" sz="1200" b="0" i="0" u="none" strike="noStrike" kern="0" cap="none" spc="0" normalizeH="0" baseline="0" noProof="0" dirty="0">
                <a:ln>
                  <a:noFill/>
                </a:ln>
                <a:effectLst/>
                <a:uLnTx/>
                <a:uFillTx/>
                <a:cs typeface="Times New Roman" pitchFamily="18" charset="0"/>
              </a:rPr>
              <a:t>, are practical and easily identifiable. </a:t>
            </a:r>
            <a:r>
              <a:rPr kumimoji="0" lang="en-US" sz="1200" b="1" i="0" u="none" strike="noStrike" kern="0" cap="none" spc="0" normalizeH="0" baseline="0" noProof="0" dirty="0">
                <a:ln>
                  <a:noFill/>
                </a:ln>
                <a:effectLst/>
                <a:uLnTx/>
                <a:uFillTx/>
                <a:cs typeface="Times New Roman" pitchFamily="18" charset="0"/>
              </a:rPr>
              <a:t>The 4 “soft S”, Skills, Staff, Style, </a:t>
            </a:r>
            <a:r>
              <a:rPr kumimoji="0" lang="en-US" sz="1200" b="0" i="0" u="none" strike="noStrike" kern="0" cap="none" spc="0" normalizeH="0" baseline="0" noProof="0" dirty="0">
                <a:ln>
                  <a:noFill/>
                </a:ln>
                <a:effectLst/>
                <a:uLnTx/>
                <a:uFillTx/>
                <a:cs typeface="Times New Roman" pitchFamily="18" charset="0"/>
              </a:rPr>
              <a:t>and </a:t>
            </a:r>
            <a:r>
              <a:rPr kumimoji="0" lang="en-US" sz="1200" b="1" i="0" u="none" strike="noStrike" kern="0" cap="none" spc="0" normalizeH="0" baseline="0" noProof="0" dirty="0">
                <a:ln>
                  <a:noFill/>
                </a:ln>
                <a:effectLst/>
                <a:uLnTx/>
                <a:uFillTx/>
                <a:cs typeface="Times New Roman" pitchFamily="18" charset="0"/>
              </a:rPr>
              <a:t>Shared Values</a:t>
            </a:r>
            <a:r>
              <a:rPr kumimoji="0" lang="en-US" sz="1200" b="0" i="0" u="none" strike="noStrike" kern="0" cap="none" spc="0" normalizeH="0" baseline="0" noProof="0" dirty="0">
                <a:ln>
                  <a:noFill/>
                </a:ln>
                <a:effectLst/>
                <a:uLnTx/>
                <a:uFillTx/>
                <a:cs typeface="Times New Roman" pitchFamily="18" charset="0"/>
              </a:rPr>
              <a:t>, are somewhat less easily discerned and are less tangible</a:t>
            </a:r>
          </a:p>
        </p:txBody>
      </p:sp>
      <p:sp>
        <p:nvSpPr>
          <p:cNvPr id="65" name="Rounded Rectangle 107">
            <a:extLst>
              <a:ext uri="{FF2B5EF4-FFF2-40B4-BE49-F238E27FC236}">
                <a16:creationId xmlns:a16="http://schemas.microsoft.com/office/drawing/2014/main" id="{8A48F9AB-C944-457B-BD20-75940ED56777}"/>
              </a:ext>
            </a:extLst>
          </p:cNvPr>
          <p:cNvSpPr/>
          <p:nvPr/>
        </p:nvSpPr>
        <p:spPr bwMode="auto">
          <a:xfrm>
            <a:off x="602673" y="4125686"/>
            <a:ext cx="5679972" cy="1005840"/>
          </a:xfrm>
          <a:prstGeom prst="rect">
            <a:avLst/>
          </a:prstGeom>
          <a:solidFill>
            <a:schemeClr val="bg1"/>
          </a:solidFill>
          <a:ln>
            <a:noFill/>
          </a:ln>
          <a:effectLst/>
        </p:spPr>
        <p:txBody>
          <a:bodyPr wrap="square" lIns="91428" tIns="45715" rIns="91428" bIns="45715" rtlCol="0" anchor="ctr">
            <a:noAutofit/>
          </a:bodyPr>
          <a:lstStyle/>
          <a:p>
            <a:pPr marL="0" marR="0" lvl="0" indent="0" defTabSz="623853" eaLnBrk="1" fontAlgn="base"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effectLst/>
                <a:uLnTx/>
                <a:uFillTx/>
                <a:cs typeface="Times New Roman" pitchFamily="18" charset="0"/>
              </a:rPr>
              <a:t>The </a:t>
            </a:r>
            <a:r>
              <a:rPr kumimoji="0" lang="en-US" sz="1200" b="1" i="0" u="none" strike="noStrike" kern="0" cap="none" spc="0" normalizeH="0" baseline="0" noProof="0" dirty="0">
                <a:ln>
                  <a:noFill/>
                </a:ln>
                <a:effectLst/>
                <a:uLnTx/>
                <a:uFillTx/>
                <a:cs typeface="Times New Roman" pitchFamily="18" charset="0"/>
              </a:rPr>
              <a:t>Seven-S diagram </a:t>
            </a:r>
            <a:r>
              <a:rPr kumimoji="0" lang="en-US" sz="1200" b="0" i="0" u="none" strike="noStrike" kern="0" cap="none" spc="0" normalizeH="0" baseline="0" noProof="0" dirty="0">
                <a:ln>
                  <a:noFill/>
                </a:ln>
                <a:effectLst/>
                <a:uLnTx/>
                <a:uFillTx/>
                <a:cs typeface="Times New Roman" pitchFamily="18" charset="0"/>
              </a:rPr>
              <a:t>depicts how each of the element influences, and is influenced by all of the other elements</a:t>
            </a:r>
          </a:p>
        </p:txBody>
      </p:sp>
      <p:sp>
        <p:nvSpPr>
          <p:cNvPr id="66" name="Rounded Rectangle 108">
            <a:extLst>
              <a:ext uri="{FF2B5EF4-FFF2-40B4-BE49-F238E27FC236}">
                <a16:creationId xmlns:a16="http://schemas.microsoft.com/office/drawing/2014/main" id="{ED1EA068-B678-434E-9C9B-732BF4939886}"/>
              </a:ext>
            </a:extLst>
          </p:cNvPr>
          <p:cNvSpPr/>
          <p:nvPr/>
        </p:nvSpPr>
        <p:spPr bwMode="auto">
          <a:xfrm>
            <a:off x="602673" y="5294515"/>
            <a:ext cx="5679972" cy="1005840"/>
          </a:xfrm>
          <a:prstGeom prst="rect">
            <a:avLst/>
          </a:prstGeom>
          <a:solidFill>
            <a:schemeClr val="bg1"/>
          </a:solidFill>
          <a:ln>
            <a:noFill/>
          </a:ln>
          <a:effectLst/>
        </p:spPr>
        <p:txBody>
          <a:bodyPr wrap="square" lIns="91428" tIns="45715" rIns="91428" bIns="45715" rtlCol="0" anchor="ctr">
            <a:noAutofit/>
          </a:bodyPr>
          <a:lstStyle/>
          <a:p>
            <a:pPr marL="0" marR="0" lvl="0" indent="0" defTabSz="623853" eaLnBrk="1" fontAlgn="base"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effectLst/>
                <a:uLnTx/>
                <a:uFillTx/>
                <a:cs typeface="Times New Roman" pitchFamily="18" charset="0"/>
              </a:rPr>
              <a:t>Continuously evolving and changing, the </a:t>
            </a:r>
            <a:r>
              <a:rPr kumimoji="0" lang="en-US" sz="1200" b="1" i="0" u="none" strike="noStrike" kern="0" cap="none" spc="0" normalizeH="0" baseline="0" noProof="0" dirty="0">
                <a:ln>
                  <a:noFill/>
                </a:ln>
                <a:effectLst/>
                <a:uLnTx/>
                <a:uFillTx/>
                <a:cs typeface="Times New Roman" pitchFamily="18" charset="0"/>
              </a:rPr>
              <a:t>“soft S” </a:t>
            </a:r>
            <a:r>
              <a:rPr kumimoji="0" lang="en-US" sz="1200" b="0" i="0" u="none" strike="noStrike" kern="0" cap="none" spc="0" normalizeH="0" baseline="0" noProof="0" dirty="0">
                <a:ln>
                  <a:noFill/>
                </a:ln>
                <a:effectLst/>
                <a:uLnTx/>
                <a:uFillTx/>
                <a:cs typeface="Times New Roman" pitchFamily="18" charset="0"/>
              </a:rPr>
              <a:t>are determined by the </a:t>
            </a:r>
            <a:r>
              <a:rPr kumimoji="0" lang="en-US" sz="1200" b="1" i="0" u="none" strike="noStrike" kern="0" cap="none" spc="0" normalizeH="0" baseline="0" noProof="0" dirty="0">
                <a:ln>
                  <a:noFill/>
                </a:ln>
                <a:effectLst/>
                <a:uLnTx/>
                <a:uFillTx/>
                <a:cs typeface="Times New Roman" pitchFamily="18" charset="0"/>
              </a:rPr>
              <a:t>people</a:t>
            </a:r>
            <a:r>
              <a:rPr kumimoji="0" lang="en-US" sz="1200" b="0" i="0" u="none" strike="noStrike" kern="0" cap="none" spc="0" normalizeH="0" baseline="0" noProof="0" dirty="0">
                <a:ln>
                  <a:noFill/>
                </a:ln>
                <a:effectLst/>
                <a:uLnTx/>
                <a:uFillTx/>
                <a:cs typeface="Times New Roman" pitchFamily="18" charset="0"/>
              </a:rPr>
              <a:t> at work in the organization and hence, are difficult to anticipate or to influence. Although subterranean in nature, they can and do have a </a:t>
            </a:r>
            <a:r>
              <a:rPr kumimoji="0" lang="en-US" sz="1200" b="1" i="0" u="none" strike="noStrike" kern="0" cap="none" spc="0" normalizeH="0" baseline="0" noProof="0" dirty="0">
                <a:ln>
                  <a:noFill/>
                </a:ln>
                <a:effectLst/>
                <a:uLnTx/>
                <a:uFillTx/>
                <a:cs typeface="Times New Roman" pitchFamily="18" charset="0"/>
              </a:rPr>
              <a:t>great impact </a:t>
            </a:r>
            <a:r>
              <a:rPr kumimoji="0" lang="en-US" sz="1200" b="0" i="0" u="none" strike="noStrike" kern="0" cap="none" spc="0" normalizeH="0" baseline="0" noProof="0" dirty="0">
                <a:ln>
                  <a:noFill/>
                </a:ln>
                <a:effectLst/>
                <a:uLnTx/>
                <a:uFillTx/>
                <a:cs typeface="Times New Roman" pitchFamily="18" charset="0"/>
              </a:rPr>
              <a:t>on the </a:t>
            </a:r>
            <a:r>
              <a:rPr kumimoji="0" lang="en-US" sz="1200" b="1" i="0" u="none" strike="noStrike" kern="0" cap="none" spc="0" normalizeH="0" baseline="0" noProof="0" dirty="0">
                <a:ln>
                  <a:noFill/>
                </a:ln>
                <a:effectLst/>
                <a:uLnTx/>
                <a:uFillTx/>
                <a:cs typeface="Times New Roman" pitchFamily="18" charset="0"/>
              </a:rPr>
              <a:t>“hard S”</a:t>
            </a:r>
          </a:p>
        </p:txBody>
      </p:sp>
      <p:cxnSp>
        <p:nvCxnSpPr>
          <p:cNvPr id="67" name="Straight Connector 66">
            <a:extLst>
              <a:ext uri="{FF2B5EF4-FFF2-40B4-BE49-F238E27FC236}">
                <a16:creationId xmlns:a16="http://schemas.microsoft.com/office/drawing/2014/main" id="{7EF18E8A-E394-414E-8665-7105D24209B4}"/>
              </a:ext>
            </a:extLst>
          </p:cNvPr>
          <p:cNvCxnSpPr/>
          <p:nvPr/>
        </p:nvCxnSpPr>
        <p:spPr>
          <a:xfrm flipH="1">
            <a:off x="8972410" y="2899429"/>
            <a:ext cx="8953" cy="2256278"/>
          </a:xfrm>
          <a:prstGeom prst="line">
            <a:avLst/>
          </a:prstGeom>
          <a:noFill/>
          <a:ln w="31750" cap="flat" cmpd="sng" algn="ctr">
            <a:solidFill>
              <a:srgbClr val="FFFFFF">
                <a:lumMod val="50000"/>
              </a:srgbClr>
            </a:solidFill>
            <a:prstDash val="solid"/>
          </a:ln>
          <a:effectLst/>
        </p:spPr>
      </p:cxnSp>
      <p:cxnSp>
        <p:nvCxnSpPr>
          <p:cNvPr id="68" name="Straight Connector 67">
            <a:extLst>
              <a:ext uri="{FF2B5EF4-FFF2-40B4-BE49-F238E27FC236}">
                <a16:creationId xmlns:a16="http://schemas.microsoft.com/office/drawing/2014/main" id="{A7F30BE5-D8A6-4957-925E-D8A2836ECA9C}"/>
              </a:ext>
            </a:extLst>
          </p:cNvPr>
          <p:cNvCxnSpPr/>
          <p:nvPr/>
        </p:nvCxnSpPr>
        <p:spPr bwMode="auto">
          <a:xfrm flipH="1">
            <a:off x="9431185" y="5010501"/>
            <a:ext cx="1237910" cy="725892"/>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69" name="Straight Connector 68">
            <a:extLst>
              <a:ext uri="{FF2B5EF4-FFF2-40B4-BE49-F238E27FC236}">
                <a16:creationId xmlns:a16="http://schemas.microsoft.com/office/drawing/2014/main" id="{96F811A9-A83D-4DA0-918F-A5D0F4079C85}"/>
              </a:ext>
            </a:extLst>
          </p:cNvPr>
          <p:cNvCxnSpPr/>
          <p:nvPr/>
        </p:nvCxnSpPr>
        <p:spPr bwMode="auto">
          <a:xfrm>
            <a:off x="7332611" y="4949844"/>
            <a:ext cx="1152042" cy="913189"/>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70" name="Straight Connector 69">
            <a:extLst>
              <a:ext uri="{FF2B5EF4-FFF2-40B4-BE49-F238E27FC236}">
                <a16:creationId xmlns:a16="http://schemas.microsoft.com/office/drawing/2014/main" id="{013FF84B-8FFC-4310-9C9D-E38B1DCAF5E8}"/>
              </a:ext>
            </a:extLst>
          </p:cNvPr>
          <p:cNvCxnSpPr/>
          <p:nvPr/>
        </p:nvCxnSpPr>
        <p:spPr bwMode="auto">
          <a:xfrm flipV="1">
            <a:off x="7332611" y="3306027"/>
            <a:ext cx="3318280" cy="1583159"/>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71" name="Straight Connector 70">
            <a:extLst>
              <a:ext uri="{FF2B5EF4-FFF2-40B4-BE49-F238E27FC236}">
                <a16:creationId xmlns:a16="http://schemas.microsoft.com/office/drawing/2014/main" id="{A5716012-8EFC-4ABD-AD8A-053D95B22020}"/>
              </a:ext>
            </a:extLst>
          </p:cNvPr>
          <p:cNvCxnSpPr/>
          <p:nvPr/>
        </p:nvCxnSpPr>
        <p:spPr bwMode="auto">
          <a:xfrm>
            <a:off x="7344742" y="3172581"/>
            <a:ext cx="1235553" cy="2476412"/>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72" name="Straight Connector 71">
            <a:extLst>
              <a:ext uri="{FF2B5EF4-FFF2-40B4-BE49-F238E27FC236}">
                <a16:creationId xmlns:a16="http://schemas.microsoft.com/office/drawing/2014/main" id="{10FD8B11-F22C-4567-BB82-1BB0DB167E32}"/>
              </a:ext>
            </a:extLst>
          </p:cNvPr>
          <p:cNvCxnSpPr/>
          <p:nvPr/>
        </p:nvCxnSpPr>
        <p:spPr bwMode="auto">
          <a:xfrm flipH="1">
            <a:off x="9417096" y="3239303"/>
            <a:ext cx="1226270" cy="2270238"/>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73" name="Straight Connector 72">
            <a:extLst>
              <a:ext uri="{FF2B5EF4-FFF2-40B4-BE49-F238E27FC236}">
                <a16:creationId xmlns:a16="http://schemas.microsoft.com/office/drawing/2014/main" id="{3A3E5274-A426-4EF1-8CF0-61ABC2A7AACB}"/>
              </a:ext>
            </a:extLst>
          </p:cNvPr>
          <p:cNvCxnSpPr/>
          <p:nvPr/>
        </p:nvCxnSpPr>
        <p:spPr bwMode="auto">
          <a:xfrm rot="120000">
            <a:off x="7313923" y="3189506"/>
            <a:ext cx="3348614" cy="73581"/>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74" name="Straight Connector 73">
            <a:extLst>
              <a:ext uri="{FF2B5EF4-FFF2-40B4-BE49-F238E27FC236}">
                <a16:creationId xmlns:a16="http://schemas.microsoft.com/office/drawing/2014/main" id="{648D5B86-B48B-478D-B73B-55EDF93F9247}"/>
              </a:ext>
            </a:extLst>
          </p:cNvPr>
          <p:cNvCxnSpPr/>
          <p:nvPr/>
        </p:nvCxnSpPr>
        <p:spPr bwMode="auto">
          <a:xfrm>
            <a:off x="7381139" y="3166514"/>
            <a:ext cx="3166630" cy="1904644"/>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75" name="Straight Connector 74">
            <a:extLst>
              <a:ext uri="{FF2B5EF4-FFF2-40B4-BE49-F238E27FC236}">
                <a16:creationId xmlns:a16="http://schemas.microsoft.com/office/drawing/2014/main" id="{798C7870-33B6-405F-A5F3-C1E260074FD4}"/>
              </a:ext>
            </a:extLst>
          </p:cNvPr>
          <p:cNvCxnSpPr/>
          <p:nvPr/>
        </p:nvCxnSpPr>
        <p:spPr bwMode="auto">
          <a:xfrm>
            <a:off x="9068429" y="2232394"/>
            <a:ext cx="1479338" cy="2772042"/>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76" name="Straight Connector 75">
            <a:extLst>
              <a:ext uri="{FF2B5EF4-FFF2-40B4-BE49-F238E27FC236}">
                <a16:creationId xmlns:a16="http://schemas.microsoft.com/office/drawing/2014/main" id="{02892BE9-4C9E-4701-9759-CC5D464C544B}"/>
              </a:ext>
            </a:extLst>
          </p:cNvPr>
          <p:cNvCxnSpPr/>
          <p:nvPr/>
        </p:nvCxnSpPr>
        <p:spPr bwMode="auto">
          <a:xfrm>
            <a:off x="9068429" y="2232394"/>
            <a:ext cx="1540004" cy="1019039"/>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77" name="Straight Connector 76">
            <a:extLst>
              <a:ext uri="{FF2B5EF4-FFF2-40B4-BE49-F238E27FC236}">
                <a16:creationId xmlns:a16="http://schemas.microsoft.com/office/drawing/2014/main" id="{D763ED25-7E1B-4954-8F5C-30480A41AC5E}"/>
              </a:ext>
            </a:extLst>
          </p:cNvPr>
          <p:cNvCxnSpPr/>
          <p:nvPr/>
        </p:nvCxnSpPr>
        <p:spPr bwMode="auto">
          <a:xfrm flipH="1">
            <a:off x="7332612" y="2302120"/>
            <a:ext cx="1526616" cy="888657"/>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78" name="Straight Connector 77">
            <a:extLst>
              <a:ext uri="{FF2B5EF4-FFF2-40B4-BE49-F238E27FC236}">
                <a16:creationId xmlns:a16="http://schemas.microsoft.com/office/drawing/2014/main" id="{B47C97E3-0A2E-43EC-A844-91ED7E269B24}"/>
              </a:ext>
            </a:extLst>
          </p:cNvPr>
          <p:cNvCxnSpPr/>
          <p:nvPr/>
        </p:nvCxnSpPr>
        <p:spPr bwMode="auto">
          <a:xfrm flipH="1">
            <a:off x="7332611" y="2302120"/>
            <a:ext cx="1596351" cy="2647723"/>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79" name="Straight Connector 78">
            <a:extLst>
              <a:ext uri="{FF2B5EF4-FFF2-40B4-BE49-F238E27FC236}">
                <a16:creationId xmlns:a16="http://schemas.microsoft.com/office/drawing/2014/main" id="{1C4D005D-C60E-4FA0-83DC-533395355F13}"/>
              </a:ext>
            </a:extLst>
          </p:cNvPr>
          <p:cNvCxnSpPr/>
          <p:nvPr/>
        </p:nvCxnSpPr>
        <p:spPr bwMode="auto">
          <a:xfrm rot="120000" flipH="1" flipV="1">
            <a:off x="7332727" y="4983481"/>
            <a:ext cx="3319498" cy="64775"/>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80" name="Straight Connector 79">
            <a:extLst>
              <a:ext uri="{FF2B5EF4-FFF2-40B4-BE49-F238E27FC236}">
                <a16:creationId xmlns:a16="http://schemas.microsoft.com/office/drawing/2014/main" id="{3BA82CCE-4D1F-4B63-AB43-B37D2BF2F217}"/>
              </a:ext>
            </a:extLst>
          </p:cNvPr>
          <p:cNvCxnSpPr/>
          <p:nvPr/>
        </p:nvCxnSpPr>
        <p:spPr bwMode="auto">
          <a:xfrm rot="60000" flipH="1">
            <a:off x="7301093" y="3202909"/>
            <a:ext cx="61928" cy="1819722"/>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cxnSp>
        <p:nvCxnSpPr>
          <p:cNvPr id="81" name="Straight Connector 80">
            <a:extLst>
              <a:ext uri="{FF2B5EF4-FFF2-40B4-BE49-F238E27FC236}">
                <a16:creationId xmlns:a16="http://schemas.microsoft.com/office/drawing/2014/main" id="{B43A071B-48D1-4159-A779-2FE83F269A85}"/>
              </a:ext>
            </a:extLst>
          </p:cNvPr>
          <p:cNvCxnSpPr/>
          <p:nvPr/>
        </p:nvCxnSpPr>
        <p:spPr bwMode="auto">
          <a:xfrm rot="60000" flipH="1">
            <a:off x="10590216" y="3196842"/>
            <a:ext cx="61928" cy="1819722"/>
          </a:xfrm>
          <a:prstGeom prst="line">
            <a:avLst/>
          </a:prstGeom>
          <a:gradFill>
            <a:gsLst>
              <a:gs pos="0">
                <a:srgbClr val="FA9706"/>
              </a:gs>
              <a:gs pos="100000">
                <a:srgbClr val="FFC000"/>
              </a:gs>
            </a:gsLst>
            <a:lin ang="10800000" scaled="0"/>
          </a:gradFill>
          <a:ln w="38100" cap="flat" cmpd="sng" algn="ctr">
            <a:solidFill>
              <a:sysClr val="windowText" lastClr="000000">
                <a:lumMod val="50000"/>
                <a:lumOff val="50000"/>
              </a:sysClr>
            </a:solidFill>
            <a:prstDash val="solid"/>
          </a:ln>
          <a:effectLst/>
          <a:scene3d>
            <a:camera prst="perspectiveAbove" fov="2400000">
              <a:rot lat="21594000" lon="21594000" rev="180000"/>
            </a:camera>
            <a:lightRig rig="threePt" dir="t"/>
          </a:scene3d>
          <a:sp3d extrusionH="323850" prstMaterial="matte"/>
        </p:spPr>
      </p:cxnSp>
      <p:sp>
        <p:nvSpPr>
          <p:cNvPr id="82" name="Ellipse 98">
            <a:extLst>
              <a:ext uri="{FF2B5EF4-FFF2-40B4-BE49-F238E27FC236}">
                <a16:creationId xmlns:a16="http://schemas.microsoft.com/office/drawing/2014/main" id="{8D35B008-6658-45FD-A4B3-A2FABA96630E}"/>
              </a:ext>
            </a:extLst>
          </p:cNvPr>
          <p:cNvSpPr/>
          <p:nvPr>
            <p:custDataLst>
              <p:tags r:id="rId2"/>
            </p:custDataLst>
          </p:nvPr>
        </p:nvSpPr>
        <p:spPr bwMode="auto">
          <a:xfrm>
            <a:off x="7206822" y="6148051"/>
            <a:ext cx="3556284" cy="470818"/>
          </a:xfrm>
          <a:prstGeom prst="ellipse">
            <a:avLst/>
          </a:prstGeom>
          <a:gradFill flip="none" rotWithShape="1">
            <a:gsLst>
              <a:gs pos="100000">
                <a:srgbClr val="FFFFFF">
                  <a:alpha val="0"/>
                </a:srgbClr>
              </a:gs>
              <a:gs pos="0">
                <a:srgbClr val="E6E6E6">
                  <a:lumMod val="10000"/>
                  <a:alpha val="19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dirty="0">
              <a:solidFill>
                <a:srgbClr val="FFFFFF"/>
              </a:solidFill>
              <a:latin typeface="Calibri" pitchFamily="34" charset="0"/>
            </a:endParaRPr>
          </a:p>
        </p:txBody>
      </p:sp>
      <p:sp>
        <p:nvSpPr>
          <p:cNvPr id="83" name="Ellipse 98">
            <a:extLst>
              <a:ext uri="{FF2B5EF4-FFF2-40B4-BE49-F238E27FC236}">
                <a16:creationId xmlns:a16="http://schemas.microsoft.com/office/drawing/2014/main" id="{8A77E501-DFBE-496F-B48D-398EA0F4E9FD}"/>
              </a:ext>
            </a:extLst>
          </p:cNvPr>
          <p:cNvSpPr/>
          <p:nvPr>
            <p:custDataLst>
              <p:tags r:id="rId3"/>
            </p:custDataLst>
          </p:nvPr>
        </p:nvSpPr>
        <p:spPr bwMode="auto">
          <a:xfrm>
            <a:off x="8183065" y="6267818"/>
            <a:ext cx="1603796" cy="245984"/>
          </a:xfrm>
          <a:prstGeom prst="ellipse">
            <a:avLst/>
          </a:prstGeom>
          <a:gradFill flip="none" rotWithShape="1">
            <a:gsLst>
              <a:gs pos="100000">
                <a:srgbClr val="FFFFFF">
                  <a:alpha val="0"/>
                </a:srgbClr>
              </a:gs>
              <a:gs pos="0">
                <a:srgbClr val="E6E6E6">
                  <a:lumMod val="10000"/>
                  <a:alpha val="47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dirty="0">
              <a:solidFill>
                <a:srgbClr val="FFFFFF"/>
              </a:solidFill>
              <a:latin typeface="+mn-lt"/>
            </a:endParaRPr>
          </a:p>
        </p:txBody>
      </p:sp>
      <p:sp>
        <p:nvSpPr>
          <p:cNvPr id="84" name="Oval 83">
            <a:extLst>
              <a:ext uri="{FF2B5EF4-FFF2-40B4-BE49-F238E27FC236}">
                <a16:creationId xmlns:a16="http://schemas.microsoft.com/office/drawing/2014/main" id="{B53FCBE4-3005-4CCB-9CFD-24341F51C774}"/>
              </a:ext>
            </a:extLst>
          </p:cNvPr>
          <p:cNvSpPr/>
          <p:nvPr/>
        </p:nvSpPr>
        <p:spPr>
          <a:xfrm>
            <a:off x="8386635" y="1721349"/>
            <a:ext cx="1171832" cy="1171832"/>
          </a:xfrm>
          <a:prstGeom prst="ellipse">
            <a:avLst/>
          </a:prstGeom>
          <a:solidFill>
            <a:schemeClr val="bg2"/>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a typeface="+mn-ea"/>
              <a:cs typeface="+mn-cs"/>
            </a:endParaRPr>
          </a:p>
        </p:txBody>
      </p:sp>
      <p:sp>
        <p:nvSpPr>
          <p:cNvPr id="85" name="TextBox 84">
            <a:extLst>
              <a:ext uri="{FF2B5EF4-FFF2-40B4-BE49-F238E27FC236}">
                <a16:creationId xmlns:a16="http://schemas.microsoft.com/office/drawing/2014/main" id="{D402135E-711A-45C3-A62B-E37046630509}"/>
              </a:ext>
            </a:extLst>
          </p:cNvPr>
          <p:cNvSpPr txBox="1"/>
          <p:nvPr/>
        </p:nvSpPr>
        <p:spPr bwMode="auto">
          <a:xfrm>
            <a:off x="8386635" y="2168097"/>
            <a:ext cx="1120678" cy="318240"/>
          </a:xfrm>
          <a:prstGeom prst="rect">
            <a:avLst/>
          </a:prstGeom>
          <a:noFill/>
        </p:spPr>
        <p:txBody>
          <a:bodyPr>
            <a:spAutoFit/>
          </a:bodyPr>
          <a:lstStyle/>
          <a:p>
            <a:pPr algn="ctr">
              <a:defRPr/>
            </a:pPr>
            <a:r>
              <a:rPr lang="en-US" sz="1600" b="1" kern="0" dirty="0">
                <a:ln w="18415" cmpd="sng">
                  <a:noFill/>
                  <a:prstDash val="solid"/>
                </a:ln>
                <a:solidFill>
                  <a:sysClr val="window" lastClr="FFFFFF"/>
                </a:solidFill>
                <a:effectLst>
                  <a:outerShdw blurRad="63500" dir="3600000" algn="tl" rotWithShape="0">
                    <a:srgbClr val="000000">
                      <a:alpha val="70000"/>
                    </a:srgbClr>
                  </a:outerShdw>
                </a:effectLst>
                <a:cs typeface="Arial" pitchFamily="34" charset="0"/>
              </a:rPr>
              <a:t>Structure</a:t>
            </a:r>
          </a:p>
        </p:txBody>
      </p:sp>
      <p:sp>
        <p:nvSpPr>
          <p:cNvPr id="86" name="Oval 85">
            <a:extLst>
              <a:ext uri="{FF2B5EF4-FFF2-40B4-BE49-F238E27FC236}">
                <a16:creationId xmlns:a16="http://schemas.microsoft.com/office/drawing/2014/main" id="{CDCEAA6B-4FF0-4C80-92F7-BCF4C05076FF}"/>
              </a:ext>
            </a:extLst>
          </p:cNvPr>
          <p:cNvSpPr/>
          <p:nvPr/>
        </p:nvSpPr>
        <p:spPr>
          <a:xfrm>
            <a:off x="9975451" y="2459732"/>
            <a:ext cx="1171832" cy="1171832"/>
          </a:xfrm>
          <a:prstGeom prst="ellipse">
            <a:avLst/>
          </a:prstGeom>
          <a:solidFill>
            <a:schemeClr val="bg2"/>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a typeface="+mn-ea"/>
              <a:cs typeface="+mn-cs"/>
            </a:endParaRPr>
          </a:p>
        </p:txBody>
      </p:sp>
      <p:sp>
        <p:nvSpPr>
          <p:cNvPr id="87" name="TextBox 86">
            <a:extLst>
              <a:ext uri="{FF2B5EF4-FFF2-40B4-BE49-F238E27FC236}">
                <a16:creationId xmlns:a16="http://schemas.microsoft.com/office/drawing/2014/main" id="{70B427F4-C7F4-4EE9-B8F6-64084FD2C902}"/>
              </a:ext>
            </a:extLst>
          </p:cNvPr>
          <p:cNvSpPr txBox="1"/>
          <p:nvPr/>
        </p:nvSpPr>
        <p:spPr bwMode="auto">
          <a:xfrm>
            <a:off x="10004532" y="2898974"/>
            <a:ext cx="1169921" cy="318240"/>
          </a:xfrm>
          <a:prstGeom prst="rect">
            <a:avLst/>
          </a:prstGeom>
          <a:noFill/>
        </p:spPr>
        <p:txBody>
          <a:bodyPr>
            <a:spAutoFit/>
          </a:bodyPr>
          <a:lstStyle/>
          <a:p>
            <a:pPr algn="ctr">
              <a:defRPr/>
            </a:pPr>
            <a:r>
              <a:rPr lang="en-US" sz="1600" b="1" kern="0" dirty="0">
                <a:ln w="18415" cmpd="sng">
                  <a:noFill/>
                  <a:prstDash val="solid"/>
                </a:ln>
                <a:solidFill>
                  <a:sysClr val="window" lastClr="FFFFFF"/>
                </a:solidFill>
                <a:effectLst>
                  <a:outerShdw blurRad="63500" dir="3600000" algn="tl" rotWithShape="0">
                    <a:srgbClr val="000000">
                      <a:alpha val="70000"/>
                    </a:srgbClr>
                  </a:outerShdw>
                </a:effectLst>
                <a:cs typeface="Arial" pitchFamily="34" charset="0"/>
              </a:rPr>
              <a:t>System</a:t>
            </a:r>
          </a:p>
        </p:txBody>
      </p:sp>
      <p:sp>
        <p:nvSpPr>
          <p:cNvPr id="88" name="Oval 87">
            <a:extLst>
              <a:ext uri="{FF2B5EF4-FFF2-40B4-BE49-F238E27FC236}">
                <a16:creationId xmlns:a16="http://schemas.microsoft.com/office/drawing/2014/main" id="{226F1242-C14D-4839-BEEE-F73CA259A678}"/>
              </a:ext>
            </a:extLst>
          </p:cNvPr>
          <p:cNvSpPr/>
          <p:nvPr/>
        </p:nvSpPr>
        <p:spPr>
          <a:xfrm>
            <a:off x="6798823" y="2459732"/>
            <a:ext cx="1171832" cy="1171832"/>
          </a:xfrm>
          <a:prstGeom prst="ellipse">
            <a:avLst/>
          </a:prstGeom>
          <a:solidFill>
            <a:schemeClr val="bg2"/>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a typeface="+mn-ea"/>
              <a:cs typeface="+mn-cs"/>
            </a:endParaRPr>
          </a:p>
        </p:txBody>
      </p:sp>
      <p:sp>
        <p:nvSpPr>
          <p:cNvPr id="89" name="TextBox 88">
            <a:extLst>
              <a:ext uri="{FF2B5EF4-FFF2-40B4-BE49-F238E27FC236}">
                <a16:creationId xmlns:a16="http://schemas.microsoft.com/office/drawing/2014/main" id="{EDBDAF5A-9EB3-4FC1-A4C2-976E9D947CBC}"/>
              </a:ext>
            </a:extLst>
          </p:cNvPr>
          <p:cNvSpPr txBox="1"/>
          <p:nvPr/>
        </p:nvSpPr>
        <p:spPr bwMode="auto">
          <a:xfrm>
            <a:off x="6793749" y="2898974"/>
            <a:ext cx="1169921" cy="318240"/>
          </a:xfrm>
          <a:prstGeom prst="rect">
            <a:avLst/>
          </a:prstGeom>
          <a:noFill/>
        </p:spPr>
        <p:txBody>
          <a:bodyPr>
            <a:spAutoFit/>
          </a:bodyPr>
          <a:lstStyle/>
          <a:p>
            <a:pPr algn="ctr">
              <a:defRPr/>
            </a:pPr>
            <a:r>
              <a:rPr lang="en-US" sz="1600" b="1" kern="0" dirty="0">
                <a:ln w="18415" cmpd="sng">
                  <a:noFill/>
                  <a:prstDash val="solid"/>
                </a:ln>
                <a:solidFill>
                  <a:sysClr val="window" lastClr="FFFFFF"/>
                </a:solidFill>
                <a:effectLst>
                  <a:outerShdw blurRad="63500" dir="3600000" algn="tl" rotWithShape="0">
                    <a:srgbClr val="000000">
                      <a:alpha val="70000"/>
                    </a:srgbClr>
                  </a:outerShdw>
                </a:effectLst>
                <a:cs typeface="Arial" pitchFamily="34" charset="0"/>
              </a:rPr>
              <a:t>Strategy</a:t>
            </a:r>
          </a:p>
        </p:txBody>
      </p:sp>
      <p:sp>
        <p:nvSpPr>
          <p:cNvPr id="90" name="Oval 89">
            <a:extLst>
              <a:ext uri="{FF2B5EF4-FFF2-40B4-BE49-F238E27FC236}">
                <a16:creationId xmlns:a16="http://schemas.microsoft.com/office/drawing/2014/main" id="{25841D85-FE4F-4580-995C-EAB655207402}"/>
              </a:ext>
            </a:extLst>
          </p:cNvPr>
          <p:cNvSpPr/>
          <p:nvPr/>
        </p:nvSpPr>
        <p:spPr>
          <a:xfrm>
            <a:off x="9975451" y="4250960"/>
            <a:ext cx="1171832" cy="1171832"/>
          </a:xfrm>
          <a:prstGeom prst="ellipse">
            <a:avLst/>
          </a:prstGeom>
          <a:solidFill>
            <a:schemeClr val="bg1">
              <a:lumMod val="50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a typeface="+mn-ea"/>
              <a:cs typeface="+mn-cs"/>
            </a:endParaRPr>
          </a:p>
        </p:txBody>
      </p:sp>
      <p:sp>
        <p:nvSpPr>
          <p:cNvPr id="91" name="TextBox 90">
            <a:extLst>
              <a:ext uri="{FF2B5EF4-FFF2-40B4-BE49-F238E27FC236}">
                <a16:creationId xmlns:a16="http://schemas.microsoft.com/office/drawing/2014/main" id="{AFA7157C-4C9D-4422-B70B-7D598F92D99D}"/>
              </a:ext>
            </a:extLst>
          </p:cNvPr>
          <p:cNvSpPr txBox="1"/>
          <p:nvPr/>
        </p:nvSpPr>
        <p:spPr bwMode="auto">
          <a:xfrm>
            <a:off x="10004532" y="4690202"/>
            <a:ext cx="1169921" cy="318240"/>
          </a:xfrm>
          <a:prstGeom prst="rect">
            <a:avLst/>
          </a:prstGeom>
          <a:noFill/>
        </p:spPr>
        <p:txBody>
          <a:bodyPr>
            <a:spAutoFit/>
          </a:bodyPr>
          <a:lstStyle/>
          <a:p>
            <a:pPr algn="ctr">
              <a:defRPr/>
            </a:pPr>
            <a:r>
              <a:rPr lang="en-US" sz="1600" b="1" kern="0" dirty="0">
                <a:ln w="18415" cmpd="sng">
                  <a:noFill/>
                  <a:prstDash val="solid"/>
                </a:ln>
                <a:solidFill>
                  <a:sysClr val="window" lastClr="FFFFFF"/>
                </a:solidFill>
                <a:effectLst>
                  <a:outerShdw blurRad="63500" dir="3600000" algn="tl" rotWithShape="0">
                    <a:srgbClr val="000000">
                      <a:alpha val="70000"/>
                    </a:srgbClr>
                  </a:outerShdw>
                </a:effectLst>
                <a:cs typeface="Arial" pitchFamily="34" charset="0"/>
              </a:rPr>
              <a:t>Style</a:t>
            </a:r>
          </a:p>
        </p:txBody>
      </p:sp>
      <p:sp>
        <p:nvSpPr>
          <p:cNvPr id="92" name="Oval 91">
            <a:extLst>
              <a:ext uri="{FF2B5EF4-FFF2-40B4-BE49-F238E27FC236}">
                <a16:creationId xmlns:a16="http://schemas.microsoft.com/office/drawing/2014/main" id="{E70A437C-EB08-4172-BF9C-EDE1C92DA872}"/>
              </a:ext>
            </a:extLst>
          </p:cNvPr>
          <p:cNvSpPr/>
          <p:nvPr/>
        </p:nvSpPr>
        <p:spPr>
          <a:xfrm>
            <a:off x="6798823" y="4250960"/>
            <a:ext cx="1171832" cy="1171832"/>
          </a:xfrm>
          <a:prstGeom prst="ellipse">
            <a:avLst/>
          </a:prstGeom>
          <a:solidFill>
            <a:schemeClr val="bg1">
              <a:lumMod val="50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a typeface="+mn-ea"/>
              <a:cs typeface="+mn-cs"/>
            </a:endParaRPr>
          </a:p>
        </p:txBody>
      </p:sp>
      <p:sp>
        <p:nvSpPr>
          <p:cNvPr id="93" name="TextBox 92">
            <a:extLst>
              <a:ext uri="{FF2B5EF4-FFF2-40B4-BE49-F238E27FC236}">
                <a16:creationId xmlns:a16="http://schemas.microsoft.com/office/drawing/2014/main" id="{06ABEDA8-0016-4EE2-BAD8-4C677E0CF08D}"/>
              </a:ext>
            </a:extLst>
          </p:cNvPr>
          <p:cNvSpPr txBox="1"/>
          <p:nvPr/>
        </p:nvSpPr>
        <p:spPr bwMode="auto">
          <a:xfrm>
            <a:off x="6793749" y="4690202"/>
            <a:ext cx="1169921" cy="318240"/>
          </a:xfrm>
          <a:prstGeom prst="rect">
            <a:avLst/>
          </a:prstGeom>
          <a:noFill/>
        </p:spPr>
        <p:txBody>
          <a:bodyPr>
            <a:spAutoFit/>
          </a:bodyPr>
          <a:lstStyle/>
          <a:p>
            <a:pPr algn="ctr">
              <a:defRPr/>
            </a:pPr>
            <a:r>
              <a:rPr lang="en-US" sz="1600" b="1" kern="0" dirty="0">
                <a:ln w="18415" cmpd="sng">
                  <a:noFill/>
                  <a:prstDash val="solid"/>
                </a:ln>
                <a:solidFill>
                  <a:sysClr val="window" lastClr="FFFFFF"/>
                </a:solidFill>
                <a:effectLst>
                  <a:outerShdw blurRad="63500" dir="3600000" algn="tl" rotWithShape="0">
                    <a:srgbClr val="000000">
                      <a:alpha val="70000"/>
                    </a:srgbClr>
                  </a:outerShdw>
                </a:effectLst>
                <a:cs typeface="Arial" pitchFamily="34" charset="0"/>
              </a:rPr>
              <a:t>Skill</a:t>
            </a:r>
          </a:p>
        </p:txBody>
      </p:sp>
      <p:sp>
        <p:nvSpPr>
          <p:cNvPr id="94" name="Oval 93">
            <a:extLst>
              <a:ext uri="{FF2B5EF4-FFF2-40B4-BE49-F238E27FC236}">
                <a16:creationId xmlns:a16="http://schemas.microsoft.com/office/drawing/2014/main" id="{F919EB9D-D588-43D0-A1CC-3D544CCE1298}"/>
              </a:ext>
            </a:extLst>
          </p:cNvPr>
          <p:cNvSpPr/>
          <p:nvPr/>
        </p:nvSpPr>
        <p:spPr>
          <a:xfrm>
            <a:off x="8386635" y="5135867"/>
            <a:ext cx="1171832" cy="1171832"/>
          </a:xfrm>
          <a:prstGeom prst="ellipse">
            <a:avLst/>
          </a:prstGeom>
          <a:solidFill>
            <a:schemeClr val="bg1">
              <a:lumMod val="50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a typeface="+mn-ea"/>
              <a:cs typeface="+mn-cs"/>
            </a:endParaRPr>
          </a:p>
        </p:txBody>
      </p:sp>
      <p:sp>
        <p:nvSpPr>
          <p:cNvPr id="95" name="TextBox 94">
            <a:extLst>
              <a:ext uri="{FF2B5EF4-FFF2-40B4-BE49-F238E27FC236}">
                <a16:creationId xmlns:a16="http://schemas.microsoft.com/office/drawing/2014/main" id="{3D9D741C-6862-448A-89C9-42C7C37145C5}"/>
              </a:ext>
            </a:extLst>
          </p:cNvPr>
          <p:cNvSpPr txBox="1"/>
          <p:nvPr/>
        </p:nvSpPr>
        <p:spPr bwMode="auto">
          <a:xfrm>
            <a:off x="8386635" y="5582616"/>
            <a:ext cx="1120678" cy="318240"/>
          </a:xfrm>
          <a:prstGeom prst="rect">
            <a:avLst/>
          </a:prstGeom>
          <a:noFill/>
        </p:spPr>
        <p:txBody>
          <a:bodyPr>
            <a:spAutoFit/>
          </a:bodyPr>
          <a:lstStyle/>
          <a:p>
            <a:pPr algn="ctr">
              <a:defRPr/>
            </a:pPr>
            <a:r>
              <a:rPr lang="en-US" sz="1600" b="1" kern="0" dirty="0">
                <a:ln w="18415" cmpd="sng">
                  <a:noFill/>
                  <a:prstDash val="solid"/>
                </a:ln>
                <a:solidFill>
                  <a:sysClr val="window" lastClr="FFFFFF"/>
                </a:solidFill>
                <a:effectLst>
                  <a:outerShdw blurRad="63500" dir="3600000" algn="tl" rotWithShape="0">
                    <a:srgbClr val="000000">
                      <a:alpha val="70000"/>
                    </a:srgbClr>
                  </a:outerShdw>
                </a:effectLst>
                <a:cs typeface="Arial" pitchFamily="34" charset="0"/>
              </a:rPr>
              <a:t>Staff</a:t>
            </a:r>
          </a:p>
        </p:txBody>
      </p:sp>
      <p:sp>
        <p:nvSpPr>
          <p:cNvPr id="96" name="Oval 95">
            <a:extLst>
              <a:ext uri="{FF2B5EF4-FFF2-40B4-BE49-F238E27FC236}">
                <a16:creationId xmlns:a16="http://schemas.microsoft.com/office/drawing/2014/main" id="{FF15A655-3262-412C-AA4E-FCF43551B729}"/>
              </a:ext>
            </a:extLst>
          </p:cNvPr>
          <p:cNvSpPr/>
          <p:nvPr/>
        </p:nvSpPr>
        <p:spPr>
          <a:xfrm>
            <a:off x="8305250" y="3288943"/>
            <a:ext cx="1372130" cy="1372131"/>
          </a:xfrm>
          <a:prstGeom prst="ellipse">
            <a:avLst/>
          </a:prstGeom>
          <a:solidFill>
            <a:schemeClr val="bg1">
              <a:lumMod val="50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a typeface="+mn-ea"/>
              <a:cs typeface="+mn-cs"/>
            </a:endParaRPr>
          </a:p>
        </p:txBody>
      </p:sp>
      <p:sp>
        <p:nvSpPr>
          <p:cNvPr id="97" name="TextBox 96">
            <a:extLst>
              <a:ext uri="{FF2B5EF4-FFF2-40B4-BE49-F238E27FC236}">
                <a16:creationId xmlns:a16="http://schemas.microsoft.com/office/drawing/2014/main" id="{31E1EF66-9BD7-4F1D-9556-DDCB61A7485D}"/>
              </a:ext>
            </a:extLst>
          </p:cNvPr>
          <p:cNvSpPr txBox="1"/>
          <p:nvPr/>
        </p:nvSpPr>
        <p:spPr bwMode="auto">
          <a:xfrm>
            <a:off x="8227421" y="3728243"/>
            <a:ext cx="1532539" cy="549688"/>
          </a:xfrm>
          <a:prstGeom prst="rect">
            <a:avLst/>
          </a:prstGeom>
          <a:noFill/>
        </p:spPr>
        <p:txBody>
          <a:bodyPr anchor="ctr">
            <a:spAutoFit/>
          </a:bodyPr>
          <a:lstStyle/>
          <a:p>
            <a:pPr algn="ctr">
              <a:defRPr/>
            </a:pPr>
            <a:r>
              <a:rPr lang="en-US" sz="1600" b="1" kern="0" dirty="0">
                <a:solidFill>
                  <a:sysClr val="window" lastClr="FFFFFF"/>
                </a:solidFill>
                <a:effectLst>
                  <a:outerShdw blurRad="38100" dist="38100" dir="2700000" algn="tl">
                    <a:srgbClr val="000000">
                      <a:alpha val="43137"/>
                    </a:srgbClr>
                  </a:outerShdw>
                </a:effectLst>
                <a:cs typeface="Arial" pitchFamily="34" charset="0"/>
              </a:rPr>
              <a:t>Shared</a:t>
            </a:r>
            <a:r>
              <a:rPr lang="en-US" sz="1600" b="1" kern="0" dirty="0">
                <a:solidFill>
                  <a:sysClr val="windowText" lastClr="000000">
                    <a:lumMod val="95000"/>
                    <a:lumOff val="5000"/>
                  </a:sysClr>
                </a:solidFill>
                <a:effectLst>
                  <a:outerShdw blurRad="50800" dist="38100" dir="5400000" algn="t" rotWithShape="0">
                    <a:prstClr val="black">
                      <a:alpha val="40000"/>
                    </a:prstClr>
                  </a:outerShdw>
                </a:effectLst>
                <a:cs typeface="Arial" pitchFamily="34" charset="0"/>
              </a:rPr>
              <a:t> </a:t>
            </a:r>
          </a:p>
          <a:p>
            <a:pPr algn="ctr">
              <a:defRPr/>
            </a:pPr>
            <a:r>
              <a:rPr lang="en-US" sz="1600" b="1" kern="0" dirty="0">
                <a:solidFill>
                  <a:sysClr val="window" lastClr="FFFFFF"/>
                </a:solidFill>
                <a:effectLst>
                  <a:outerShdw blurRad="38100" dist="38100" dir="2700000" algn="tl">
                    <a:srgbClr val="000000">
                      <a:alpha val="43137"/>
                    </a:srgbClr>
                  </a:outerShdw>
                </a:effectLst>
                <a:cs typeface="Arial" pitchFamily="34" charset="0"/>
              </a:rPr>
              <a:t>Value</a:t>
            </a:r>
          </a:p>
        </p:txBody>
      </p:sp>
      <p:sp>
        <p:nvSpPr>
          <p:cNvPr id="98" name="Rectangle 97">
            <a:extLst>
              <a:ext uri="{FF2B5EF4-FFF2-40B4-BE49-F238E27FC236}">
                <a16:creationId xmlns:a16="http://schemas.microsoft.com/office/drawing/2014/main" id="{B9B8F900-F48B-49E8-A46A-5B62A0BB9292}"/>
              </a:ext>
            </a:extLst>
          </p:cNvPr>
          <p:cNvSpPr/>
          <p:nvPr/>
        </p:nvSpPr>
        <p:spPr>
          <a:xfrm>
            <a:off x="8984101" y="474427"/>
            <a:ext cx="2603062" cy="872008"/>
          </a:xfrm>
          <a:prstGeom prst="rect">
            <a:avLst/>
          </a:prstGeom>
          <a:noFill/>
          <a:ln w="6350" cap="flat" cmpd="sng" algn="ctr">
            <a:solidFill>
              <a:srgbClr val="000000"/>
            </a:solidFill>
            <a:prstDash val="dash"/>
            <a:miter lim="800000"/>
          </a:ln>
          <a:effectLst/>
        </p:spPr>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900"/>
              </a:spcBef>
              <a:spcAft>
                <a:spcPts val="0"/>
              </a:spcAft>
              <a:buClrTx/>
              <a:buSzTx/>
              <a:buFontTx/>
              <a:buNone/>
              <a:tabLst/>
              <a:defRPr/>
            </a:pPr>
            <a:r>
              <a:rPr kumimoji="0" lang="en-AU" sz="1000" b="1" i="0" u="none" strike="noStrike" kern="0" cap="none" spc="0" normalizeH="0" baseline="0" noProof="0" dirty="0">
                <a:ln>
                  <a:noFill/>
                </a:ln>
                <a:solidFill>
                  <a:srgbClr val="002776"/>
                </a:solidFill>
                <a:effectLst/>
                <a:uLnTx/>
                <a:uFillTx/>
                <a:ea typeface="+mn-ea"/>
                <a:cs typeface="Arial" pitchFamily="34" charset="0"/>
              </a:rPr>
              <a:t>Caption:</a:t>
            </a:r>
          </a:p>
        </p:txBody>
      </p:sp>
      <p:sp>
        <p:nvSpPr>
          <p:cNvPr id="99" name="Oval 98">
            <a:extLst>
              <a:ext uri="{FF2B5EF4-FFF2-40B4-BE49-F238E27FC236}">
                <a16:creationId xmlns:a16="http://schemas.microsoft.com/office/drawing/2014/main" id="{5259EB1E-4CF4-4312-97FD-DC043DE477F1}"/>
              </a:ext>
            </a:extLst>
          </p:cNvPr>
          <p:cNvSpPr/>
          <p:nvPr/>
        </p:nvSpPr>
        <p:spPr>
          <a:xfrm>
            <a:off x="9669901" y="496123"/>
            <a:ext cx="838200" cy="838200"/>
          </a:xfrm>
          <a:prstGeom prst="ellipse">
            <a:avLst/>
          </a:prstGeom>
          <a:solidFill>
            <a:schemeClr val="tx1"/>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ea typeface="+mn-ea"/>
              <a:cs typeface="+mn-cs"/>
            </a:endParaRPr>
          </a:p>
        </p:txBody>
      </p:sp>
      <p:sp>
        <p:nvSpPr>
          <p:cNvPr id="100" name="TextBox 99">
            <a:extLst>
              <a:ext uri="{FF2B5EF4-FFF2-40B4-BE49-F238E27FC236}">
                <a16:creationId xmlns:a16="http://schemas.microsoft.com/office/drawing/2014/main" id="{7576E982-586A-48D1-BCF5-AFCFBA36558D}"/>
              </a:ext>
            </a:extLst>
          </p:cNvPr>
          <p:cNvSpPr txBox="1"/>
          <p:nvPr/>
        </p:nvSpPr>
        <p:spPr bwMode="auto">
          <a:xfrm>
            <a:off x="9684747" y="689513"/>
            <a:ext cx="808507" cy="600164"/>
          </a:xfrm>
          <a:prstGeom prst="rect">
            <a:avLst/>
          </a:prstGeom>
          <a:noFill/>
        </p:spPr>
        <p:txBody>
          <a:bodyPr wrap="square">
            <a:spAutoFit/>
          </a:bodyPr>
          <a:lstStyle/>
          <a:p>
            <a:pPr algn="ctr">
              <a:defRPr/>
            </a:pPr>
            <a:r>
              <a:rPr lang="en-US" sz="1100" b="1" kern="0" dirty="0">
                <a:ln w="18415" cmpd="sng">
                  <a:noFill/>
                  <a:prstDash val="solid"/>
                </a:ln>
                <a:solidFill>
                  <a:sysClr val="window" lastClr="FFFFFF"/>
                </a:solidFill>
                <a:effectLst>
                  <a:outerShdw blurRad="63500" dir="3600000" algn="tl" rotWithShape="0">
                    <a:srgbClr val="000000">
                      <a:alpha val="70000"/>
                    </a:srgbClr>
                  </a:outerShdw>
                </a:effectLst>
                <a:cs typeface="Arial" pitchFamily="34" charset="0"/>
              </a:rPr>
              <a:t>The 3 “Hard S”</a:t>
            </a:r>
          </a:p>
          <a:p>
            <a:pPr algn="ctr">
              <a:defRPr/>
            </a:pPr>
            <a:endParaRPr lang="en-US" sz="1100" b="1" kern="0" dirty="0">
              <a:ln w="18415" cmpd="sng">
                <a:noFill/>
                <a:prstDash val="solid"/>
              </a:ln>
              <a:solidFill>
                <a:sysClr val="window" lastClr="FFFFFF"/>
              </a:solidFill>
              <a:effectLst>
                <a:outerShdw blurRad="63500" dir="3600000" algn="tl" rotWithShape="0">
                  <a:srgbClr val="000000">
                    <a:alpha val="70000"/>
                  </a:srgbClr>
                </a:outerShdw>
              </a:effectLst>
              <a:cs typeface="Arial" pitchFamily="34" charset="0"/>
            </a:endParaRPr>
          </a:p>
        </p:txBody>
      </p:sp>
      <p:sp>
        <p:nvSpPr>
          <p:cNvPr id="101" name="Oval 100">
            <a:extLst>
              <a:ext uri="{FF2B5EF4-FFF2-40B4-BE49-F238E27FC236}">
                <a16:creationId xmlns:a16="http://schemas.microsoft.com/office/drawing/2014/main" id="{4D4A0DFD-5B92-4338-9A9C-AA4E2A83DFB3}"/>
              </a:ext>
            </a:extLst>
          </p:cNvPr>
          <p:cNvSpPr/>
          <p:nvPr/>
        </p:nvSpPr>
        <p:spPr>
          <a:xfrm>
            <a:off x="10669465" y="496123"/>
            <a:ext cx="838200" cy="838200"/>
          </a:xfrm>
          <a:prstGeom prst="ellipse">
            <a:avLst/>
          </a:prstGeom>
          <a:solidFill>
            <a:schemeClr val="bg1">
              <a:lumMod val="50000"/>
            </a:scheme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ea typeface="+mn-ea"/>
              <a:cs typeface="+mn-cs"/>
            </a:endParaRPr>
          </a:p>
        </p:txBody>
      </p:sp>
      <p:sp>
        <p:nvSpPr>
          <p:cNvPr id="102" name="TextBox 101">
            <a:extLst>
              <a:ext uri="{FF2B5EF4-FFF2-40B4-BE49-F238E27FC236}">
                <a16:creationId xmlns:a16="http://schemas.microsoft.com/office/drawing/2014/main" id="{498A1077-A84A-4BA3-A293-7BC91E1B6BBD}"/>
              </a:ext>
            </a:extLst>
          </p:cNvPr>
          <p:cNvSpPr txBox="1"/>
          <p:nvPr/>
        </p:nvSpPr>
        <p:spPr bwMode="auto">
          <a:xfrm>
            <a:off x="10684311" y="689513"/>
            <a:ext cx="808507" cy="600164"/>
          </a:xfrm>
          <a:prstGeom prst="rect">
            <a:avLst/>
          </a:prstGeom>
          <a:noFill/>
        </p:spPr>
        <p:txBody>
          <a:bodyPr wrap="square">
            <a:spAutoFit/>
          </a:bodyPr>
          <a:lstStyle/>
          <a:p>
            <a:pPr algn="ctr">
              <a:defRPr/>
            </a:pPr>
            <a:r>
              <a:rPr lang="en-US" sz="1100" b="1" kern="0" dirty="0">
                <a:ln w="18415" cmpd="sng">
                  <a:noFill/>
                  <a:prstDash val="solid"/>
                </a:ln>
                <a:solidFill>
                  <a:sysClr val="window" lastClr="FFFFFF"/>
                </a:solidFill>
                <a:effectLst>
                  <a:outerShdw blurRad="63500" dir="3600000" algn="tl" rotWithShape="0">
                    <a:srgbClr val="000000">
                      <a:alpha val="70000"/>
                    </a:srgbClr>
                  </a:outerShdw>
                </a:effectLst>
                <a:cs typeface="Arial" pitchFamily="34" charset="0"/>
              </a:rPr>
              <a:t>The 4 “Soft S”</a:t>
            </a:r>
          </a:p>
          <a:p>
            <a:pPr algn="ctr">
              <a:defRPr/>
            </a:pPr>
            <a:endParaRPr lang="en-US" sz="1100" b="1" kern="0" dirty="0">
              <a:ln w="18415" cmpd="sng">
                <a:noFill/>
                <a:prstDash val="solid"/>
              </a:ln>
              <a:solidFill>
                <a:sysClr val="window" lastClr="FFFFFF"/>
              </a:solidFill>
              <a:effectLst>
                <a:outerShdw blurRad="63500" dir="3600000" algn="tl" rotWithShape="0">
                  <a:srgbClr val="000000">
                    <a:alpha val="70000"/>
                  </a:srgbClr>
                </a:outerShdw>
              </a:effectLst>
              <a:cs typeface="Arial" pitchFamily="34" charset="0"/>
            </a:endParaRPr>
          </a:p>
        </p:txBody>
      </p:sp>
    </p:spTree>
    <p:extLst>
      <p:ext uri="{BB962C8B-B14F-4D97-AF65-F5344CB8AC3E}">
        <p14:creationId xmlns:p14="http://schemas.microsoft.com/office/powerpoint/2010/main" val="3933480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Folded Corner 1">
            <a:extLst>
              <a:ext uri="{FF2B5EF4-FFF2-40B4-BE49-F238E27FC236}">
                <a16:creationId xmlns:a16="http://schemas.microsoft.com/office/drawing/2014/main" id="{C8042D7C-02C6-41CC-9707-C9C5F6FA269D}"/>
              </a:ext>
            </a:extLst>
          </p:cNvPr>
          <p:cNvSpPr/>
          <p:nvPr/>
        </p:nvSpPr>
        <p:spPr>
          <a:xfrm>
            <a:off x="3757922" y="2253238"/>
            <a:ext cx="4676156" cy="3957062"/>
          </a:xfrm>
          <a:prstGeom prst="foldedCorner">
            <a:avLst>
              <a:gd name="adj" fmla="val 105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3987736" y="2395849"/>
            <a:ext cx="4216528" cy="31393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2200" b="1" i="0" u="none" strike="noStrike" kern="1200" cap="none" spc="0" normalizeH="0" baseline="0" noProof="0" dirty="0">
                <a:ln>
                  <a:noFill/>
                </a:ln>
                <a:solidFill>
                  <a:srgbClr val="002060"/>
                </a:solidFill>
                <a:effectLst/>
                <a:uLnTx/>
                <a:uFillTx/>
                <a:latin typeface="Arial" panose="020B0604020202020204"/>
                <a:ea typeface="+mn-ea"/>
                <a:cs typeface="+mn-cs"/>
              </a:rPr>
              <a:t>The ADKAR model was developed by Jeff Hiatt in 2003 and it was introduced as a practical tool by Prosci. The ADKAR Model will help us support individuals moving through change by identifying our change management objectives and levers.</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DKAR Model</a:t>
            </a:r>
            <a:br>
              <a:rPr lang="en-US" sz="2400" kern="0" dirty="0"/>
            </a:br>
            <a:r>
              <a:rPr lang="en-US" b="0" kern="0" dirty="0"/>
              <a:t>Purpos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1" name="Isosceles Triangle 20">
            <a:extLst>
              <a:ext uri="{FF2B5EF4-FFF2-40B4-BE49-F238E27FC236}">
                <a16:creationId xmlns:a16="http://schemas.microsoft.com/office/drawing/2014/main" id="{0BEBB444-0AAC-4415-AD72-D9E834A2A1CF}"/>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2" name="Oval 21">
            <a:extLst>
              <a:ext uri="{FF2B5EF4-FFF2-40B4-BE49-F238E27FC236}">
                <a16:creationId xmlns:a16="http://schemas.microsoft.com/office/drawing/2014/main" id="{9451C740-A260-4E73-93AE-9A3732F37470}"/>
              </a:ext>
            </a:extLst>
          </p:cNvPr>
          <p:cNvSpPr/>
          <p:nvPr/>
        </p:nvSpPr>
        <p:spPr bwMode="auto">
          <a:xfrm>
            <a:off x="6088650" y="1957867"/>
            <a:ext cx="182881" cy="182881"/>
          </a:xfrm>
          <a:prstGeom prst="ellipse">
            <a:avLst/>
          </a:prstGeom>
          <a:gradFill flip="none" rotWithShape="1">
            <a:gsLst>
              <a:gs pos="40000">
                <a:schemeClr val="tx1"/>
              </a:gs>
              <a:gs pos="100000">
                <a:schemeClr val="bg1">
                  <a:lumMod val="85000"/>
                  <a:shade val="100000"/>
                  <a:satMod val="115000"/>
                </a:schemeClr>
              </a:gs>
            </a:gsLst>
            <a:path path="circle">
              <a:fillToRect l="100000" t="100000"/>
            </a:path>
            <a:tileRect r="-100000" b="-100000"/>
          </a:gra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13326849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DKAR Model</a:t>
            </a:r>
            <a:br>
              <a:rPr lang="en-US" sz="2400" kern="0" dirty="0"/>
            </a:br>
            <a:r>
              <a:rPr lang="en-US" b="0" kern="0" dirty="0"/>
              <a:t>Description</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pSp>
        <p:nvGrpSpPr>
          <p:cNvPr id="9" name="Group 8">
            <a:extLst>
              <a:ext uri="{FF2B5EF4-FFF2-40B4-BE49-F238E27FC236}">
                <a16:creationId xmlns:a16="http://schemas.microsoft.com/office/drawing/2014/main" id="{3A6B6410-183D-494D-A92A-59454F91DF62}"/>
              </a:ext>
            </a:extLst>
          </p:cNvPr>
          <p:cNvGrpSpPr/>
          <p:nvPr/>
        </p:nvGrpSpPr>
        <p:grpSpPr>
          <a:xfrm>
            <a:off x="1686170" y="1600669"/>
            <a:ext cx="8819660" cy="4819537"/>
            <a:chOff x="800590" y="1600669"/>
            <a:chExt cx="7534274" cy="4117133"/>
          </a:xfrm>
        </p:grpSpPr>
        <p:sp>
          <p:nvSpPr>
            <p:cNvPr id="10" name="TextBox 9">
              <a:extLst>
                <a:ext uri="{FF2B5EF4-FFF2-40B4-BE49-F238E27FC236}">
                  <a16:creationId xmlns:a16="http://schemas.microsoft.com/office/drawing/2014/main" id="{935B7A3A-7C5B-4C17-B15F-159CBD44ACFF}"/>
                </a:ext>
              </a:extLst>
            </p:cNvPr>
            <p:cNvSpPr txBox="1"/>
            <p:nvPr/>
          </p:nvSpPr>
          <p:spPr>
            <a:xfrm>
              <a:off x="2382450" y="1600669"/>
              <a:ext cx="4358462" cy="400110"/>
            </a:xfrm>
            <a:prstGeom prst="rect">
              <a:avLst/>
            </a:prstGeom>
            <a:noFill/>
          </p:spPr>
          <p:txBody>
            <a:bodyPr wrap="square" rtlCol="0">
              <a:spAutoFit/>
            </a:bodyPr>
            <a:lstStyle/>
            <a:p>
              <a:pPr algn="ctr"/>
              <a:r>
                <a:rPr lang="en-US" sz="2000" b="1" dirty="0">
                  <a:solidFill>
                    <a:schemeClr val="tx2"/>
                  </a:solidFill>
                </a:rPr>
                <a:t>ADKAR is an acronym</a:t>
              </a:r>
            </a:p>
          </p:txBody>
        </p:sp>
        <p:sp>
          <p:nvSpPr>
            <p:cNvPr id="11" name="Arc 2">
              <a:extLst>
                <a:ext uri="{FF2B5EF4-FFF2-40B4-BE49-F238E27FC236}">
                  <a16:creationId xmlns:a16="http://schemas.microsoft.com/office/drawing/2014/main" id="{FE6DDBC2-DA99-4985-B3B1-C424B754D723}"/>
                </a:ext>
              </a:extLst>
            </p:cNvPr>
            <p:cNvSpPr>
              <a:spLocks/>
            </p:cNvSpPr>
            <p:nvPr/>
          </p:nvSpPr>
          <p:spPr bwMode="auto">
            <a:xfrm>
              <a:off x="1914525" y="2614239"/>
              <a:ext cx="5294313" cy="2224088"/>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accent1"/>
              </a:solidFill>
              <a:round/>
              <a:headEnd/>
              <a:tailEnd/>
            </a:ln>
          </p:spPr>
          <p:txBody>
            <a:bodyPr wrap="none" lIns="0" tIns="0" rIns="0" bIns="0" anchor="ctr"/>
            <a:lstStyle/>
            <a:p>
              <a:pPr algn="ctr" fontAlgn="auto">
                <a:spcBef>
                  <a:spcPts val="0"/>
                </a:spcBef>
                <a:spcAft>
                  <a:spcPts val="0"/>
                </a:spcAft>
                <a:defRPr/>
              </a:pPr>
              <a:endParaRPr lang="en-GB" altLang="ja-JP" sz="1400" b="1" dirty="0">
                <a:solidFill>
                  <a:schemeClr val="tx2"/>
                </a:solidFill>
                <a:latin typeface="+mn-lt"/>
                <a:ea typeface="ＭＳ Ｐゴシック" pitchFamily="50" charset="-128"/>
                <a:cs typeface="+mn-cs"/>
              </a:endParaRPr>
            </a:p>
          </p:txBody>
        </p:sp>
        <p:sp>
          <p:nvSpPr>
            <p:cNvPr id="12" name="AutoShape 4">
              <a:extLst>
                <a:ext uri="{FF2B5EF4-FFF2-40B4-BE49-F238E27FC236}">
                  <a16:creationId xmlns:a16="http://schemas.microsoft.com/office/drawing/2014/main" id="{B64624A0-E142-4938-806F-CF543E1CB903}"/>
                </a:ext>
              </a:extLst>
            </p:cNvPr>
            <p:cNvSpPr>
              <a:spLocks noChangeArrowheads="1"/>
            </p:cNvSpPr>
            <p:nvPr/>
          </p:nvSpPr>
          <p:spPr bwMode="auto">
            <a:xfrm rot="5400000" flipV="1">
              <a:off x="4459288" y="4629462"/>
              <a:ext cx="282575" cy="326339"/>
            </a:xfrm>
            <a:prstGeom prst="chevron">
              <a:avLst/>
            </a:prstGeom>
            <a:solidFill>
              <a:schemeClr val="tx1"/>
            </a:solidFill>
            <a:ln w="6350" algn="ctr">
              <a:noFill/>
              <a:miter lim="800000"/>
              <a:headEnd/>
              <a:tailEnd/>
            </a:ln>
          </p:spPr>
          <p:txBody>
            <a:bodyPr rot="10800000" tIns="91440" bIns="91440" anchor="ctr"/>
            <a:lstStyle/>
            <a:p>
              <a:pPr algn="ctr" fontAlgn="auto">
                <a:spcBef>
                  <a:spcPts val="0"/>
                </a:spcBef>
                <a:spcAft>
                  <a:spcPts val="0"/>
                </a:spcAft>
                <a:defRPr/>
              </a:pPr>
              <a:endParaRPr lang="en-GB" sz="1400" dirty="0">
                <a:latin typeface="+mn-lt"/>
                <a:cs typeface="+mn-cs"/>
              </a:endParaRPr>
            </a:p>
          </p:txBody>
        </p:sp>
        <p:sp>
          <p:nvSpPr>
            <p:cNvPr id="14" name="Oval 13">
              <a:extLst>
                <a:ext uri="{FF2B5EF4-FFF2-40B4-BE49-F238E27FC236}">
                  <a16:creationId xmlns:a16="http://schemas.microsoft.com/office/drawing/2014/main" id="{973E34C1-7C26-4E3E-9E27-EC3F2335FE05}"/>
                </a:ext>
              </a:extLst>
            </p:cNvPr>
            <p:cNvSpPr>
              <a:spLocks noChangeArrowheads="1"/>
            </p:cNvSpPr>
            <p:nvPr/>
          </p:nvSpPr>
          <p:spPr bwMode="gray">
            <a:xfrm>
              <a:off x="800590" y="3835027"/>
              <a:ext cx="1825625" cy="876300"/>
            </a:xfrm>
            <a:prstGeom prst="ellipse">
              <a:avLst/>
            </a:prstGeom>
            <a:solidFill>
              <a:schemeClr val="bg1">
                <a:lumMod val="95000"/>
              </a:schemeClr>
            </a:solidFill>
            <a:ln w="12700" algn="ctr">
              <a:solidFill>
                <a:schemeClr val="tx1"/>
              </a:solidFill>
              <a:round/>
              <a:headEnd/>
              <a:tailEnd/>
            </a:ln>
          </p:spPr>
          <p:txBody>
            <a:bodyPr wrap="none" lIns="0" tIns="18000" rIns="0" bIns="18000" anchor="ctr" anchorCtr="1"/>
            <a:lstStyle/>
            <a:p>
              <a:pPr>
                <a:lnSpc>
                  <a:spcPct val="106000"/>
                </a:lnSpc>
                <a:buClr>
                  <a:schemeClr val="tx1"/>
                </a:buClr>
              </a:pPr>
              <a:r>
                <a:rPr lang="en-GB" sz="2800" b="1" dirty="0">
                  <a:solidFill>
                    <a:schemeClr val="accent1">
                      <a:lumMod val="60000"/>
                      <a:lumOff val="40000"/>
                    </a:schemeClr>
                  </a:solidFill>
                  <a:ea typeface="ＭＳ Ｐゴシック" pitchFamily="50" charset="-128"/>
                </a:rPr>
                <a:t>A</a:t>
              </a:r>
              <a:r>
                <a:rPr lang="en-GB" dirty="0">
                  <a:solidFill>
                    <a:schemeClr val="tx2"/>
                  </a:solidFill>
                  <a:ea typeface="ＭＳ Ｐゴシック" pitchFamily="50" charset="-128"/>
                </a:rPr>
                <a:t>wareness</a:t>
              </a:r>
            </a:p>
          </p:txBody>
        </p:sp>
        <p:sp>
          <p:nvSpPr>
            <p:cNvPr id="15" name="Oval 14">
              <a:extLst>
                <a:ext uri="{FF2B5EF4-FFF2-40B4-BE49-F238E27FC236}">
                  <a16:creationId xmlns:a16="http://schemas.microsoft.com/office/drawing/2014/main" id="{EBCF95B2-FE4B-4BAF-9F0A-944E05F6D06E}"/>
                </a:ext>
              </a:extLst>
            </p:cNvPr>
            <p:cNvSpPr>
              <a:spLocks noChangeArrowheads="1"/>
            </p:cNvSpPr>
            <p:nvPr/>
          </p:nvSpPr>
          <p:spPr bwMode="gray">
            <a:xfrm>
              <a:off x="1718165" y="2736477"/>
              <a:ext cx="1825625" cy="876300"/>
            </a:xfrm>
            <a:prstGeom prst="ellipse">
              <a:avLst/>
            </a:prstGeom>
            <a:solidFill>
              <a:schemeClr val="bg1">
                <a:lumMod val="95000"/>
              </a:schemeClr>
            </a:solidFill>
            <a:ln w="12700" algn="ctr">
              <a:solidFill>
                <a:schemeClr val="tx1"/>
              </a:solidFill>
              <a:round/>
              <a:headEnd/>
              <a:tailEnd/>
            </a:ln>
          </p:spPr>
          <p:txBody>
            <a:bodyPr wrap="none" lIns="0" tIns="18000" rIns="0" bIns="18000" anchor="ctr" anchorCtr="1"/>
            <a:lstStyle/>
            <a:p>
              <a:pPr fontAlgn="auto">
                <a:lnSpc>
                  <a:spcPct val="106000"/>
                </a:lnSpc>
                <a:spcBef>
                  <a:spcPts val="0"/>
                </a:spcBef>
                <a:spcAft>
                  <a:spcPts val="0"/>
                </a:spcAft>
                <a:buClr>
                  <a:schemeClr val="tx1"/>
                </a:buClr>
                <a:defRPr/>
              </a:pPr>
              <a:r>
                <a:rPr lang="en-GB" sz="2800" b="1" dirty="0">
                  <a:solidFill>
                    <a:schemeClr val="accent1">
                      <a:lumMod val="60000"/>
                      <a:lumOff val="40000"/>
                    </a:schemeClr>
                  </a:solidFill>
                  <a:ea typeface="ＭＳ Ｐゴシック" pitchFamily="50" charset="-128"/>
                </a:rPr>
                <a:t>D</a:t>
              </a:r>
              <a:r>
                <a:rPr lang="en-GB" dirty="0">
                  <a:solidFill>
                    <a:schemeClr val="tx2"/>
                  </a:solidFill>
                  <a:latin typeface="+mn-lt"/>
                  <a:ea typeface="ＭＳ Ｐゴシック" pitchFamily="50" charset="-128"/>
                  <a:cs typeface="+mn-cs"/>
                </a:rPr>
                <a:t>esire</a:t>
              </a:r>
            </a:p>
          </p:txBody>
        </p:sp>
        <p:sp>
          <p:nvSpPr>
            <p:cNvPr id="17" name="Oval 16">
              <a:extLst>
                <a:ext uri="{FF2B5EF4-FFF2-40B4-BE49-F238E27FC236}">
                  <a16:creationId xmlns:a16="http://schemas.microsoft.com/office/drawing/2014/main" id="{82714D3A-F0DA-4B1A-B807-2E9A56BFE535}"/>
                </a:ext>
              </a:extLst>
            </p:cNvPr>
            <p:cNvSpPr>
              <a:spLocks noChangeArrowheads="1"/>
            </p:cNvSpPr>
            <p:nvPr/>
          </p:nvSpPr>
          <p:spPr bwMode="gray">
            <a:xfrm>
              <a:off x="3610465" y="2116666"/>
              <a:ext cx="1825624" cy="876300"/>
            </a:xfrm>
            <a:prstGeom prst="ellipse">
              <a:avLst/>
            </a:prstGeom>
            <a:solidFill>
              <a:schemeClr val="bg1">
                <a:lumMod val="95000"/>
              </a:schemeClr>
            </a:solidFill>
            <a:ln w="12700" algn="ctr">
              <a:solidFill>
                <a:schemeClr val="tx1"/>
              </a:solidFill>
              <a:round/>
              <a:headEnd/>
              <a:tailEnd/>
            </a:ln>
          </p:spPr>
          <p:txBody>
            <a:bodyPr wrap="none" lIns="0" tIns="18000" rIns="0" bIns="18000" anchor="ctr" anchorCtr="1"/>
            <a:lstStyle/>
            <a:p>
              <a:pPr fontAlgn="auto">
                <a:lnSpc>
                  <a:spcPct val="106000"/>
                </a:lnSpc>
                <a:spcBef>
                  <a:spcPts val="0"/>
                </a:spcBef>
                <a:spcAft>
                  <a:spcPts val="0"/>
                </a:spcAft>
                <a:buClr>
                  <a:schemeClr val="tx1"/>
                </a:buClr>
                <a:defRPr/>
              </a:pPr>
              <a:r>
                <a:rPr lang="en-GB" sz="2800" b="1" dirty="0">
                  <a:solidFill>
                    <a:schemeClr val="accent1">
                      <a:lumMod val="60000"/>
                      <a:lumOff val="40000"/>
                    </a:schemeClr>
                  </a:solidFill>
                  <a:ea typeface="ＭＳ Ｐゴシック" pitchFamily="50" charset="-128"/>
                </a:rPr>
                <a:t>K</a:t>
              </a:r>
              <a:r>
                <a:rPr lang="en-GB" dirty="0">
                  <a:solidFill>
                    <a:schemeClr val="tx2"/>
                  </a:solidFill>
                  <a:latin typeface="+mn-lt"/>
                  <a:ea typeface="ＭＳ Ｐゴシック" pitchFamily="50" charset="-128"/>
                  <a:cs typeface="+mn-cs"/>
                </a:rPr>
                <a:t>nowledge</a:t>
              </a:r>
            </a:p>
          </p:txBody>
        </p:sp>
        <p:sp>
          <p:nvSpPr>
            <p:cNvPr id="18" name="Oval 17">
              <a:extLst>
                <a:ext uri="{FF2B5EF4-FFF2-40B4-BE49-F238E27FC236}">
                  <a16:creationId xmlns:a16="http://schemas.microsoft.com/office/drawing/2014/main" id="{B276AA7E-8CED-4F1B-A713-4DE8005E59E9}"/>
                </a:ext>
              </a:extLst>
            </p:cNvPr>
            <p:cNvSpPr>
              <a:spLocks noChangeArrowheads="1"/>
            </p:cNvSpPr>
            <p:nvPr/>
          </p:nvSpPr>
          <p:spPr bwMode="gray">
            <a:xfrm flipH="1">
              <a:off x="6509239" y="3835027"/>
              <a:ext cx="1825625" cy="876300"/>
            </a:xfrm>
            <a:prstGeom prst="ellipse">
              <a:avLst/>
            </a:prstGeom>
            <a:solidFill>
              <a:schemeClr val="bg1">
                <a:lumMod val="95000"/>
              </a:schemeClr>
            </a:solidFill>
            <a:ln w="12700" algn="ctr">
              <a:solidFill>
                <a:schemeClr val="tx1"/>
              </a:solidFill>
              <a:round/>
              <a:headEnd/>
              <a:tailEnd/>
            </a:ln>
          </p:spPr>
          <p:txBody>
            <a:bodyPr wrap="none" lIns="0" tIns="18000" rIns="0" bIns="18000" anchor="ctr" anchorCtr="1"/>
            <a:lstStyle/>
            <a:p>
              <a:pPr fontAlgn="auto">
                <a:lnSpc>
                  <a:spcPct val="106000"/>
                </a:lnSpc>
                <a:spcBef>
                  <a:spcPts val="0"/>
                </a:spcBef>
                <a:spcAft>
                  <a:spcPts val="0"/>
                </a:spcAft>
                <a:buClr>
                  <a:schemeClr val="tx1"/>
                </a:buClr>
                <a:defRPr/>
              </a:pPr>
              <a:r>
                <a:rPr lang="en-GB" sz="2800" b="1" dirty="0">
                  <a:solidFill>
                    <a:schemeClr val="accent1">
                      <a:lumMod val="60000"/>
                      <a:lumOff val="40000"/>
                    </a:schemeClr>
                  </a:solidFill>
                  <a:ea typeface="ＭＳ Ｐゴシック" pitchFamily="50" charset="-128"/>
                </a:rPr>
                <a:t>R</a:t>
              </a:r>
              <a:r>
                <a:rPr lang="en-GB" dirty="0">
                  <a:solidFill>
                    <a:schemeClr val="tx2"/>
                  </a:solidFill>
                  <a:latin typeface="+mn-lt"/>
                  <a:ea typeface="ＭＳ Ｐゴシック" pitchFamily="50" charset="-128"/>
                  <a:cs typeface="+mn-cs"/>
                </a:rPr>
                <a:t>einforcement</a:t>
              </a:r>
            </a:p>
          </p:txBody>
        </p:sp>
        <p:sp>
          <p:nvSpPr>
            <p:cNvPr id="19" name="Oval 18">
              <a:extLst>
                <a:ext uri="{FF2B5EF4-FFF2-40B4-BE49-F238E27FC236}">
                  <a16:creationId xmlns:a16="http://schemas.microsoft.com/office/drawing/2014/main" id="{C60B95DC-CADF-4C8F-B1E4-851E9D0E68A0}"/>
                </a:ext>
              </a:extLst>
            </p:cNvPr>
            <p:cNvSpPr>
              <a:spLocks noChangeArrowheads="1"/>
            </p:cNvSpPr>
            <p:nvPr/>
          </p:nvSpPr>
          <p:spPr bwMode="gray">
            <a:xfrm flipH="1">
              <a:off x="5583728" y="2736477"/>
              <a:ext cx="1825624" cy="876300"/>
            </a:xfrm>
            <a:prstGeom prst="ellipse">
              <a:avLst/>
            </a:prstGeom>
            <a:solidFill>
              <a:schemeClr val="bg1">
                <a:lumMod val="95000"/>
              </a:schemeClr>
            </a:solidFill>
            <a:ln w="12700" algn="ctr">
              <a:solidFill>
                <a:schemeClr val="tx1"/>
              </a:solidFill>
              <a:round/>
              <a:headEnd/>
              <a:tailEnd/>
            </a:ln>
          </p:spPr>
          <p:txBody>
            <a:bodyPr wrap="none" lIns="0" tIns="18000" rIns="0" bIns="18000" anchor="ctr" anchorCtr="1"/>
            <a:lstStyle/>
            <a:p>
              <a:pPr fontAlgn="auto">
                <a:lnSpc>
                  <a:spcPct val="106000"/>
                </a:lnSpc>
                <a:spcBef>
                  <a:spcPts val="0"/>
                </a:spcBef>
                <a:spcAft>
                  <a:spcPts val="0"/>
                </a:spcAft>
                <a:buClr>
                  <a:schemeClr val="tx1"/>
                </a:buClr>
                <a:defRPr/>
              </a:pPr>
              <a:r>
                <a:rPr lang="en-GB" sz="2800" b="1" dirty="0">
                  <a:solidFill>
                    <a:schemeClr val="accent1">
                      <a:lumMod val="60000"/>
                      <a:lumOff val="40000"/>
                    </a:schemeClr>
                  </a:solidFill>
                  <a:ea typeface="ＭＳ Ｐゴシック" pitchFamily="50" charset="-128"/>
                </a:rPr>
                <a:t>A</a:t>
              </a:r>
              <a:r>
                <a:rPr lang="en-GB" dirty="0">
                  <a:solidFill>
                    <a:schemeClr val="tx2"/>
                  </a:solidFill>
                  <a:latin typeface="+mn-lt"/>
                  <a:ea typeface="ＭＳ Ｐゴシック" pitchFamily="50" charset="-128"/>
                  <a:cs typeface="+mn-cs"/>
                </a:rPr>
                <a:t>bility</a:t>
              </a:r>
            </a:p>
          </p:txBody>
        </p:sp>
        <p:sp>
          <p:nvSpPr>
            <p:cNvPr id="20" name="Rectangle 11">
              <a:extLst>
                <a:ext uri="{FF2B5EF4-FFF2-40B4-BE49-F238E27FC236}">
                  <a16:creationId xmlns:a16="http://schemas.microsoft.com/office/drawing/2014/main" id="{CB7343EF-7E8C-466B-BB32-7940F5998BB8}"/>
                </a:ext>
              </a:extLst>
            </p:cNvPr>
            <p:cNvSpPr>
              <a:spLocks noChangeArrowheads="1"/>
            </p:cNvSpPr>
            <p:nvPr/>
          </p:nvSpPr>
          <p:spPr bwMode="auto">
            <a:xfrm>
              <a:off x="1477963" y="4816102"/>
              <a:ext cx="89058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ctr"/>
            <a:lstStyle/>
            <a:p>
              <a:pPr algn="ctr"/>
              <a:endParaRPr lang="en-GB" dirty="0"/>
            </a:p>
          </p:txBody>
        </p:sp>
        <p:sp>
          <p:nvSpPr>
            <p:cNvPr id="23" name="Rectangle 12">
              <a:extLst>
                <a:ext uri="{FF2B5EF4-FFF2-40B4-BE49-F238E27FC236}">
                  <a16:creationId xmlns:a16="http://schemas.microsoft.com/office/drawing/2014/main" id="{43F815CF-AA0D-48E7-8270-183C6EDE20E5}"/>
                </a:ext>
              </a:extLst>
            </p:cNvPr>
            <p:cNvSpPr>
              <a:spLocks noChangeArrowheads="1"/>
            </p:cNvSpPr>
            <p:nvPr/>
          </p:nvSpPr>
          <p:spPr bwMode="auto">
            <a:xfrm>
              <a:off x="6800850" y="4816102"/>
              <a:ext cx="8572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ctr"/>
            <a:lstStyle/>
            <a:p>
              <a:pPr algn="ctr"/>
              <a:endParaRPr lang="en-GB" dirty="0"/>
            </a:p>
          </p:txBody>
        </p:sp>
        <p:sp>
          <p:nvSpPr>
            <p:cNvPr id="25" name="Rectangle 13">
              <a:extLst>
                <a:ext uri="{FF2B5EF4-FFF2-40B4-BE49-F238E27FC236}">
                  <a16:creationId xmlns:a16="http://schemas.microsoft.com/office/drawing/2014/main" id="{B2DAC7EA-1B33-4A23-A607-85B4AA2B6008}"/>
                </a:ext>
              </a:extLst>
            </p:cNvPr>
            <p:cNvSpPr>
              <a:spLocks noChangeArrowheads="1"/>
            </p:cNvSpPr>
            <p:nvPr/>
          </p:nvSpPr>
          <p:spPr bwMode="auto">
            <a:xfrm>
              <a:off x="971550" y="5187577"/>
              <a:ext cx="7258050" cy="530225"/>
            </a:xfrm>
            <a:prstGeom prst="rect">
              <a:avLst/>
            </a:prstGeom>
            <a:solidFill>
              <a:schemeClr val="tx2"/>
            </a:solidFill>
            <a:ln>
              <a:noFill/>
            </a:ln>
            <a:effectLst/>
            <a:extLst>
              <a:ext uri="{91240B29-F687-4F45-9708-019B960494DF}">
                <a14:hiddenLine xmlns:a14="http://schemas.microsoft.com/office/drawing/2010/main" w="6350" algn="ctr">
                  <a:solidFill>
                    <a:srgbClr val="000000"/>
                  </a:solidFill>
                  <a:miter lim="800000"/>
                  <a:headEnd/>
                  <a:tailEnd/>
                </a14:hiddenLine>
              </a:ext>
            </a:extLst>
          </p:spPr>
          <p:txBody>
            <a:bodyPr tIns="91440" bIns="91440" anchor="ctr"/>
            <a:lstStyle/>
            <a:p>
              <a:pPr algn="ctr"/>
              <a:r>
                <a:rPr lang="en-GB" altLang="ja-JP" sz="2800" b="1" dirty="0">
                  <a:solidFill>
                    <a:schemeClr val="bg1"/>
                  </a:solidFill>
                  <a:ea typeface="ＭＳ Ｐゴシック" pitchFamily="34" charset="-128"/>
                </a:rPr>
                <a:t>CHANGE</a:t>
              </a:r>
            </a:p>
          </p:txBody>
        </p:sp>
      </p:grpSp>
    </p:spTree>
    <p:extLst>
      <p:ext uri="{BB962C8B-B14F-4D97-AF65-F5344CB8AC3E}">
        <p14:creationId xmlns:p14="http://schemas.microsoft.com/office/powerpoint/2010/main" val="32994869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DKAR Model</a:t>
            </a:r>
            <a:br>
              <a:rPr lang="en-US" sz="2400" kern="0" dirty="0"/>
            </a:br>
            <a:r>
              <a:rPr lang="en-GB" sz="2200" b="0" kern="0" dirty="0"/>
              <a:t>Each one of the ADKAR Model 5 elements represents a particular objective that the Change Manager will try to achiev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pic>
        <p:nvPicPr>
          <p:cNvPr id="35" name="Graphic 34" descr="Eye">
            <a:extLst>
              <a:ext uri="{FF2B5EF4-FFF2-40B4-BE49-F238E27FC236}">
                <a16:creationId xmlns:a16="http://schemas.microsoft.com/office/drawing/2014/main" id="{D45D9023-C837-466A-8EE1-F9A343C1612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0373" y="1760809"/>
            <a:ext cx="914400" cy="914400"/>
          </a:xfrm>
          <a:prstGeom prst="rect">
            <a:avLst/>
          </a:prstGeom>
        </p:spPr>
      </p:pic>
      <p:sp>
        <p:nvSpPr>
          <p:cNvPr id="24" name="Rounded Rectangle 20">
            <a:extLst>
              <a:ext uri="{FF2B5EF4-FFF2-40B4-BE49-F238E27FC236}">
                <a16:creationId xmlns:a16="http://schemas.microsoft.com/office/drawing/2014/main" id="{5159430C-6A50-4CE1-97FA-EC90AC762C55}"/>
              </a:ext>
            </a:extLst>
          </p:cNvPr>
          <p:cNvSpPr/>
          <p:nvPr/>
        </p:nvSpPr>
        <p:spPr bwMode="auto">
          <a:xfrm>
            <a:off x="2828924" y="1790073"/>
            <a:ext cx="8758237" cy="848048"/>
          </a:xfrm>
          <a:prstGeom prst="roundRect">
            <a:avLst/>
          </a:prstGeom>
          <a:solidFill>
            <a:schemeClr val="bg1"/>
          </a:solidFill>
          <a:ln>
            <a:noFill/>
          </a:ln>
          <a:effectLst/>
        </p:spPr>
        <p:txBody>
          <a:bodyPr wrap="square" lIns="1188720" tIns="45715" rIns="91428" bIns="45715" rtlCol="0" anchor="ctr">
            <a:noAutofit/>
          </a:bodyPr>
          <a:lstStyle/>
          <a:p>
            <a:pPr algn="just" defTabSz="623853" fontAlgn="base">
              <a:spcBef>
                <a:spcPts val="600"/>
              </a:spcBef>
              <a:spcAft>
                <a:spcPts val="600"/>
              </a:spcAft>
              <a:buClr>
                <a:schemeClr val="tx2"/>
              </a:buClr>
            </a:pPr>
            <a:r>
              <a:rPr lang="en-US" sz="2000" dirty="0">
                <a:solidFill>
                  <a:schemeClr val="tx2"/>
                </a:solidFill>
              </a:rPr>
              <a:t>of the need to change</a:t>
            </a:r>
          </a:p>
        </p:txBody>
      </p:sp>
      <p:sp>
        <p:nvSpPr>
          <p:cNvPr id="26" name="Pentagon 24">
            <a:extLst>
              <a:ext uri="{FF2B5EF4-FFF2-40B4-BE49-F238E27FC236}">
                <a16:creationId xmlns:a16="http://schemas.microsoft.com/office/drawing/2014/main" id="{ADBE1EA4-5959-4D15-B2FC-74ACECD08C9B}"/>
              </a:ext>
            </a:extLst>
          </p:cNvPr>
          <p:cNvSpPr/>
          <p:nvPr/>
        </p:nvSpPr>
        <p:spPr bwMode="auto">
          <a:xfrm>
            <a:off x="1612272" y="1790073"/>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A</a:t>
            </a:r>
            <a:r>
              <a:rPr lang="en-US" sz="2000" b="1" dirty="0">
                <a:solidFill>
                  <a:schemeClr val="bg1"/>
                </a:solidFill>
                <a:latin typeface="Arial" charset="0"/>
                <a:cs typeface="Times New Roman" pitchFamily="18" charset="0"/>
              </a:rPr>
              <a:t>wareness</a:t>
            </a:r>
          </a:p>
        </p:txBody>
      </p:sp>
      <p:sp>
        <p:nvSpPr>
          <p:cNvPr id="27" name="Rounded Rectangle 26">
            <a:extLst>
              <a:ext uri="{FF2B5EF4-FFF2-40B4-BE49-F238E27FC236}">
                <a16:creationId xmlns:a16="http://schemas.microsoft.com/office/drawing/2014/main" id="{0D241C60-E560-4E95-8E4C-D6C9F7A03388}"/>
              </a:ext>
            </a:extLst>
          </p:cNvPr>
          <p:cNvSpPr/>
          <p:nvPr/>
        </p:nvSpPr>
        <p:spPr bwMode="auto">
          <a:xfrm>
            <a:off x="2828924" y="3652798"/>
            <a:ext cx="8758237" cy="848048"/>
          </a:xfrm>
          <a:prstGeom prst="roundRect">
            <a:avLst/>
          </a:prstGeom>
          <a:solidFill>
            <a:schemeClr val="bg1"/>
          </a:solidFill>
          <a:ln>
            <a:noFill/>
          </a:ln>
          <a:effectLst/>
        </p:spPr>
        <p:txBody>
          <a:bodyPr wrap="square" lIns="1188720" tIns="45715" rIns="91428" bIns="45715" rtlCol="0" anchor="ctr">
            <a:noAutofit/>
          </a:bodyPr>
          <a:lstStyle/>
          <a:p>
            <a:pPr algn="just" defTabSz="623853" fontAlgn="base">
              <a:spcBef>
                <a:spcPts val="600"/>
              </a:spcBef>
              <a:spcAft>
                <a:spcPts val="600"/>
              </a:spcAft>
              <a:buClr>
                <a:schemeClr val="tx2"/>
              </a:buClr>
            </a:pPr>
            <a:r>
              <a:rPr lang="en-US" sz="2000" dirty="0">
                <a:solidFill>
                  <a:schemeClr val="tx2"/>
                </a:solidFill>
              </a:rPr>
              <a:t>of how to change (and what the change looks like)</a:t>
            </a:r>
          </a:p>
        </p:txBody>
      </p:sp>
      <p:sp>
        <p:nvSpPr>
          <p:cNvPr id="28" name="Pentagon 29">
            <a:extLst>
              <a:ext uri="{FF2B5EF4-FFF2-40B4-BE49-F238E27FC236}">
                <a16:creationId xmlns:a16="http://schemas.microsoft.com/office/drawing/2014/main" id="{DAA203EF-35DB-4B49-A1C8-D3EB94E18FA5}"/>
              </a:ext>
            </a:extLst>
          </p:cNvPr>
          <p:cNvSpPr/>
          <p:nvPr/>
        </p:nvSpPr>
        <p:spPr bwMode="auto">
          <a:xfrm>
            <a:off x="1612272" y="3652798"/>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K</a:t>
            </a:r>
            <a:r>
              <a:rPr lang="en-US" sz="2000" b="1" dirty="0">
                <a:solidFill>
                  <a:schemeClr val="bg1"/>
                </a:solidFill>
                <a:latin typeface="Arial" charset="0"/>
                <a:cs typeface="Times New Roman" pitchFamily="18" charset="0"/>
              </a:rPr>
              <a:t>nowledge</a:t>
            </a:r>
          </a:p>
        </p:txBody>
      </p:sp>
      <p:sp>
        <p:nvSpPr>
          <p:cNvPr id="29" name="Rounded Rectangle 30">
            <a:extLst>
              <a:ext uri="{FF2B5EF4-FFF2-40B4-BE49-F238E27FC236}">
                <a16:creationId xmlns:a16="http://schemas.microsoft.com/office/drawing/2014/main" id="{B51D3052-620B-4D63-A95D-799E05947607}"/>
              </a:ext>
            </a:extLst>
          </p:cNvPr>
          <p:cNvSpPr/>
          <p:nvPr/>
        </p:nvSpPr>
        <p:spPr bwMode="auto">
          <a:xfrm>
            <a:off x="2828924" y="5515522"/>
            <a:ext cx="8758237" cy="848048"/>
          </a:xfrm>
          <a:prstGeom prst="roundRect">
            <a:avLst/>
          </a:prstGeom>
          <a:solidFill>
            <a:schemeClr val="bg1"/>
          </a:solidFill>
          <a:ln>
            <a:noFill/>
          </a:ln>
          <a:effectLst/>
        </p:spPr>
        <p:txBody>
          <a:bodyPr wrap="square" lIns="1188720" tIns="45715" rIns="91428" bIns="45715" rtlCol="0" anchor="ctr">
            <a:noAutofit/>
          </a:bodyPr>
          <a:lstStyle/>
          <a:p>
            <a:pPr algn="just" defTabSz="623853" fontAlgn="base">
              <a:spcBef>
                <a:spcPts val="600"/>
              </a:spcBef>
              <a:spcAft>
                <a:spcPts val="600"/>
              </a:spcAft>
              <a:buClr>
                <a:schemeClr val="tx2"/>
              </a:buClr>
            </a:pPr>
            <a:r>
              <a:rPr lang="en-US" sz="2000" dirty="0">
                <a:solidFill>
                  <a:schemeClr val="tx2"/>
                </a:solidFill>
              </a:rPr>
              <a:t>to keep the change in place</a:t>
            </a:r>
          </a:p>
        </p:txBody>
      </p:sp>
      <p:sp>
        <p:nvSpPr>
          <p:cNvPr id="30" name="Pentagon 31">
            <a:extLst>
              <a:ext uri="{FF2B5EF4-FFF2-40B4-BE49-F238E27FC236}">
                <a16:creationId xmlns:a16="http://schemas.microsoft.com/office/drawing/2014/main" id="{F671BCB2-6C4A-4A4A-96E7-705C3FF85E22}"/>
              </a:ext>
            </a:extLst>
          </p:cNvPr>
          <p:cNvSpPr/>
          <p:nvPr/>
        </p:nvSpPr>
        <p:spPr bwMode="auto">
          <a:xfrm>
            <a:off x="1612272" y="5515522"/>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R</a:t>
            </a:r>
            <a:r>
              <a:rPr lang="en-US" sz="2000" b="1" dirty="0">
                <a:solidFill>
                  <a:schemeClr val="bg1"/>
                </a:solidFill>
                <a:latin typeface="Arial" charset="0"/>
                <a:cs typeface="Times New Roman" pitchFamily="18" charset="0"/>
              </a:rPr>
              <a:t>einforcement</a:t>
            </a:r>
          </a:p>
        </p:txBody>
      </p:sp>
      <p:sp>
        <p:nvSpPr>
          <p:cNvPr id="31" name="Rounded Rectangle 37">
            <a:extLst>
              <a:ext uri="{FF2B5EF4-FFF2-40B4-BE49-F238E27FC236}">
                <a16:creationId xmlns:a16="http://schemas.microsoft.com/office/drawing/2014/main" id="{D3F0CEF9-9EC9-40BD-97F5-71B2AA565D34}"/>
              </a:ext>
            </a:extLst>
          </p:cNvPr>
          <p:cNvSpPr/>
          <p:nvPr/>
        </p:nvSpPr>
        <p:spPr bwMode="auto">
          <a:xfrm>
            <a:off x="2828924" y="4584161"/>
            <a:ext cx="8758237" cy="848048"/>
          </a:xfrm>
          <a:prstGeom prst="roundRect">
            <a:avLst/>
          </a:prstGeom>
          <a:solidFill>
            <a:schemeClr val="bg1"/>
          </a:solidFill>
          <a:ln>
            <a:noFill/>
          </a:ln>
          <a:effectLst/>
        </p:spPr>
        <p:txBody>
          <a:bodyPr wrap="square" lIns="1188720" tIns="45715" rIns="91428" bIns="45715" rtlCol="0" anchor="ctr">
            <a:noAutofit/>
          </a:bodyPr>
          <a:lstStyle/>
          <a:p>
            <a:pPr algn="just" defTabSz="623853" fontAlgn="base">
              <a:spcBef>
                <a:spcPts val="600"/>
              </a:spcBef>
              <a:spcAft>
                <a:spcPts val="600"/>
              </a:spcAft>
              <a:buClr>
                <a:schemeClr val="tx2"/>
              </a:buClr>
            </a:pPr>
            <a:r>
              <a:rPr lang="en-US" sz="2000" dirty="0">
                <a:solidFill>
                  <a:schemeClr val="tx2"/>
                </a:solidFill>
              </a:rPr>
              <a:t>to implement the change on a day-to-day basis</a:t>
            </a:r>
          </a:p>
        </p:txBody>
      </p:sp>
      <p:sp>
        <p:nvSpPr>
          <p:cNvPr id="32" name="Pentagon 38">
            <a:extLst>
              <a:ext uri="{FF2B5EF4-FFF2-40B4-BE49-F238E27FC236}">
                <a16:creationId xmlns:a16="http://schemas.microsoft.com/office/drawing/2014/main" id="{20E27287-2561-4AC6-86DB-C95E4F24F9B4}"/>
              </a:ext>
            </a:extLst>
          </p:cNvPr>
          <p:cNvSpPr/>
          <p:nvPr/>
        </p:nvSpPr>
        <p:spPr bwMode="auto">
          <a:xfrm>
            <a:off x="1612272" y="4584161"/>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A</a:t>
            </a:r>
            <a:r>
              <a:rPr lang="en-US" sz="2000" b="1" dirty="0">
                <a:solidFill>
                  <a:schemeClr val="bg1"/>
                </a:solidFill>
                <a:latin typeface="Arial" charset="0"/>
                <a:cs typeface="Times New Roman" pitchFamily="18" charset="0"/>
              </a:rPr>
              <a:t>bility</a:t>
            </a:r>
          </a:p>
        </p:txBody>
      </p:sp>
      <p:sp>
        <p:nvSpPr>
          <p:cNvPr id="33" name="Rounded Rectangle 39">
            <a:extLst>
              <a:ext uri="{FF2B5EF4-FFF2-40B4-BE49-F238E27FC236}">
                <a16:creationId xmlns:a16="http://schemas.microsoft.com/office/drawing/2014/main" id="{BB77D323-D173-4CBD-BC74-2BC5C1206E07}"/>
              </a:ext>
            </a:extLst>
          </p:cNvPr>
          <p:cNvSpPr/>
          <p:nvPr/>
        </p:nvSpPr>
        <p:spPr bwMode="auto">
          <a:xfrm>
            <a:off x="2828924" y="2721436"/>
            <a:ext cx="8758237" cy="848048"/>
          </a:xfrm>
          <a:prstGeom prst="roundRect">
            <a:avLst/>
          </a:prstGeom>
          <a:solidFill>
            <a:schemeClr val="bg1"/>
          </a:solidFill>
          <a:ln>
            <a:noFill/>
          </a:ln>
          <a:effectLst/>
        </p:spPr>
        <p:txBody>
          <a:bodyPr wrap="square" lIns="1188720" tIns="45715" rIns="91428" bIns="45715" rtlCol="0" anchor="ctr">
            <a:noAutofit/>
          </a:bodyPr>
          <a:lstStyle/>
          <a:p>
            <a:pPr algn="just" defTabSz="623853" fontAlgn="base">
              <a:spcBef>
                <a:spcPts val="600"/>
              </a:spcBef>
              <a:spcAft>
                <a:spcPts val="600"/>
              </a:spcAft>
              <a:buClr>
                <a:schemeClr val="tx2"/>
              </a:buClr>
            </a:pPr>
            <a:r>
              <a:rPr lang="en-US" sz="2000" dirty="0">
                <a:solidFill>
                  <a:schemeClr val="tx2"/>
                </a:solidFill>
              </a:rPr>
              <a:t>to participate and support the change</a:t>
            </a:r>
          </a:p>
        </p:txBody>
      </p:sp>
      <p:sp>
        <p:nvSpPr>
          <p:cNvPr id="34" name="Pentagon 40">
            <a:extLst>
              <a:ext uri="{FF2B5EF4-FFF2-40B4-BE49-F238E27FC236}">
                <a16:creationId xmlns:a16="http://schemas.microsoft.com/office/drawing/2014/main" id="{6F52C033-FA23-4B0F-9F43-B954A786650C}"/>
              </a:ext>
            </a:extLst>
          </p:cNvPr>
          <p:cNvSpPr/>
          <p:nvPr/>
        </p:nvSpPr>
        <p:spPr bwMode="auto">
          <a:xfrm>
            <a:off x="1612272" y="2721436"/>
            <a:ext cx="2273928" cy="848048"/>
          </a:xfrm>
          <a:prstGeom prst="rect">
            <a:avLst/>
          </a:prstGeom>
          <a:solidFill>
            <a:schemeClr val="tx2"/>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2800" b="1" dirty="0">
                <a:solidFill>
                  <a:schemeClr val="bg1"/>
                </a:solidFill>
                <a:latin typeface="Arial" charset="0"/>
                <a:cs typeface="Times New Roman" pitchFamily="18" charset="0"/>
              </a:rPr>
              <a:t>D</a:t>
            </a:r>
            <a:r>
              <a:rPr lang="en-US" sz="2000" b="1" dirty="0">
                <a:solidFill>
                  <a:schemeClr val="bg1"/>
                </a:solidFill>
                <a:latin typeface="Arial" charset="0"/>
                <a:cs typeface="Times New Roman" pitchFamily="18" charset="0"/>
              </a:rPr>
              <a:t>esire</a:t>
            </a:r>
          </a:p>
        </p:txBody>
      </p:sp>
      <p:pic>
        <p:nvPicPr>
          <p:cNvPr id="36" name="Graphic 35" descr="Handshake">
            <a:extLst>
              <a:ext uri="{FF2B5EF4-FFF2-40B4-BE49-F238E27FC236}">
                <a16:creationId xmlns:a16="http://schemas.microsoft.com/office/drawing/2014/main" id="{69B9B93F-6C78-4F77-A4F1-09176D12DF5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0373" y="2751409"/>
            <a:ext cx="914400" cy="914400"/>
          </a:xfrm>
          <a:prstGeom prst="rect">
            <a:avLst/>
          </a:prstGeom>
        </p:spPr>
      </p:pic>
      <p:pic>
        <p:nvPicPr>
          <p:cNvPr id="37" name="Graphic 36" descr="Arrow circle">
            <a:extLst>
              <a:ext uri="{FF2B5EF4-FFF2-40B4-BE49-F238E27FC236}">
                <a16:creationId xmlns:a16="http://schemas.microsoft.com/office/drawing/2014/main" id="{1C4F5E33-0DB5-4CAB-9002-9078E56788D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1551" y="5610942"/>
            <a:ext cx="802854" cy="802854"/>
          </a:xfrm>
          <a:prstGeom prst="rect">
            <a:avLst/>
          </a:prstGeom>
        </p:spPr>
      </p:pic>
      <p:pic>
        <p:nvPicPr>
          <p:cNvPr id="38" name="Graphic 37" descr="Lightbulb and gear">
            <a:extLst>
              <a:ext uri="{FF2B5EF4-FFF2-40B4-BE49-F238E27FC236}">
                <a16:creationId xmlns:a16="http://schemas.microsoft.com/office/drawing/2014/main" id="{F0F4D455-02E9-4168-B4DB-3056EF86A7D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1523" y="3742009"/>
            <a:ext cx="780540" cy="780540"/>
          </a:xfrm>
          <a:prstGeom prst="rect">
            <a:avLst/>
          </a:prstGeom>
        </p:spPr>
      </p:pic>
      <p:pic>
        <p:nvPicPr>
          <p:cNvPr id="39" name="Graphic 38" descr="Tools">
            <a:extLst>
              <a:ext uri="{FF2B5EF4-FFF2-40B4-BE49-F238E27FC236}">
                <a16:creationId xmlns:a16="http://schemas.microsoft.com/office/drawing/2014/main" id="{72CBFA15-76CD-4123-9F4F-7EDD415D120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5873" y="4761779"/>
            <a:ext cx="674210" cy="674210"/>
          </a:xfrm>
          <a:prstGeom prst="rect">
            <a:avLst/>
          </a:prstGeom>
        </p:spPr>
      </p:pic>
    </p:spTree>
    <p:extLst>
      <p:ext uri="{BB962C8B-B14F-4D97-AF65-F5344CB8AC3E}">
        <p14:creationId xmlns:p14="http://schemas.microsoft.com/office/powerpoint/2010/main" val="13733431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 of our traditional project management 3-phase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28" name="Rectangle: Rounded Corners 27">
            <a:extLst>
              <a:ext uri="{FF2B5EF4-FFF2-40B4-BE49-F238E27FC236}">
                <a16:creationId xmlns:a16="http://schemas.microsoft.com/office/drawing/2014/main" id="{C893B390-DB33-D099-DBE1-597A4D03D8FB}"/>
              </a:ext>
            </a:extLst>
          </p:cNvPr>
          <p:cNvSpPr/>
          <p:nvPr/>
        </p:nvSpPr>
        <p:spPr>
          <a:xfrm>
            <a:off x="597147" y="1783081"/>
            <a:ext cx="11073049" cy="3055694"/>
          </a:xfrm>
          <a:prstGeom prst="roundRect">
            <a:avLst>
              <a:gd name="adj" fmla="val 1343"/>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Chevron 17">
            <a:extLst>
              <a:ext uri="{FF2B5EF4-FFF2-40B4-BE49-F238E27FC236}">
                <a16:creationId xmlns:a16="http://schemas.microsoft.com/office/drawing/2014/main" id="{24B54FEA-2AAA-EF82-1D1E-C21ED0F6B343}"/>
              </a:ext>
            </a:extLst>
          </p:cNvPr>
          <p:cNvSpPr/>
          <p:nvPr/>
        </p:nvSpPr>
        <p:spPr bwMode="auto">
          <a:xfrm>
            <a:off x="665727" y="2363662"/>
            <a:ext cx="3604451" cy="432000"/>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Build a Business Case &amp; Financial Model</a:t>
            </a:r>
            <a:endParaRPr lang="en-US" sz="1300" b="1" dirty="0">
              <a:solidFill>
                <a:schemeClr val="bg1"/>
              </a:solidFill>
              <a:cs typeface="Times New Roman" pitchFamily="18" charset="0"/>
            </a:endParaRPr>
          </a:p>
        </p:txBody>
      </p:sp>
      <p:sp>
        <p:nvSpPr>
          <p:cNvPr id="30" name="Chevron 17">
            <a:extLst>
              <a:ext uri="{FF2B5EF4-FFF2-40B4-BE49-F238E27FC236}">
                <a16:creationId xmlns:a16="http://schemas.microsoft.com/office/drawing/2014/main" id="{DB2C44EB-22E1-AC6D-66B2-F83A856224CF}"/>
              </a:ext>
            </a:extLst>
          </p:cNvPr>
          <p:cNvSpPr/>
          <p:nvPr/>
        </p:nvSpPr>
        <p:spPr bwMode="auto">
          <a:xfrm>
            <a:off x="4356125"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a:t>
            </a:r>
            <a:r>
              <a:rPr lang="en-GB" sz="1300" b="1" dirty="0">
                <a:solidFill>
                  <a:schemeClr val="bg1"/>
                </a:solidFill>
                <a:cs typeface="Times New Roman" pitchFamily="18" charset="0"/>
              </a:rPr>
              <a:t>Initiate the Project</a:t>
            </a:r>
          </a:p>
        </p:txBody>
      </p:sp>
      <p:sp>
        <p:nvSpPr>
          <p:cNvPr id="31" name="Rectangle 30">
            <a:extLst>
              <a:ext uri="{FF2B5EF4-FFF2-40B4-BE49-F238E27FC236}">
                <a16:creationId xmlns:a16="http://schemas.microsoft.com/office/drawing/2014/main" id="{BC5C36B5-E318-3858-D3A1-18315FD36EE7}"/>
              </a:ext>
            </a:extLst>
          </p:cNvPr>
          <p:cNvSpPr/>
          <p:nvPr/>
        </p:nvSpPr>
        <p:spPr>
          <a:xfrm>
            <a:off x="720890" y="2812578"/>
            <a:ext cx="3690953" cy="202619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Project Descriptio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Business opportunity &amp; suggested solutio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Project objectives and key performance indicators</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Project scope, approach and high-level pla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Deliverables, activities &amp; key success factors</a:t>
            </a:r>
          </a:p>
          <a:p>
            <a:pPr marL="169863" indent="-169863">
              <a:spcBef>
                <a:spcPts val="200"/>
              </a:spcBef>
              <a:spcAft>
                <a:spcPts val="200"/>
              </a:spcAft>
              <a:buFont typeface="+mj-lt"/>
              <a:buAutoNum type="arabicPeriod"/>
              <a:defRPr/>
            </a:pPr>
            <a:r>
              <a:rPr lang="en-GB" sz="1100" dirty="0">
                <a:solidFill>
                  <a:srgbClr val="002776"/>
                </a:solidFill>
              </a:rPr>
              <a:t>Project Assessment</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Strategic alignment</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Value (Revenue, Costs, Net present value, ROI, etc.)</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Ease of implementation</a:t>
            </a:r>
          </a:p>
        </p:txBody>
      </p:sp>
      <p:sp>
        <p:nvSpPr>
          <p:cNvPr id="32" name="Rectangle 31">
            <a:extLst>
              <a:ext uri="{FF2B5EF4-FFF2-40B4-BE49-F238E27FC236}">
                <a16:creationId xmlns:a16="http://schemas.microsoft.com/office/drawing/2014/main" id="{8E76BCBB-086B-C823-B6A3-32050A7399D8}"/>
              </a:ext>
            </a:extLst>
          </p:cNvPr>
          <p:cNvSpPr/>
          <p:nvPr/>
        </p:nvSpPr>
        <p:spPr>
          <a:xfrm>
            <a:off x="8046523" y="2812578"/>
            <a:ext cx="3447437"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High-level project plan</a:t>
            </a:r>
          </a:p>
          <a:p>
            <a:pPr marL="169863" indent="-169863">
              <a:spcBef>
                <a:spcPts val="200"/>
              </a:spcBef>
              <a:spcAft>
                <a:spcPts val="200"/>
              </a:spcAft>
              <a:buFont typeface="+mj-lt"/>
              <a:buAutoNum type="arabicPeriod"/>
              <a:defRPr/>
            </a:pPr>
            <a:r>
              <a:rPr lang="en-GB" sz="1100" dirty="0">
                <a:solidFill>
                  <a:srgbClr val="002776"/>
                </a:solidFill>
              </a:rPr>
              <a:t>Detailed project plan</a:t>
            </a:r>
          </a:p>
          <a:p>
            <a:pPr marL="169863" indent="-169863">
              <a:spcBef>
                <a:spcPts val="200"/>
              </a:spcBef>
              <a:spcAft>
                <a:spcPts val="200"/>
              </a:spcAft>
              <a:buFont typeface="+mj-lt"/>
              <a:buAutoNum type="arabicPeriod"/>
              <a:defRPr/>
            </a:pPr>
            <a:r>
              <a:rPr lang="en-GB" sz="1100" dirty="0">
                <a:solidFill>
                  <a:srgbClr val="002776"/>
                </a:solidFill>
              </a:rPr>
              <a:t>Project dashboard</a:t>
            </a:r>
          </a:p>
          <a:p>
            <a:pPr marL="169863" indent="-169863">
              <a:spcBef>
                <a:spcPts val="200"/>
              </a:spcBef>
              <a:spcAft>
                <a:spcPts val="200"/>
              </a:spcAft>
              <a:buFont typeface="+mj-lt"/>
              <a:buAutoNum type="arabicPeriod"/>
              <a:defRPr/>
            </a:pPr>
            <a:r>
              <a:rPr lang="en-GB" sz="1100" dirty="0">
                <a:solidFill>
                  <a:srgbClr val="002776"/>
                </a:solidFill>
              </a:rPr>
              <a:t>Parking lot</a:t>
            </a:r>
          </a:p>
          <a:p>
            <a:pPr marL="169863" indent="-169863">
              <a:spcBef>
                <a:spcPts val="200"/>
              </a:spcBef>
              <a:spcAft>
                <a:spcPts val="200"/>
              </a:spcAft>
              <a:buFont typeface="+mj-lt"/>
              <a:buAutoNum type="arabicPeriod"/>
              <a:defRPr/>
            </a:pPr>
            <a:r>
              <a:rPr lang="en-GB" sz="1100" dirty="0">
                <a:solidFill>
                  <a:srgbClr val="002776"/>
                </a:solidFill>
              </a:rPr>
              <a:t>Punch list</a:t>
            </a:r>
          </a:p>
          <a:p>
            <a:pPr marL="169863" indent="-169863">
              <a:spcBef>
                <a:spcPts val="200"/>
              </a:spcBef>
              <a:spcAft>
                <a:spcPts val="200"/>
              </a:spcAft>
              <a:buFont typeface="+mj-lt"/>
              <a:buAutoNum type="arabicPeriod"/>
              <a:defRPr/>
            </a:pPr>
            <a:r>
              <a:rPr lang="en-GB" sz="1100" dirty="0">
                <a:solidFill>
                  <a:srgbClr val="002776"/>
                </a:solidFill>
              </a:rPr>
              <a:t>Post-project evaluation report</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sp>
        <p:nvSpPr>
          <p:cNvPr id="33" name="Chevron 17">
            <a:extLst>
              <a:ext uri="{FF2B5EF4-FFF2-40B4-BE49-F238E27FC236}">
                <a16:creationId xmlns:a16="http://schemas.microsoft.com/office/drawing/2014/main" id="{2A99C644-C5AF-C50D-58C4-CF8E8D287DEF}"/>
              </a:ext>
            </a:extLst>
          </p:cNvPr>
          <p:cNvSpPr/>
          <p:nvPr/>
        </p:nvSpPr>
        <p:spPr bwMode="auto">
          <a:xfrm>
            <a:off x="8046523"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Define and Implement your Project Plan</a:t>
            </a:r>
          </a:p>
        </p:txBody>
      </p:sp>
      <p:sp>
        <p:nvSpPr>
          <p:cNvPr id="34" name="Rectangle 33">
            <a:extLst>
              <a:ext uri="{FF2B5EF4-FFF2-40B4-BE49-F238E27FC236}">
                <a16:creationId xmlns:a16="http://schemas.microsoft.com/office/drawing/2014/main" id="{91D68227-A79A-B823-4FA2-901CE92DCAE3}"/>
              </a:ext>
            </a:extLst>
          </p:cNvPr>
          <p:cNvSpPr/>
          <p:nvPr/>
        </p:nvSpPr>
        <p:spPr>
          <a:xfrm>
            <a:off x="4411844" y="2812578"/>
            <a:ext cx="3396807"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Project charter</a:t>
            </a:r>
          </a:p>
          <a:p>
            <a:pPr marL="169863" indent="-169863">
              <a:spcBef>
                <a:spcPts val="200"/>
              </a:spcBef>
              <a:spcAft>
                <a:spcPts val="200"/>
              </a:spcAft>
              <a:buFont typeface="+mj-lt"/>
              <a:buAutoNum type="arabicPeriod"/>
              <a:defRPr/>
            </a:pPr>
            <a:r>
              <a:rPr lang="en-GB" sz="1100" dirty="0">
                <a:solidFill>
                  <a:srgbClr val="002776"/>
                </a:solidFill>
              </a:rPr>
              <a:t>Project challenges and key success factors</a:t>
            </a:r>
          </a:p>
          <a:p>
            <a:pPr marL="169863" indent="-169863">
              <a:spcBef>
                <a:spcPts val="200"/>
              </a:spcBef>
              <a:spcAft>
                <a:spcPts val="200"/>
              </a:spcAft>
              <a:buFont typeface="+mj-lt"/>
              <a:buAutoNum type="arabicPeriod"/>
              <a:defRPr/>
            </a:pPr>
            <a:r>
              <a:rPr lang="nb-NO" sz="1100" dirty="0">
                <a:solidFill>
                  <a:srgbClr val="002776"/>
                </a:solidFill>
              </a:rPr>
              <a:t>RACI matrix</a:t>
            </a:r>
          </a:p>
          <a:p>
            <a:pPr marL="169863" indent="-169863">
              <a:spcBef>
                <a:spcPts val="200"/>
              </a:spcBef>
              <a:spcAft>
                <a:spcPts val="200"/>
              </a:spcAft>
              <a:buFont typeface="+mj-lt"/>
              <a:buAutoNum type="arabicPeriod"/>
              <a:defRPr/>
            </a:pPr>
            <a:r>
              <a:rPr lang="nb-NO" sz="1100" dirty="0">
                <a:solidFill>
                  <a:srgbClr val="002776"/>
                </a:solidFill>
              </a:rPr>
              <a:t>Stakeholder analysis</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p:txBody>
      </p:sp>
      <p:pic>
        <p:nvPicPr>
          <p:cNvPr id="35" name="Graphic 34" descr="Bar chart outline">
            <a:extLst>
              <a:ext uri="{FF2B5EF4-FFF2-40B4-BE49-F238E27FC236}">
                <a16:creationId xmlns:a16="http://schemas.microsoft.com/office/drawing/2014/main" id="{D7E34647-A63D-23C7-3428-851A1E4C9E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01284" y="1882268"/>
            <a:ext cx="455456" cy="455456"/>
          </a:xfrm>
          <a:prstGeom prst="rect">
            <a:avLst/>
          </a:prstGeom>
        </p:spPr>
      </p:pic>
      <p:pic>
        <p:nvPicPr>
          <p:cNvPr id="36" name="Graphic 35" descr="Play outline">
            <a:extLst>
              <a:ext uri="{FF2B5EF4-FFF2-40B4-BE49-F238E27FC236}">
                <a16:creationId xmlns:a16="http://schemas.microsoft.com/office/drawing/2014/main" id="{E2920195-4366-D511-690A-AA25CEDAFC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81647" y="1863930"/>
            <a:ext cx="457200" cy="457200"/>
          </a:xfrm>
          <a:prstGeom prst="rect">
            <a:avLst/>
          </a:prstGeom>
        </p:spPr>
      </p:pic>
      <p:pic>
        <p:nvPicPr>
          <p:cNvPr id="37" name="Graphic 36" descr="Checklist outline">
            <a:extLst>
              <a:ext uri="{FF2B5EF4-FFF2-40B4-BE49-F238E27FC236}">
                <a16:creationId xmlns:a16="http://schemas.microsoft.com/office/drawing/2014/main" id="{0C6C6B4F-C86F-A953-FCCB-880CE0DECE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20148" y="1882268"/>
            <a:ext cx="457200" cy="457200"/>
          </a:xfrm>
          <a:prstGeom prst="rect">
            <a:avLst/>
          </a:prstGeom>
        </p:spPr>
      </p:pic>
      <p:sp>
        <p:nvSpPr>
          <p:cNvPr id="38" name="TextBox 37">
            <a:extLst>
              <a:ext uri="{FF2B5EF4-FFF2-40B4-BE49-F238E27FC236}">
                <a16:creationId xmlns:a16="http://schemas.microsoft.com/office/drawing/2014/main" id="{112AA82F-E27A-66FE-93DD-C7FE67D5EB04}"/>
              </a:ext>
            </a:extLst>
          </p:cNvPr>
          <p:cNvSpPr txBox="1"/>
          <p:nvPr/>
        </p:nvSpPr>
        <p:spPr>
          <a:xfrm>
            <a:off x="4487751" y="1512544"/>
            <a:ext cx="3291840" cy="307777"/>
          </a:xfrm>
          <a:prstGeom prst="rect">
            <a:avLst/>
          </a:prstGeom>
          <a:noFill/>
        </p:spPr>
        <p:txBody>
          <a:bodyPr wrap="square" rtlCol="0">
            <a:spAutoFit/>
          </a:bodyPr>
          <a:lstStyle/>
          <a:p>
            <a:pPr algn="ctr"/>
            <a:r>
              <a:rPr lang="en-US" sz="1400" b="1" dirty="0"/>
              <a:t>Traditional Approach</a:t>
            </a:r>
          </a:p>
        </p:txBody>
      </p:sp>
      <p:sp>
        <p:nvSpPr>
          <p:cNvPr id="39" name="Rectangle: Rounded Corners 38">
            <a:extLst>
              <a:ext uri="{FF2B5EF4-FFF2-40B4-BE49-F238E27FC236}">
                <a16:creationId xmlns:a16="http://schemas.microsoft.com/office/drawing/2014/main" id="{8508FACD-47EE-2EC0-A1AA-2D1E2299FA7B}"/>
              </a:ext>
            </a:extLst>
          </p:cNvPr>
          <p:cNvSpPr/>
          <p:nvPr/>
        </p:nvSpPr>
        <p:spPr>
          <a:xfrm>
            <a:off x="597147" y="5338152"/>
            <a:ext cx="11073049" cy="1200442"/>
          </a:xfrm>
          <a:prstGeom prst="roundRect">
            <a:avLst>
              <a:gd name="adj" fmla="val 396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0C97F124-1014-CBC8-D263-AC70BC0A28BE}"/>
              </a:ext>
            </a:extLst>
          </p:cNvPr>
          <p:cNvSpPr txBox="1"/>
          <p:nvPr/>
        </p:nvSpPr>
        <p:spPr>
          <a:xfrm>
            <a:off x="4487751" y="5021895"/>
            <a:ext cx="3291840" cy="307777"/>
          </a:xfrm>
          <a:prstGeom prst="rect">
            <a:avLst/>
          </a:prstGeom>
          <a:noFill/>
        </p:spPr>
        <p:txBody>
          <a:bodyPr wrap="square" rtlCol="0">
            <a:spAutoFit/>
          </a:bodyPr>
          <a:lstStyle/>
          <a:p>
            <a:pPr algn="ctr"/>
            <a:r>
              <a:rPr lang="en-US" sz="1400" b="1" dirty="0"/>
              <a:t>Agile Approach</a:t>
            </a:r>
          </a:p>
        </p:txBody>
      </p:sp>
      <p:sp>
        <p:nvSpPr>
          <p:cNvPr id="41" name="Right Arrow 20">
            <a:extLst>
              <a:ext uri="{FF2B5EF4-FFF2-40B4-BE49-F238E27FC236}">
                <a16:creationId xmlns:a16="http://schemas.microsoft.com/office/drawing/2014/main" id="{2709E945-4268-62B5-C74C-65682BA07C9E}"/>
              </a:ext>
            </a:extLst>
          </p:cNvPr>
          <p:cNvSpPr/>
          <p:nvPr/>
        </p:nvSpPr>
        <p:spPr>
          <a:xfrm>
            <a:off x="2343505" y="5588779"/>
            <a:ext cx="1336554" cy="59307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2" name="Right Arrow 27">
            <a:extLst>
              <a:ext uri="{FF2B5EF4-FFF2-40B4-BE49-F238E27FC236}">
                <a16:creationId xmlns:a16="http://schemas.microsoft.com/office/drawing/2014/main" id="{A331F2F2-4ABE-663C-CCE0-26689944956A}"/>
              </a:ext>
            </a:extLst>
          </p:cNvPr>
          <p:cNvSpPr/>
          <p:nvPr/>
        </p:nvSpPr>
        <p:spPr>
          <a:xfrm>
            <a:off x="5520928" y="5588779"/>
            <a:ext cx="2419190" cy="59307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3" name="TextBox 42">
            <a:extLst>
              <a:ext uri="{FF2B5EF4-FFF2-40B4-BE49-F238E27FC236}">
                <a16:creationId xmlns:a16="http://schemas.microsoft.com/office/drawing/2014/main" id="{101D710C-1C64-6A07-5B69-D88E7DDD2B01}"/>
              </a:ext>
            </a:extLst>
          </p:cNvPr>
          <p:cNvSpPr txBox="1"/>
          <p:nvPr/>
        </p:nvSpPr>
        <p:spPr>
          <a:xfrm>
            <a:off x="766157" y="6268879"/>
            <a:ext cx="1200970"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Product Backlog</a:t>
            </a:r>
          </a:p>
        </p:txBody>
      </p:sp>
      <p:sp>
        <p:nvSpPr>
          <p:cNvPr id="44" name="TextBox 43">
            <a:extLst>
              <a:ext uri="{FF2B5EF4-FFF2-40B4-BE49-F238E27FC236}">
                <a16:creationId xmlns:a16="http://schemas.microsoft.com/office/drawing/2014/main" id="{EF55FE3F-940D-7028-5070-9C50AA1F030B}"/>
              </a:ext>
            </a:extLst>
          </p:cNvPr>
          <p:cNvSpPr txBox="1"/>
          <p:nvPr/>
        </p:nvSpPr>
        <p:spPr>
          <a:xfrm>
            <a:off x="3981660" y="6268879"/>
            <a:ext cx="1087157"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Backlog</a:t>
            </a:r>
          </a:p>
        </p:txBody>
      </p:sp>
      <p:sp>
        <p:nvSpPr>
          <p:cNvPr id="45" name="TextBox 44">
            <a:extLst>
              <a:ext uri="{FF2B5EF4-FFF2-40B4-BE49-F238E27FC236}">
                <a16:creationId xmlns:a16="http://schemas.microsoft.com/office/drawing/2014/main" id="{E413F668-2A0A-DF83-225C-555732E20D71}"/>
              </a:ext>
            </a:extLst>
          </p:cNvPr>
          <p:cNvSpPr txBox="1"/>
          <p:nvPr/>
        </p:nvSpPr>
        <p:spPr>
          <a:xfrm>
            <a:off x="6072891" y="6268879"/>
            <a:ext cx="1200970"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Execution</a:t>
            </a:r>
          </a:p>
        </p:txBody>
      </p:sp>
      <p:sp>
        <p:nvSpPr>
          <p:cNvPr id="46" name="TextBox 45">
            <a:extLst>
              <a:ext uri="{FF2B5EF4-FFF2-40B4-BE49-F238E27FC236}">
                <a16:creationId xmlns:a16="http://schemas.microsoft.com/office/drawing/2014/main" id="{4AC66820-CB24-E6A8-96D7-5017E48DF5CE}"/>
              </a:ext>
            </a:extLst>
          </p:cNvPr>
          <p:cNvSpPr txBox="1"/>
          <p:nvPr/>
        </p:nvSpPr>
        <p:spPr>
          <a:xfrm>
            <a:off x="8553456" y="6152054"/>
            <a:ext cx="2103114" cy="400110"/>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Potentially Shippable Product Increment</a:t>
            </a:r>
          </a:p>
        </p:txBody>
      </p:sp>
      <p:sp>
        <p:nvSpPr>
          <p:cNvPr id="47" name="TextBox 46">
            <a:extLst>
              <a:ext uri="{FF2B5EF4-FFF2-40B4-BE49-F238E27FC236}">
                <a16:creationId xmlns:a16="http://schemas.microsoft.com/office/drawing/2014/main" id="{67810271-AC1C-F1F9-E497-949000B40E86}"/>
              </a:ext>
            </a:extLst>
          </p:cNvPr>
          <p:cNvSpPr txBox="1"/>
          <p:nvPr/>
        </p:nvSpPr>
        <p:spPr>
          <a:xfrm>
            <a:off x="2392642" y="6301264"/>
            <a:ext cx="1130438"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Planning</a:t>
            </a:r>
          </a:p>
        </p:txBody>
      </p:sp>
      <p:sp>
        <p:nvSpPr>
          <p:cNvPr id="48" name="TextBox 47">
            <a:extLst>
              <a:ext uri="{FF2B5EF4-FFF2-40B4-BE49-F238E27FC236}">
                <a16:creationId xmlns:a16="http://schemas.microsoft.com/office/drawing/2014/main" id="{9AD704BE-BFDF-776E-2785-79CC0B3AB31C}"/>
              </a:ext>
            </a:extLst>
          </p:cNvPr>
          <p:cNvSpPr txBox="1"/>
          <p:nvPr/>
        </p:nvSpPr>
        <p:spPr>
          <a:xfrm>
            <a:off x="7961625" y="6184439"/>
            <a:ext cx="795117" cy="400110"/>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Sprint Review</a:t>
            </a:r>
          </a:p>
        </p:txBody>
      </p:sp>
      <p:sp>
        <p:nvSpPr>
          <p:cNvPr id="49" name="Rectangle 48">
            <a:extLst>
              <a:ext uri="{FF2B5EF4-FFF2-40B4-BE49-F238E27FC236}">
                <a16:creationId xmlns:a16="http://schemas.microsoft.com/office/drawing/2014/main" id="{B37F23AB-D1E5-8F54-E0B7-997395727990}"/>
              </a:ext>
            </a:extLst>
          </p:cNvPr>
          <p:cNvSpPr/>
          <p:nvPr/>
        </p:nvSpPr>
        <p:spPr>
          <a:xfrm>
            <a:off x="863959"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0" name="Rectangle 49">
            <a:extLst>
              <a:ext uri="{FF2B5EF4-FFF2-40B4-BE49-F238E27FC236}">
                <a16:creationId xmlns:a16="http://schemas.microsoft.com/office/drawing/2014/main" id="{EE48BFC4-5243-C6D5-64AC-4538BBAFEB18}"/>
              </a:ext>
            </a:extLst>
          </p:cNvPr>
          <p:cNvSpPr/>
          <p:nvPr/>
        </p:nvSpPr>
        <p:spPr>
          <a:xfrm>
            <a:off x="1248938"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1" name="Rectangle 50">
            <a:extLst>
              <a:ext uri="{FF2B5EF4-FFF2-40B4-BE49-F238E27FC236}">
                <a16:creationId xmlns:a16="http://schemas.microsoft.com/office/drawing/2014/main" id="{D9A99CBA-B34C-FFED-10E6-61F1EB9A48A1}"/>
              </a:ext>
            </a:extLst>
          </p:cNvPr>
          <p:cNvSpPr/>
          <p:nvPr/>
        </p:nvSpPr>
        <p:spPr>
          <a:xfrm>
            <a:off x="1633916"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2" name="Freeform 948">
            <a:extLst>
              <a:ext uri="{FF2B5EF4-FFF2-40B4-BE49-F238E27FC236}">
                <a16:creationId xmlns:a16="http://schemas.microsoft.com/office/drawing/2014/main" id="{26A0C8AE-2C3D-E8BD-8F3A-86223A856185}"/>
              </a:ext>
            </a:extLst>
          </p:cNvPr>
          <p:cNvSpPr>
            <a:spLocks noChangeAspect="1" noChangeArrowheads="1"/>
          </p:cNvSpPr>
          <p:nvPr/>
        </p:nvSpPr>
        <p:spPr bwMode="auto">
          <a:xfrm>
            <a:off x="9173090" y="5406454"/>
            <a:ext cx="855900" cy="754006"/>
          </a:xfrm>
          <a:custGeom>
            <a:avLst/>
            <a:gdLst>
              <a:gd name="T0" fmla="*/ 27610722 w 293328"/>
              <a:gd name="T1" fmla="*/ 27453834 h 258401"/>
              <a:gd name="T2" fmla="*/ 9154902 w 293328"/>
              <a:gd name="T3" fmla="*/ 26352054 h 258401"/>
              <a:gd name="T4" fmla="*/ 8582692 w 293328"/>
              <a:gd name="T5" fmla="*/ 26925015 h 258401"/>
              <a:gd name="T6" fmla="*/ 24560222 w 293328"/>
              <a:gd name="T7" fmla="*/ 27001841 h 258401"/>
              <a:gd name="T8" fmla="*/ 27587035 w 293328"/>
              <a:gd name="T9" fmla="*/ 23963042 h 258401"/>
              <a:gd name="T10" fmla="*/ 9080349 w 293328"/>
              <a:gd name="T11" fmla="*/ 30040687 h 258401"/>
              <a:gd name="T12" fmla="*/ 1038012 w 293328"/>
              <a:gd name="T13" fmla="*/ 21097906 h 258401"/>
              <a:gd name="T14" fmla="*/ 5015691 w 293328"/>
              <a:gd name="T15" fmla="*/ 26437412 h 258401"/>
              <a:gd name="T16" fmla="*/ 19933601 w 293328"/>
              <a:gd name="T17" fmla="*/ 26437412 h 258401"/>
              <a:gd name="T18" fmla="*/ 24016198 w 293328"/>
              <a:gd name="T19" fmla="*/ 19859556 h 258401"/>
              <a:gd name="T20" fmla="*/ 26673362 w 293328"/>
              <a:gd name="T21" fmla="*/ 20961094 h 258401"/>
              <a:gd name="T22" fmla="*/ 24016198 w 293328"/>
              <a:gd name="T23" fmla="*/ 19859556 h 258401"/>
              <a:gd name="T24" fmla="*/ 15307077 w 293328"/>
              <a:gd name="T25" fmla="*/ 13587724 h 258401"/>
              <a:gd name="T26" fmla="*/ 16733736 w 293328"/>
              <a:gd name="T27" fmla="*/ 11069930 h 258401"/>
              <a:gd name="T28" fmla="*/ 11026240 w 293328"/>
              <a:gd name="T29" fmla="*/ 20012605 h 258401"/>
              <a:gd name="T30" fmla="*/ 17814730 w 293328"/>
              <a:gd name="T31" fmla="*/ 11069930 h 258401"/>
              <a:gd name="T32" fmla="*/ 17079772 w 293328"/>
              <a:gd name="T33" fmla="*/ 15324063 h 258401"/>
              <a:gd name="T34" fmla="*/ 13706857 w 293328"/>
              <a:gd name="T35" fmla="*/ 15367655 h 258401"/>
              <a:gd name="T36" fmla="*/ 13144847 w 293328"/>
              <a:gd name="T37" fmla="*/ 11069930 h 258401"/>
              <a:gd name="T38" fmla="*/ 4237276 w 293328"/>
              <a:gd name="T39" fmla="*/ 14021773 h 258401"/>
              <a:gd name="T40" fmla="*/ 5707359 w 293328"/>
              <a:gd name="T41" fmla="*/ 13587724 h 258401"/>
              <a:gd name="T42" fmla="*/ 4237276 w 293328"/>
              <a:gd name="T43" fmla="*/ 11069930 h 258401"/>
              <a:gd name="T44" fmla="*/ 9945373 w 293328"/>
              <a:gd name="T45" fmla="*/ 20012605 h 258401"/>
              <a:gd name="T46" fmla="*/ 7826377 w 293328"/>
              <a:gd name="T47" fmla="*/ 14803100 h 258401"/>
              <a:gd name="T48" fmla="*/ 7091399 w 293328"/>
              <a:gd name="T49" fmla="*/ 15324063 h 258401"/>
              <a:gd name="T50" fmla="*/ 3415964 w 293328"/>
              <a:gd name="T51" fmla="*/ 15237161 h 258401"/>
              <a:gd name="T52" fmla="*/ 1038012 w 293328"/>
              <a:gd name="T53" fmla="*/ 11069930 h 258401"/>
              <a:gd name="T54" fmla="*/ 26722298 w 293328"/>
              <a:gd name="T55" fmla="*/ 16409461 h 258401"/>
              <a:gd name="T56" fmla="*/ 25252179 w 293328"/>
              <a:gd name="T57" fmla="*/ 7466708 h 258401"/>
              <a:gd name="T58" fmla="*/ 21014519 w 293328"/>
              <a:gd name="T59" fmla="*/ 26437412 h 258401"/>
              <a:gd name="T60" fmla="*/ 31651633 w 293328"/>
              <a:gd name="T61" fmla="*/ 26437412 h 258401"/>
              <a:gd name="T62" fmla="*/ 34202613 w 293328"/>
              <a:gd name="T63" fmla="*/ 23963042 h 258401"/>
              <a:gd name="T64" fmla="*/ 32343327 w 293328"/>
              <a:gd name="T65" fmla="*/ 22877815 h 258401"/>
              <a:gd name="T66" fmla="*/ 32343327 w 293328"/>
              <a:gd name="T67" fmla="*/ 20967830 h 258401"/>
              <a:gd name="T68" fmla="*/ 34202613 w 293328"/>
              <a:gd name="T69" fmla="*/ 19882456 h 258401"/>
              <a:gd name="T70" fmla="*/ 26722298 w 293328"/>
              <a:gd name="T71" fmla="*/ 17494806 h 258401"/>
              <a:gd name="T72" fmla="*/ 21014519 w 293328"/>
              <a:gd name="T73" fmla="*/ 7466708 h 258401"/>
              <a:gd name="T74" fmla="*/ 10290941 w 293328"/>
              <a:gd name="T75" fmla="*/ 3559590 h 258401"/>
              <a:gd name="T76" fmla="*/ 11718072 w 293328"/>
              <a:gd name="T77" fmla="*/ 1041754 h 258401"/>
              <a:gd name="T78" fmla="*/ 6053678 w 293328"/>
              <a:gd name="T79" fmla="*/ 9984609 h 258401"/>
              <a:gd name="T80" fmla="*/ 12799067 w 293328"/>
              <a:gd name="T81" fmla="*/ 1041754 h 258401"/>
              <a:gd name="T82" fmla="*/ 12280200 w 293328"/>
              <a:gd name="T83" fmla="*/ 5339544 h 258401"/>
              <a:gd name="T84" fmla="*/ 8907366 w 293328"/>
              <a:gd name="T85" fmla="*/ 5296325 h 258401"/>
              <a:gd name="T86" fmla="*/ 8172406 w 293328"/>
              <a:gd name="T87" fmla="*/ 1041754 h 258401"/>
              <a:gd name="T88" fmla="*/ 15479727 w 293328"/>
              <a:gd name="T89" fmla="*/ 0 h 258401"/>
              <a:gd name="T90" fmla="*/ 19933601 w 293328"/>
              <a:gd name="T91" fmla="*/ 9984609 h 258401"/>
              <a:gd name="T92" fmla="*/ 25252179 w 293328"/>
              <a:gd name="T93" fmla="*/ 6381406 h 258401"/>
              <a:gd name="T94" fmla="*/ 35240414 w 293328"/>
              <a:gd name="T95" fmla="*/ 19838874 h 258401"/>
              <a:gd name="T96" fmla="*/ 31651633 w 293328"/>
              <a:gd name="T97" fmla="*/ 27522882 h 258401"/>
              <a:gd name="T98" fmla="*/ 13144847 w 293328"/>
              <a:gd name="T99" fmla="*/ 27522882 h 258401"/>
              <a:gd name="T100" fmla="*/ 1945877 w 293328"/>
              <a:gd name="T101" fmla="*/ 27522882 h 258401"/>
              <a:gd name="T102" fmla="*/ 0 w 293328"/>
              <a:gd name="T103" fmla="*/ 10549040 h 258401"/>
              <a:gd name="T104" fmla="*/ 4972696 w 293328"/>
              <a:gd name="T105" fmla="*/ 520909 h 2584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3328" h="258401">
                <a:moveTo>
                  <a:pt x="229821" y="219075"/>
                </a:moveTo>
                <a:cubicBezTo>
                  <a:pt x="232386" y="219075"/>
                  <a:pt x="234584" y="220907"/>
                  <a:pt x="234584" y="223838"/>
                </a:cubicBezTo>
                <a:cubicBezTo>
                  <a:pt x="234584" y="226402"/>
                  <a:pt x="232386" y="228234"/>
                  <a:pt x="229821" y="228234"/>
                </a:cubicBezTo>
                <a:cubicBezTo>
                  <a:pt x="227257" y="228234"/>
                  <a:pt x="225425" y="226402"/>
                  <a:pt x="225425" y="223838"/>
                </a:cubicBezTo>
                <a:cubicBezTo>
                  <a:pt x="225425" y="220907"/>
                  <a:pt x="227257" y="219075"/>
                  <a:pt x="229821" y="219075"/>
                </a:cubicBezTo>
                <a:close/>
                <a:moveTo>
                  <a:pt x="76200" y="219075"/>
                </a:moveTo>
                <a:cubicBezTo>
                  <a:pt x="78398" y="219075"/>
                  <a:pt x="80597" y="220907"/>
                  <a:pt x="80597" y="223838"/>
                </a:cubicBezTo>
                <a:cubicBezTo>
                  <a:pt x="80597" y="226402"/>
                  <a:pt x="78398" y="228234"/>
                  <a:pt x="76200" y="228234"/>
                </a:cubicBezTo>
                <a:cubicBezTo>
                  <a:pt x="73636" y="228234"/>
                  <a:pt x="71438" y="226402"/>
                  <a:pt x="71438" y="223838"/>
                </a:cubicBezTo>
                <a:cubicBezTo>
                  <a:pt x="71438" y="220907"/>
                  <a:pt x="73636" y="219075"/>
                  <a:pt x="76200" y="219075"/>
                </a:cubicBezTo>
                <a:close/>
                <a:moveTo>
                  <a:pt x="229624" y="199214"/>
                </a:moveTo>
                <a:cubicBezTo>
                  <a:pt x="215947" y="199214"/>
                  <a:pt x="204430" y="210402"/>
                  <a:pt x="204430" y="224477"/>
                </a:cubicBezTo>
                <a:cubicBezTo>
                  <a:pt x="204430" y="238191"/>
                  <a:pt x="215947" y="249740"/>
                  <a:pt x="229624" y="249740"/>
                </a:cubicBezTo>
                <a:cubicBezTo>
                  <a:pt x="243660" y="249740"/>
                  <a:pt x="254818" y="238191"/>
                  <a:pt x="254818" y="224477"/>
                </a:cubicBezTo>
                <a:cubicBezTo>
                  <a:pt x="254818" y="210402"/>
                  <a:pt x="243660" y="199214"/>
                  <a:pt x="229624" y="199214"/>
                </a:cubicBezTo>
                <a:close/>
                <a:moveTo>
                  <a:pt x="75581" y="199214"/>
                </a:moveTo>
                <a:cubicBezTo>
                  <a:pt x="61545" y="199214"/>
                  <a:pt x="50388" y="210402"/>
                  <a:pt x="50388" y="224477"/>
                </a:cubicBezTo>
                <a:cubicBezTo>
                  <a:pt x="50388" y="238191"/>
                  <a:pt x="61545" y="249740"/>
                  <a:pt x="75581" y="249740"/>
                </a:cubicBezTo>
                <a:cubicBezTo>
                  <a:pt x="89258" y="249740"/>
                  <a:pt x="100415" y="238191"/>
                  <a:pt x="100415" y="224477"/>
                </a:cubicBezTo>
                <a:cubicBezTo>
                  <a:pt x="100415" y="210402"/>
                  <a:pt x="89258" y="199214"/>
                  <a:pt x="75581" y="199214"/>
                </a:cubicBezTo>
                <a:close/>
                <a:moveTo>
                  <a:pt x="8638" y="175395"/>
                </a:moveTo>
                <a:lnTo>
                  <a:pt x="8638" y="212568"/>
                </a:lnTo>
                <a:cubicBezTo>
                  <a:pt x="8638" y="216537"/>
                  <a:pt x="11877" y="219785"/>
                  <a:pt x="16196" y="219785"/>
                </a:cubicBezTo>
                <a:lnTo>
                  <a:pt x="41750" y="219785"/>
                </a:lnTo>
                <a:cubicBezTo>
                  <a:pt x="43909" y="203184"/>
                  <a:pt x="58306" y="190192"/>
                  <a:pt x="75581" y="190192"/>
                </a:cubicBezTo>
                <a:cubicBezTo>
                  <a:pt x="92857" y="190192"/>
                  <a:pt x="106894" y="203184"/>
                  <a:pt x="109413" y="219785"/>
                </a:cubicBezTo>
                <a:lnTo>
                  <a:pt x="165919" y="219785"/>
                </a:lnTo>
                <a:lnTo>
                  <a:pt x="165919" y="175395"/>
                </a:lnTo>
                <a:lnTo>
                  <a:pt x="8638" y="175395"/>
                </a:lnTo>
                <a:close/>
                <a:moveTo>
                  <a:pt x="199901" y="165100"/>
                </a:moveTo>
                <a:lnTo>
                  <a:pt x="222019" y="165100"/>
                </a:lnTo>
                <a:cubicBezTo>
                  <a:pt x="224873" y="165100"/>
                  <a:pt x="226656" y="166932"/>
                  <a:pt x="226656" y="169863"/>
                </a:cubicBezTo>
                <a:cubicBezTo>
                  <a:pt x="226656" y="172061"/>
                  <a:pt x="224873" y="174259"/>
                  <a:pt x="222019" y="174259"/>
                </a:cubicBezTo>
                <a:lnTo>
                  <a:pt x="199901" y="174259"/>
                </a:lnTo>
                <a:cubicBezTo>
                  <a:pt x="197404" y="174259"/>
                  <a:pt x="195263" y="172061"/>
                  <a:pt x="195263" y="169863"/>
                </a:cubicBezTo>
                <a:cubicBezTo>
                  <a:pt x="195263" y="166932"/>
                  <a:pt x="197404" y="165100"/>
                  <a:pt x="199901" y="165100"/>
                </a:cubicBezTo>
                <a:close/>
                <a:moveTo>
                  <a:pt x="118411" y="92028"/>
                </a:moveTo>
                <a:lnTo>
                  <a:pt x="118411" y="116569"/>
                </a:lnTo>
                <a:lnTo>
                  <a:pt x="127409" y="112960"/>
                </a:lnTo>
                <a:cubicBezTo>
                  <a:pt x="128128" y="112599"/>
                  <a:pt x="129208" y="112599"/>
                  <a:pt x="130288" y="112960"/>
                </a:cubicBezTo>
                <a:lnTo>
                  <a:pt x="139286" y="116569"/>
                </a:lnTo>
                <a:lnTo>
                  <a:pt x="139286" y="92028"/>
                </a:lnTo>
                <a:lnTo>
                  <a:pt x="118411" y="92028"/>
                </a:lnTo>
                <a:close/>
                <a:moveTo>
                  <a:pt x="91777" y="92028"/>
                </a:moveTo>
                <a:lnTo>
                  <a:pt x="91777" y="166373"/>
                </a:lnTo>
                <a:lnTo>
                  <a:pt x="165919" y="166373"/>
                </a:lnTo>
                <a:lnTo>
                  <a:pt x="165919" y="92028"/>
                </a:lnTo>
                <a:lnTo>
                  <a:pt x="148284" y="92028"/>
                </a:lnTo>
                <a:lnTo>
                  <a:pt x="148284" y="123065"/>
                </a:lnTo>
                <a:cubicBezTo>
                  <a:pt x="148284" y="124870"/>
                  <a:pt x="147204" y="125952"/>
                  <a:pt x="146124" y="126674"/>
                </a:cubicBezTo>
                <a:cubicBezTo>
                  <a:pt x="145044" y="127757"/>
                  <a:pt x="143245" y="127757"/>
                  <a:pt x="142165" y="127396"/>
                </a:cubicBezTo>
                <a:lnTo>
                  <a:pt x="128848" y="121983"/>
                </a:lnTo>
                <a:lnTo>
                  <a:pt x="115532" y="127396"/>
                </a:lnTo>
                <a:cubicBezTo>
                  <a:pt x="115172" y="127757"/>
                  <a:pt x="114452" y="127757"/>
                  <a:pt x="114092" y="127757"/>
                </a:cubicBezTo>
                <a:cubicBezTo>
                  <a:pt x="113012" y="127757"/>
                  <a:pt x="112292" y="127396"/>
                  <a:pt x="111573" y="126674"/>
                </a:cubicBezTo>
                <a:cubicBezTo>
                  <a:pt x="110493" y="125952"/>
                  <a:pt x="109413" y="124870"/>
                  <a:pt x="109413" y="123065"/>
                </a:cubicBezTo>
                <a:lnTo>
                  <a:pt x="109413" y="92028"/>
                </a:lnTo>
                <a:lnTo>
                  <a:pt x="91777" y="92028"/>
                </a:lnTo>
                <a:close/>
                <a:moveTo>
                  <a:pt x="35271" y="92028"/>
                </a:moveTo>
                <a:lnTo>
                  <a:pt x="35271" y="116569"/>
                </a:lnTo>
                <a:lnTo>
                  <a:pt x="44269" y="112960"/>
                </a:lnTo>
                <a:cubicBezTo>
                  <a:pt x="44629" y="112960"/>
                  <a:pt x="45349" y="112960"/>
                  <a:pt x="45709" y="112960"/>
                </a:cubicBezTo>
                <a:cubicBezTo>
                  <a:pt x="46428" y="112960"/>
                  <a:pt x="46788" y="112960"/>
                  <a:pt x="47508" y="112960"/>
                </a:cubicBezTo>
                <a:lnTo>
                  <a:pt x="56146" y="116569"/>
                </a:lnTo>
                <a:lnTo>
                  <a:pt x="56146" y="92028"/>
                </a:lnTo>
                <a:lnTo>
                  <a:pt x="35271" y="92028"/>
                </a:lnTo>
                <a:close/>
                <a:moveTo>
                  <a:pt x="8638" y="92028"/>
                </a:moveTo>
                <a:lnTo>
                  <a:pt x="8638" y="166373"/>
                </a:lnTo>
                <a:lnTo>
                  <a:pt x="82780" y="166373"/>
                </a:lnTo>
                <a:lnTo>
                  <a:pt x="82780" y="92028"/>
                </a:lnTo>
                <a:lnTo>
                  <a:pt x="65144" y="92028"/>
                </a:lnTo>
                <a:lnTo>
                  <a:pt x="65144" y="123065"/>
                </a:lnTo>
                <a:cubicBezTo>
                  <a:pt x="65144" y="124870"/>
                  <a:pt x="64064" y="125952"/>
                  <a:pt x="63344" y="126674"/>
                </a:cubicBezTo>
                <a:cubicBezTo>
                  <a:pt x="62265" y="127396"/>
                  <a:pt x="61545" y="127757"/>
                  <a:pt x="60825" y="127757"/>
                </a:cubicBezTo>
                <a:cubicBezTo>
                  <a:pt x="60105" y="127757"/>
                  <a:pt x="59385" y="127757"/>
                  <a:pt x="59025" y="127396"/>
                </a:cubicBezTo>
                <a:lnTo>
                  <a:pt x="45709" y="121983"/>
                </a:lnTo>
                <a:lnTo>
                  <a:pt x="32752" y="127396"/>
                </a:lnTo>
                <a:cubicBezTo>
                  <a:pt x="31312" y="127757"/>
                  <a:pt x="29513" y="127757"/>
                  <a:pt x="28433" y="126674"/>
                </a:cubicBezTo>
                <a:cubicBezTo>
                  <a:pt x="27353" y="125952"/>
                  <a:pt x="26273" y="124870"/>
                  <a:pt x="26273" y="123065"/>
                </a:cubicBezTo>
                <a:lnTo>
                  <a:pt x="26273" y="92028"/>
                </a:lnTo>
                <a:lnTo>
                  <a:pt x="8638" y="92028"/>
                </a:lnTo>
                <a:close/>
                <a:moveTo>
                  <a:pt x="204430" y="62074"/>
                </a:moveTo>
                <a:lnTo>
                  <a:pt x="204430" y="118374"/>
                </a:lnTo>
                <a:cubicBezTo>
                  <a:pt x="204430" y="128479"/>
                  <a:pt x="212708" y="136418"/>
                  <a:pt x="222426" y="136418"/>
                </a:cubicBezTo>
                <a:lnTo>
                  <a:pt x="258417" y="136418"/>
                </a:lnTo>
                <a:lnTo>
                  <a:pt x="233223" y="77592"/>
                </a:lnTo>
                <a:cubicBezTo>
                  <a:pt x="229264" y="68209"/>
                  <a:pt x="220266" y="62074"/>
                  <a:pt x="210189" y="62074"/>
                </a:cubicBezTo>
                <a:lnTo>
                  <a:pt x="204430" y="62074"/>
                </a:lnTo>
                <a:close/>
                <a:moveTo>
                  <a:pt x="174917" y="62074"/>
                </a:moveTo>
                <a:lnTo>
                  <a:pt x="174917" y="219785"/>
                </a:lnTo>
                <a:lnTo>
                  <a:pt x="195792" y="219785"/>
                </a:lnTo>
                <a:cubicBezTo>
                  <a:pt x="197952" y="203184"/>
                  <a:pt x="212348" y="190192"/>
                  <a:pt x="229624" y="190192"/>
                </a:cubicBezTo>
                <a:cubicBezTo>
                  <a:pt x="246900" y="190192"/>
                  <a:pt x="261296" y="203184"/>
                  <a:pt x="263456" y="219785"/>
                </a:cubicBezTo>
                <a:lnTo>
                  <a:pt x="277132" y="219785"/>
                </a:lnTo>
                <a:cubicBezTo>
                  <a:pt x="281091" y="219785"/>
                  <a:pt x="284690" y="216537"/>
                  <a:pt x="284690" y="212568"/>
                </a:cubicBezTo>
                <a:lnTo>
                  <a:pt x="284690" y="199214"/>
                </a:lnTo>
                <a:lnTo>
                  <a:pt x="269214" y="199214"/>
                </a:lnTo>
                <a:cubicBezTo>
                  <a:pt x="267055" y="199214"/>
                  <a:pt x="264895" y="197049"/>
                  <a:pt x="264895" y="194523"/>
                </a:cubicBezTo>
                <a:cubicBezTo>
                  <a:pt x="264895" y="191996"/>
                  <a:pt x="267055" y="190192"/>
                  <a:pt x="269214" y="190192"/>
                </a:cubicBezTo>
                <a:lnTo>
                  <a:pt x="284690" y="190192"/>
                </a:lnTo>
                <a:lnTo>
                  <a:pt x="284690" y="174313"/>
                </a:lnTo>
                <a:lnTo>
                  <a:pt x="269214" y="174313"/>
                </a:lnTo>
                <a:cubicBezTo>
                  <a:pt x="267055" y="174313"/>
                  <a:pt x="264895" y="172147"/>
                  <a:pt x="264895" y="169982"/>
                </a:cubicBezTo>
                <a:cubicBezTo>
                  <a:pt x="264895" y="167095"/>
                  <a:pt x="267055" y="165290"/>
                  <a:pt x="269214" y="165290"/>
                </a:cubicBezTo>
                <a:lnTo>
                  <a:pt x="284690" y="165290"/>
                </a:lnTo>
                <a:lnTo>
                  <a:pt x="284690" y="164929"/>
                </a:lnTo>
                <a:cubicBezTo>
                  <a:pt x="284690" y="154102"/>
                  <a:pt x="275693" y="145441"/>
                  <a:pt x="265255" y="145441"/>
                </a:cubicBezTo>
                <a:lnTo>
                  <a:pt x="222426" y="145441"/>
                </a:lnTo>
                <a:cubicBezTo>
                  <a:pt x="207669" y="145441"/>
                  <a:pt x="195432" y="133531"/>
                  <a:pt x="195432" y="118374"/>
                </a:cubicBezTo>
                <a:lnTo>
                  <a:pt x="195432" y="62074"/>
                </a:lnTo>
                <a:lnTo>
                  <a:pt x="174917" y="62074"/>
                </a:lnTo>
                <a:close/>
                <a:moveTo>
                  <a:pt x="77021" y="8661"/>
                </a:moveTo>
                <a:lnTo>
                  <a:pt x="77021" y="33202"/>
                </a:lnTo>
                <a:lnTo>
                  <a:pt x="85659" y="29593"/>
                </a:lnTo>
                <a:cubicBezTo>
                  <a:pt x="86739" y="29232"/>
                  <a:pt x="87818" y="29232"/>
                  <a:pt x="88898" y="29593"/>
                </a:cubicBezTo>
                <a:lnTo>
                  <a:pt x="97536" y="33202"/>
                </a:lnTo>
                <a:lnTo>
                  <a:pt x="97536" y="8661"/>
                </a:lnTo>
                <a:lnTo>
                  <a:pt x="77021" y="8661"/>
                </a:lnTo>
                <a:close/>
                <a:moveTo>
                  <a:pt x="50388" y="8661"/>
                </a:moveTo>
                <a:lnTo>
                  <a:pt x="50388" y="83006"/>
                </a:lnTo>
                <a:lnTo>
                  <a:pt x="124169" y="83006"/>
                </a:lnTo>
                <a:lnTo>
                  <a:pt x="124169" y="8661"/>
                </a:lnTo>
                <a:lnTo>
                  <a:pt x="106534" y="8661"/>
                </a:lnTo>
                <a:lnTo>
                  <a:pt x="106534" y="40059"/>
                </a:lnTo>
                <a:cubicBezTo>
                  <a:pt x="106534" y="41503"/>
                  <a:pt x="105814" y="42946"/>
                  <a:pt x="104734" y="43307"/>
                </a:cubicBezTo>
                <a:cubicBezTo>
                  <a:pt x="104014" y="44029"/>
                  <a:pt x="102935" y="44390"/>
                  <a:pt x="102215" y="44390"/>
                </a:cubicBezTo>
                <a:cubicBezTo>
                  <a:pt x="101855" y="44390"/>
                  <a:pt x="101135" y="44390"/>
                  <a:pt x="100415" y="44029"/>
                </a:cubicBezTo>
                <a:lnTo>
                  <a:pt x="87458" y="38977"/>
                </a:lnTo>
                <a:lnTo>
                  <a:pt x="74142" y="44029"/>
                </a:lnTo>
                <a:cubicBezTo>
                  <a:pt x="72702" y="44751"/>
                  <a:pt x="71262" y="44390"/>
                  <a:pt x="69823" y="43307"/>
                </a:cubicBezTo>
                <a:cubicBezTo>
                  <a:pt x="68743" y="42946"/>
                  <a:pt x="68023" y="41503"/>
                  <a:pt x="68023" y="40059"/>
                </a:cubicBezTo>
                <a:lnTo>
                  <a:pt x="68023" y="8661"/>
                </a:lnTo>
                <a:lnTo>
                  <a:pt x="50388" y="8661"/>
                </a:lnTo>
                <a:close/>
                <a:moveTo>
                  <a:pt x="45709" y="0"/>
                </a:moveTo>
                <a:lnTo>
                  <a:pt x="128848" y="0"/>
                </a:lnTo>
                <a:cubicBezTo>
                  <a:pt x="131368" y="0"/>
                  <a:pt x="133527" y="1804"/>
                  <a:pt x="133527" y="4331"/>
                </a:cubicBezTo>
                <a:lnTo>
                  <a:pt x="133527" y="83006"/>
                </a:lnTo>
                <a:lnTo>
                  <a:pt x="165919" y="83006"/>
                </a:lnTo>
                <a:lnTo>
                  <a:pt x="165919" y="57743"/>
                </a:lnTo>
                <a:cubicBezTo>
                  <a:pt x="165919" y="55578"/>
                  <a:pt x="167719" y="53051"/>
                  <a:pt x="170238" y="53051"/>
                </a:cubicBezTo>
                <a:lnTo>
                  <a:pt x="210189" y="53051"/>
                </a:lnTo>
                <a:cubicBezTo>
                  <a:pt x="223865" y="53051"/>
                  <a:pt x="236102" y="61352"/>
                  <a:pt x="241501" y="73983"/>
                </a:cubicBezTo>
                <a:lnTo>
                  <a:pt x="268134" y="136779"/>
                </a:lnTo>
                <a:cubicBezTo>
                  <a:pt x="282531" y="138223"/>
                  <a:pt x="293328" y="150493"/>
                  <a:pt x="293328" y="164929"/>
                </a:cubicBezTo>
                <a:lnTo>
                  <a:pt x="293328" y="212568"/>
                </a:lnTo>
                <a:cubicBezTo>
                  <a:pt x="293328" y="221590"/>
                  <a:pt x="286130" y="228808"/>
                  <a:pt x="277132" y="228808"/>
                </a:cubicBezTo>
                <a:lnTo>
                  <a:pt x="263456" y="228808"/>
                </a:lnTo>
                <a:cubicBezTo>
                  <a:pt x="261296" y="245409"/>
                  <a:pt x="246900" y="258401"/>
                  <a:pt x="229624" y="258401"/>
                </a:cubicBezTo>
                <a:cubicBezTo>
                  <a:pt x="212348" y="258401"/>
                  <a:pt x="197952" y="245409"/>
                  <a:pt x="195792" y="228808"/>
                </a:cubicBezTo>
                <a:lnTo>
                  <a:pt x="109413" y="228808"/>
                </a:lnTo>
                <a:cubicBezTo>
                  <a:pt x="106894" y="245409"/>
                  <a:pt x="92857" y="258401"/>
                  <a:pt x="75581" y="258401"/>
                </a:cubicBezTo>
                <a:cubicBezTo>
                  <a:pt x="58306" y="258401"/>
                  <a:pt x="43909" y="245409"/>
                  <a:pt x="41750" y="228808"/>
                </a:cubicBezTo>
                <a:lnTo>
                  <a:pt x="16196" y="228808"/>
                </a:lnTo>
                <a:cubicBezTo>
                  <a:pt x="7198" y="228808"/>
                  <a:pt x="0" y="221590"/>
                  <a:pt x="0" y="212568"/>
                </a:cubicBezTo>
                <a:lnTo>
                  <a:pt x="0" y="170704"/>
                </a:lnTo>
                <a:lnTo>
                  <a:pt x="0" y="87697"/>
                </a:lnTo>
                <a:cubicBezTo>
                  <a:pt x="0" y="85171"/>
                  <a:pt x="1799" y="83006"/>
                  <a:pt x="4319" y="83006"/>
                </a:cubicBezTo>
                <a:lnTo>
                  <a:pt x="41390" y="83006"/>
                </a:lnTo>
                <a:lnTo>
                  <a:pt x="41390" y="4331"/>
                </a:lnTo>
                <a:cubicBezTo>
                  <a:pt x="41390" y="1804"/>
                  <a:pt x="43549" y="0"/>
                  <a:pt x="45709"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pic>
        <p:nvPicPr>
          <p:cNvPr id="53" name="Graphic 52" descr="Magnifying glass with solid fill">
            <a:extLst>
              <a:ext uri="{FF2B5EF4-FFF2-40B4-BE49-F238E27FC236}">
                <a16:creationId xmlns:a16="http://schemas.microsoft.com/office/drawing/2014/main" id="{33C7E71D-A63D-939E-1C11-175C0AA82AF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70162" y="5579759"/>
            <a:ext cx="581573" cy="581573"/>
          </a:xfrm>
          <a:prstGeom prst="rect">
            <a:avLst/>
          </a:prstGeom>
        </p:spPr>
      </p:pic>
      <p:pic>
        <p:nvPicPr>
          <p:cNvPr id="54" name="Graphic 53" descr="Checklist with solid fill">
            <a:extLst>
              <a:ext uri="{FF2B5EF4-FFF2-40B4-BE49-F238E27FC236}">
                <a16:creationId xmlns:a16="http://schemas.microsoft.com/office/drawing/2014/main" id="{05E1A23C-5DF9-C4F5-90EE-0ADF0A66A00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94089" y="5521177"/>
            <a:ext cx="682961" cy="682961"/>
          </a:xfrm>
          <a:prstGeom prst="rect">
            <a:avLst/>
          </a:prstGeom>
        </p:spPr>
      </p:pic>
      <p:sp>
        <p:nvSpPr>
          <p:cNvPr id="55" name="Rectangle 54">
            <a:extLst>
              <a:ext uri="{FF2B5EF4-FFF2-40B4-BE49-F238E27FC236}">
                <a16:creationId xmlns:a16="http://schemas.microsoft.com/office/drawing/2014/main" id="{0DACE58D-99C3-E5BB-73A0-8428B1710B5A}"/>
              </a:ext>
            </a:extLst>
          </p:cNvPr>
          <p:cNvSpPr/>
          <p:nvPr/>
        </p:nvSpPr>
        <p:spPr>
          <a:xfrm>
            <a:off x="863959"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6" name="Rectangle 55">
            <a:extLst>
              <a:ext uri="{FF2B5EF4-FFF2-40B4-BE49-F238E27FC236}">
                <a16:creationId xmlns:a16="http://schemas.microsoft.com/office/drawing/2014/main" id="{6EF299EE-BBBB-9B92-A785-9BBF598BEAAE}"/>
              </a:ext>
            </a:extLst>
          </p:cNvPr>
          <p:cNvSpPr/>
          <p:nvPr/>
        </p:nvSpPr>
        <p:spPr>
          <a:xfrm>
            <a:off x="1248938"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7" name="Rectangle 56">
            <a:extLst>
              <a:ext uri="{FF2B5EF4-FFF2-40B4-BE49-F238E27FC236}">
                <a16:creationId xmlns:a16="http://schemas.microsoft.com/office/drawing/2014/main" id="{176DDB36-3829-C962-9EFA-B3F7F92F8A81}"/>
              </a:ext>
            </a:extLst>
          </p:cNvPr>
          <p:cNvSpPr/>
          <p:nvPr/>
        </p:nvSpPr>
        <p:spPr>
          <a:xfrm>
            <a:off x="1633916"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8" name="Rectangle 57">
            <a:extLst>
              <a:ext uri="{FF2B5EF4-FFF2-40B4-BE49-F238E27FC236}">
                <a16:creationId xmlns:a16="http://schemas.microsoft.com/office/drawing/2014/main" id="{5DC45BDF-BC33-4B2C-F4C2-78E92F688734}"/>
              </a:ext>
            </a:extLst>
          </p:cNvPr>
          <p:cNvSpPr/>
          <p:nvPr/>
        </p:nvSpPr>
        <p:spPr>
          <a:xfrm>
            <a:off x="3947719"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9" name="Rectangle 58">
            <a:extLst>
              <a:ext uri="{FF2B5EF4-FFF2-40B4-BE49-F238E27FC236}">
                <a16:creationId xmlns:a16="http://schemas.microsoft.com/office/drawing/2014/main" id="{FB5ACDE1-A2D5-8CAA-1418-183E3C1DB9A6}"/>
              </a:ext>
            </a:extLst>
          </p:cNvPr>
          <p:cNvSpPr/>
          <p:nvPr/>
        </p:nvSpPr>
        <p:spPr>
          <a:xfrm>
            <a:off x="4332698"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0" name="Rectangle 59">
            <a:extLst>
              <a:ext uri="{FF2B5EF4-FFF2-40B4-BE49-F238E27FC236}">
                <a16:creationId xmlns:a16="http://schemas.microsoft.com/office/drawing/2014/main" id="{7DB6823E-0F51-B10F-30FA-1FE83902BDCD}"/>
              </a:ext>
            </a:extLst>
          </p:cNvPr>
          <p:cNvSpPr/>
          <p:nvPr/>
        </p:nvSpPr>
        <p:spPr>
          <a:xfrm>
            <a:off x="4717676"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1" name="TextBox 60">
            <a:extLst>
              <a:ext uri="{FF2B5EF4-FFF2-40B4-BE49-F238E27FC236}">
                <a16:creationId xmlns:a16="http://schemas.microsoft.com/office/drawing/2014/main" id="{4F191E17-2139-F4C1-5E90-F9C979596F80}"/>
              </a:ext>
            </a:extLst>
          </p:cNvPr>
          <p:cNvSpPr txBox="1"/>
          <p:nvPr/>
        </p:nvSpPr>
        <p:spPr>
          <a:xfrm>
            <a:off x="10368915" y="6230159"/>
            <a:ext cx="1514475" cy="246221"/>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Retrospective</a:t>
            </a:r>
          </a:p>
        </p:txBody>
      </p:sp>
    </p:spTree>
    <p:extLst>
      <p:ext uri="{BB962C8B-B14F-4D97-AF65-F5344CB8AC3E}">
        <p14:creationId xmlns:p14="http://schemas.microsoft.com/office/powerpoint/2010/main" val="3536940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Definition</a:t>
            </a:r>
            <a:br>
              <a:rPr lang="en-US" sz="2400" kern="0" dirty="0"/>
            </a:br>
            <a:r>
              <a:rPr lang="en-US" b="0" kern="0" dirty="0"/>
              <a:t>What is the main difference between Project Management and Change Management?</a:t>
            </a:r>
            <a:endParaRPr lang="en-US" sz="2400" b="0" kern="0" dirty="0"/>
          </a:p>
        </p:txBody>
      </p:sp>
      <p:sp>
        <p:nvSpPr>
          <p:cNvPr id="21" name="Rounded Rectangle 9">
            <a:extLst>
              <a:ext uri="{FF2B5EF4-FFF2-40B4-BE49-F238E27FC236}">
                <a16:creationId xmlns:a16="http://schemas.microsoft.com/office/drawing/2014/main" id="{83978A19-CA80-4D7C-851F-704DE617ED90}"/>
              </a:ext>
            </a:extLst>
          </p:cNvPr>
          <p:cNvSpPr/>
          <p:nvPr/>
        </p:nvSpPr>
        <p:spPr bwMode="auto">
          <a:xfrm>
            <a:off x="2474985" y="3078309"/>
            <a:ext cx="1601848" cy="2065696"/>
          </a:xfrm>
          <a:prstGeom prst="roundRect">
            <a:avLst>
              <a:gd name="adj" fmla="val 8225"/>
            </a:avLst>
          </a:prstGeom>
          <a:solidFill>
            <a:schemeClr val="tx1"/>
          </a:solidFill>
          <a:ln>
            <a:solidFill>
              <a:srgbClr val="FFFFFF">
                <a:lumMod val="75000"/>
              </a:srgbClr>
            </a:solidFill>
          </a:ln>
          <a:effectLst>
            <a:outerShdw blurRad="50800" dist="38100" dir="5400000" algn="t" rotWithShape="0">
              <a:prstClr val="black">
                <a:alpha val="40000"/>
              </a:prstClr>
            </a:outerShdw>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400" b="1" dirty="0">
                <a:solidFill>
                  <a:schemeClr val="bg1"/>
                </a:solidFill>
                <a:latin typeface="Arial" charset="0"/>
                <a:cs typeface="Times New Roman" pitchFamily="18" charset="0"/>
              </a:rPr>
              <a:t>Current state</a:t>
            </a:r>
          </a:p>
        </p:txBody>
      </p:sp>
      <p:sp>
        <p:nvSpPr>
          <p:cNvPr id="24" name="Rounded Rectangle 10">
            <a:extLst>
              <a:ext uri="{FF2B5EF4-FFF2-40B4-BE49-F238E27FC236}">
                <a16:creationId xmlns:a16="http://schemas.microsoft.com/office/drawing/2014/main" id="{0C72F473-423A-4E44-BC1D-90F2C606526D}"/>
              </a:ext>
            </a:extLst>
          </p:cNvPr>
          <p:cNvSpPr/>
          <p:nvPr/>
        </p:nvSpPr>
        <p:spPr bwMode="auto">
          <a:xfrm>
            <a:off x="5418992" y="3078309"/>
            <a:ext cx="1601848" cy="2065696"/>
          </a:xfrm>
          <a:prstGeom prst="roundRect">
            <a:avLst>
              <a:gd name="adj" fmla="val 8225"/>
            </a:avLst>
          </a:prstGeom>
          <a:solidFill>
            <a:schemeClr val="accent5"/>
          </a:solidFill>
          <a:ln>
            <a:solidFill>
              <a:srgbClr val="FFFFFF">
                <a:lumMod val="75000"/>
              </a:srgbClr>
            </a:solidFill>
          </a:ln>
          <a:effectLst>
            <a:outerShdw blurRad="50800" dist="38100" dir="5400000" algn="t" rotWithShape="0">
              <a:prstClr val="black">
                <a:alpha val="40000"/>
              </a:prstClr>
            </a:outerShdw>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400" b="1" dirty="0">
                <a:solidFill>
                  <a:schemeClr val="bg1"/>
                </a:solidFill>
                <a:latin typeface="Arial" charset="0"/>
                <a:cs typeface="Times New Roman" pitchFamily="18" charset="0"/>
              </a:rPr>
              <a:t>Transition</a:t>
            </a:r>
          </a:p>
        </p:txBody>
      </p:sp>
      <p:sp>
        <p:nvSpPr>
          <p:cNvPr id="26" name="Rounded Rectangle 13">
            <a:extLst>
              <a:ext uri="{FF2B5EF4-FFF2-40B4-BE49-F238E27FC236}">
                <a16:creationId xmlns:a16="http://schemas.microsoft.com/office/drawing/2014/main" id="{BB2F1A6B-49B2-4701-81D4-A06B2B2CCB85}"/>
              </a:ext>
            </a:extLst>
          </p:cNvPr>
          <p:cNvSpPr/>
          <p:nvPr/>
        </p:nvSpPr>
        <p:spPr bwMode="auto">
          <a:xfrm>
            <a:off x="8425483" y="3078309"/>
            <a:ext cx="1601848" cy="2065696"/>
          </a:xfrm>
          <a:prstGeom prst="roundRect">
            <a:avLst>
              <a:gd name="adj" fmla="val 8225"/>
            </a:avLst>
          </a:prstGeom>
          <a:solidFill>
            <a:schemeClr val="accent3"/>
          </a:solidFill>
          <a:ln>
            <a:solidFill>
              <a:srgbClr val="FFFFFF">
                <a:lumMod val="75000"/>
              </a:srgbClr>
            </a:solidFill>
          </a:ln>
          <a:effectLst>
            <a:outerShdw blurRad="50800" dist="38100" dir="5400000" algn="t" rotWithShape="0">
              <a:prstClr val="black">
                <a:alpha val="40000"/>
              </a:prstClr>
            </a:outerShdw>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400" b="1" dirty="0">
                <a:solidFill>
                  <a:schemeClr val="bg1"/>
                </a:solidFill>
                <a:latin typeface="Arial" charset="0"/>
                <a:cs typeface="Times New Roman" pitchFamily="18" charset="0"/>
              </a:rPr>
              <a:t>Target state</a:t>
            </a:r>
          </a:p>
        </p:txBody>
      </p:sp>
      <p:sp>
        <p:nvSpPr>
          <p:cNvPr id="27" name="Striped Right Arrow 14">
            <a:extLst>
              <a:ext uri="{FF2B5EF4-FFF2-40B4-BE49-F238E27FC236}">
                <a16:creationId xmlns:a16="http://schemas.microsoft.com/office/drawing/2014/main" id="{1EAB12B2-677F-44AC-953B-A4353E91BF04}"/>
              </a:ext>
            </a:extLst>
          </p:cNvPr>
          <p:cNvSpPr/>
          <p:nvPr/>
        </p:nvSpPr>
        <p:spPr bwMode="auto">
          <a:xfrm>
            <a:off x="4380743" y="3651173"/>
            <a:ext cx="796822" cy="919967"/>
          </a:xfrm>
          <a:prstGeom prst="stripedRightArrow">
            <a:avLst/>
          </a:prstGeom>
          <a:solidFill>
            <a:schemeClr val="bg1">
              <a:lumMod val="85000"/>
            </a:schemeClr>
          </a:solidFill>
          <a:ln>
            <a:solidFill>
              <a:srgbClr val="FFFFFF">
                <a:lumMod val="75000"/>
              </a:srgbClr>
            </a:solidFill>
          </a:ln>
          <a:effectLst>
            <a:outerShdw blurRad="50800" dist="38100" dir="5400000" algn="t" rotWithShape="0">
              <a:prstClr val="black">
                <a:alpha val="40000"/>
              </a:prstClr>
            </a:outerShdw>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32" name="Striped Right Arrow 15">
            <a:extLst>
              <a:ext uri="{FF2B5EF4-FFF2-40B4-BE49-F238E27FC236}">
                <a16:creationId xmlns:a16="http://schemas.microsoft.com/office/drawing/2014/main" id="{61E6668A-D96D-4F24-A292-780D26C553EE}"/>
              </a:ext>
            </a:extLst>
          </p:cNvPr>
          <p:cNvSpPr/>
          <p:nvPr/>
        </p:nvSpPr>
        <p:spPr bwMode="auto">
          <a:xfrm>
            <a:off x="7334505" y="3651173"/>
            <a:ext cx="796822" cy="919967"/>
          </a:xfrm>
          <a:prstGeom prst="stripedRightArrow">
            <a:avLst/>
          </a:prstGeom>
          <a:solidFill>
            <a:schemeClr val="bg1">
              <a:lumMod val="85000"/>
            </a:schemeClr>
          </a:solidFill>
          <a:ln>
            <a:solidFill>
              <a:srgbClr val="FFFFFF">
                <a:lumMod val="75000"/>
              </a:srgbClr>
            </a:solidFill>
          </a:ln>
          <a:effectLst>
            <a:outerShdw blurRad="50800" dist="38100" dir="5400000" algn="t" rotWithShape="0">
              <a:prstClr val="black">
                <a:alpha val="40000"/>
              </a:prstClr>
            </a:outerShdw>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cxnSp>
        <p:nvCxnSpPr>
          <p:cNvPr id="33" name="Elbow Connector 8">
            <a:extLst>
              <a:ext uri="{FF2B5EF4-FFF2-40B4-BE49-F238E27FC236}">
                <a16:creationId xmlns:a16="http://schemas.microsoft.com/office/drawing/2014/main" id="{ADA9255C-B779-4ED3-A3E6-597911D33C91}"/>
              </a:ext>
            </a:extLst>
          </p:cNvPr>
          <p:cNvCxnSpPr>
            <a:cxnSpLocks/>
            <a:stCxn id="21" idx="0"/>
            <a:endCxn id="26" idx="0"/>
          </p:cNvCxnSpPr>
          <p:nvPr/>
        </p:nvCxnSpPr>
        <p:spPr>
          <a:xfrm rot="5400000" flipH="1" flipV="1">
            <a:off x="6251158" y="103061"/>
            <a:ext cx="14632" cy="5950497"/>
          </a:xfrm>
          <a:prstGeom prst="bentConnector3">
            <a:avLst>
              <a:gd name="adj1" fmla="val 2587083"/>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FF5E5C4-8044-4447-9F90-3CEBA6E746C5}"/>
              </a:ext>
            </a:extLst>
          </p:cNvPr>
          <p:cNvSpPr txBox="1"/>
          <p:nvPr/>
        </p:nvSpPr>
        <p:spPr>
          <a:xfrm>
            <a:off x="3146133" y="1821315"/>
            <a:ext cx="6224681" cy="748923"/>
          </a:xfrm>
          <a:prstGeom prst="rect">
            <a:avLst/>
          </a:prstGeom>
          <a:noFill/>
        </p:spPr>
        <p:txBody>
          <a:bodyPr wrap="square" rtlCol="0">
            <a:spAutoFit/>
          </a:bodyPr>
          <a:lstStyle/>
          <a:p>
            <a:pPr algn="ctr">
              <a:spcBef>
                <a:spcPts val="400"/>
              </a:spcBef>
              <a:spcAft>
                <a:spcPts val="400"/>
              </a:spcAft>
            </a:pPr>
            <a:r>
              <a:rPr lang="en-US" sz="1200" b="1" u="sng" dirty="0">
                <a:solidFill>
                  <a:schemeClr val="tx2"/>
                </a:solidFill>
              </a:rPr>
              <a:t>Business &amp; Technical Change</a:t>
            </a:r>
          </a:p>
          <a:p>
            <a:pPr algn="ctr">
              <a:spcBef>
                <a:spcPts val="400"/>
              </a:spcBef>
              <a:spcAft>
                <a:spcPts val="400"/>
              </a:spcAft>
            </a:pPr>
            <a:r>
              <a:rPr lang="en-US" sz="1200" dirty="0">
                <a:solidFill>
                  <a:schemeClr val="tx2"/>
                </a:solidFill>
              </a:rPr>
              <a:t>Requires a </a:t>
            </a:r>
            <a:r>
              <a:rPr lang="en-US" sz="1200" b="1" dirty="0">
                <a:solidFill>
                  <a:schemeClr val="tx2"/>
                </a:solidFill>
              </a:rPr>
              <a:t>Project Management approach </a:t>
            </a:r>
            <a:r>
              <a:rPr lang="en-US" sz="1200" dirty="0">
                <a:solidFill>
                  <a:schemeClr val="tx2"/>
                </a:solidFill>
              </a:rPr>
              <a:t>to change the organization structure, job roles, processes, and systems</a:t>
            </a:r>
          </a:p>
        </p:txBody>
      </p:sp>
      <p:cxnSp>
        <p:nvCxnSpPr>
          <p:cNvPr id="35" name="Elbow Connector 19">
            <a:extLst>
              <a:ext uri="{FF2B5EF4-FFF2-40B4-BE49-F238E27FC236}">
                <a16:creationId xmlns:a16="http://schemas.microsoft.com/office/drawing/2014/main" id="{A05CA30A-DDB3-4049-B789-986EF06A65C0}"/>
              </a:ext>
            </a:extLst>
          </p:cNvPr>
          <p:cNvCxnSpPr>
            <a:cxnSpLocks/>
            <a:stCxn id="21" idx="2"/>
            <a:endCxn id="26" idx="2"/>
          </p:cNvCxnSpPr>
          <p:nvPr/>
        </p:nvCxnSpPr>
        <p:spPr>
          <a:xfrm rot="16200000" flipH="1">
            <a:off x="6251158" y="2168755"/>
            <a:ext cx="14632" cy="5950497"/>
          </a:xfrm>
          <a:prstGeom prst="bentConnector3">
            <a:avLst>
              <a:gd name="adj1" fmla="val 292044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7189F1A-4DCE-44FC-8AF0-C60D4544F76B}"/>
              </a:ext>
            </a:extLst>
          </p:cNvPr>
          <p:cNvSpPr txBox="1"/>
          <p:nvPr/>
        </p:nvSpPr>
        <p:spPr>
          <a:xfrm>
            <a:off x="3146133" y="5631765"/>
            <a:ext cx="6224681" cy="748923"/>
          </a:xfrm>
          <a:prstGeom prst="rect">
            <a:avLst/>
          </a:prstGeom>
          <a:noFill/>
        </p:spPr>
        <p:txBody>
          <a:bodyPr wrap="square" rtlCol="0">
            <a:spAutoFit/>
          </a:bodyPr>
          <a:lstStyle/>
          <a:p>
            <a:pPr algn="ctr">
              <a:spcBef>
                <a:spcPts val="400"/>
              </a:spcBef>
              <a:spcAft>
                <a:spcPts val="400"/>
              </a:spcAft>
            </a:pPr>
            <a:r>
              <a:rPr lang="en-US" sz="1200" b="1" u="sng" dirty="0">
                <a:solidFill>
                  <a:schemeClr val="tx2"/>
                </a:solidFill>
              </a:rPr>
              <a:t>People change</a:t>
            </a:r>
          </a:p>
          <a:p>
            <a:pPr algn="ctr">
              <a:spcBef>
                <a:spcPts val="400"/>
              </a:spcBef>
              <a:spcAft>
                <a:spcPts val="400"/>
              </a:spcAft>
            </a:pPr>
            <a:r>
              <a:rPr lang="en-US" sz="1200" dirty="0">
                <a:solidFill>
                  <a:schemeClr val="tx2"/>
                </a:solidFill>
              </a:rPr>
              <a:t>Requires a </a:t>
            </a:r>
            <a:r>
              <a:rPr lang="en-US" sz="1200" b="1" dirty="0">
                <a:solidFill>
                  <a:schemeClr val="tx2"/>
                </a:solidFill>
              </a:rPr>
              <a:t>Change Management approach </a:t>
            </a:r>
            <a:r>
              <a:rPr lang="en-US" sz="1200" dirty="0">
                <a:solidFill>
                  <a:schemeClr val="tx2"/>
                </a:solidFill>
              </a:rPr>
              <a:t>to help individuals impacted by the business and technical changes in their company to adapt and be successful</a:t>
            </a:r>
          </a:p>
        </p:txBody>
      </p:sp>
      <p:sp>
        <p:nvSpPr>
          <p:cNvPr id="2" name="Slide Number Placeholder 2">
            <a:extLst>
              <a:ext uri="{FF2B5EF4-FFF2-40B4-BE49-F238E27FC236}">
                <a16:creationId xmlns:a16="http://schemas.microsoft.com/office/drawing/2014/main" id="{14CFB211-0B2D-8D7B-5A06-53A1270C89A4}"/>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Tree>
    <p:extLst>
      <p:ext uri="{BB962C8B-B14F-4D97-AF65-F5344CB8AC3E}">
        <p14:creationId xmlns:p14="http://schemas.microsoft.com/office/powerpoint/2010/main" val="20363444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normAutofit/>
          </a:bodyPr>
          <a:lstStyle/>
          <a:p>
            <a:r>
              <a:rPr lang="en-US" sz="2200" kern="0" dirty="0"/>
              <a:t>Lean Business Case</a:t>
            </a:r>
            <a:br>
              <a:rPr lang="en-US" sz="2200" kern="0" dirty="0"/>
            </a:br>
            <a:r>
              <a:rPr lang="en-US" sz="2000" b="0" kern="0" dirty="0"/>
              <a:t>Project name:</a:t>
            </a:r>
            <a:br>
              <a:rPr lang="en-US" sz="2000" b="0" kern="0" dirty="0"/>
            </a:br>
            <a:r>
              <a:rPr lang="en-US" sz="2000" b="0" kern="0" dirty="0"/>
              <a:t>Project description:</a:t>
            </a:r>
            <a:endParaRPr lang="en-US" sz="2200"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4" name="Freeform 8">
            <a:extLst>
              <a:ext uri="{FF2B5EF4-FFF2-40B4-BE49-F238E27FC236}">
                <a16:creationId xmlns:a16="http://schemas.microsoft.com/office/drawing/2014/main" id="{20134075-6F60-879D-FF14-4B290DB30A89}"/>
              </a:ext>
            </a:extLst>
          </p:cNvPr>
          <p:cNvSpPr>
            <a:spLocks noChangeAspect="1"/>
          </p:cNvSpPr>
          <p:nvPr/>
        </p:nvSpPr>
        <p:spPr>
          <a:xfrm>
            <a:off x="4881307" y="3335782"/>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9">
            <a:extLst>
              <a:ext uri="{FF2B5EF4-FFF2-40B4-BE49-F238E27FC236}">
                <a16:creationId xmlns:a16="http://schemas.microsoft.com/office/drawing/2014/main" id="{F0F79808-42E8-8ACE-31A6-6C74CF6F2062}"/>
              </a:ext>
            </a:extLst>
          </p:cNvPr>
          <p:cNvSpPr>
            <a:spLocks noChangeAspect="1"/>
          </p:cNvSpPr>
          <p:nvPr/>
        </p:nvSpPr>
        <p:spPr>
          <a:xfrm>
            <a:off x="5868138" y="3350461"/>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0">
            <a:extLst>
              <a:ext uri="{FF2B5EF4-FFF2-40B4-BE49-F238E27FC236}">
                <a16:creationId xmlns:a16="http://schemas.microsoft.com/office/drawing/2014/main" id="{8D213FC8-B86E-3F53-B69B-5ED99CDBFF42}"/>
              </a:ext>
            </a:extLst>
          </p:cNvPr>
          <p:cNvSpPr>
            <a:spLocks noChangeAspect="1"/>
          </p:cNvSpPr>
          <p:nvPr/>
        </p:nvSpPr>
        <p:spPr>
          <a:xfrm>
            <a:off x="5569450" y="3973555"/>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tx1"/>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8" name="Freeform 11">
            <a:extLst>
              <a:ext uri="{FF2B5EF4-FFF2-40B4-BE49-F238E27FC236}">
                <a16:creationId xmlns:a16="http://schemas.microsoft.com/office/drawing/2014/main" id="{FC74613E-44C7-3C33-6D39-BDF1507F5ACF}"/>
              </a:ext>
            </a:extLst>
          </p:cNvPr>
          <p:cNvSpPr>
            <a:spLocks noChangeAspect="1"/>
          </p:cNvSpPr>
          <p:nvPr/>
        </p:nvSpPr>
        <p:spPr>
          <a:xfrm>
            <a:off x="4786319" y="1842896"/>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solidFill>
            <a:schemeClr val="bg2"/>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latin typeface="Arial (Body)"/>
                <a:ea typeface="Archer" charset="0"/>
                <a:cs typeface="Archer" charset="0"/>
              </a:rPr>
              <a:t>Strategic </a:t>
            </a:r>
          </a:p>
          <a:p>
            <a:pPr algn="ctr"/>
            <a:r>
              <a:rPr lang="en-US" sz="1400" b="1" dirty="0">
                <a:solidFill>
                  <a:schemeClr val="bg1"/>
                </a:solidFill>
                <a:latin typeface="Arial (Body)"/>
                <a:ea typeface="Archer" charset="0"/>
                <a:cs typeface="Archer" charset="0"/>
              </a:rPr>
              <a:t>Alignment</a:t>
            </a:r>
          </a:p>
        </p:txBody>
      </p:sp>
      <p:sp>
        <p:nvSpPr>
          <p:cNvPr id="38" name="Freeform 12">
            <a:extLst>
              <a:ext uri="{FF2B5EF4-FFF2-40B4-BE49-F238E27FC236}">
                <a16:creationId xmlns:a16="http://schemas.microsoft.com/office/drawing/2014/main" id="{4064609D-68E6-2C3A-5D6F-49DE5C11194A}"/>
              </a:ext>
            </a:extLst>
          </p:cNvPr>
          <p:cNvSpPr>
            <a:spLocks noChangeAspect="1"/>
          </p:cNvSpPr>
          <p:nvPr/>
        </p:nvSpPr>
        <p:spPr>
          <a:xfrm>
            <a:off x="4033360" y="3356633"/>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9525"/>
            <a:r>
              <a:rPr lang="en-US" sz="1400" b="1" dirty="0">
                <a:solidFill>
                  <a:schemeClr val="bg1"/>
                </a:solidFill>
                <a:latin typeface="Arial (Body)"/>
                <a:ea typeface="Archer" charset="0"/>
                <a:cs typeface="Archer" charset="0"/>
              </a:rPr>
              <a:t>             Value </a:t>
            </a:r>
          </a:p>
        </p:txBody>
      </p:sp>
      <p:sp>
        <p:nvSpPr>
          <p:cNvPr id="39" name="Freeform 13">
            <a:extLst>
              <a:ext uri="{FF2B5EF4-FFF2-40B4-BE49-F238E27FC236}">
                <a16:creationId xmlns:a16="http://schemas.microsoft.com/office/drawing/2014/main" id="{80401FA7-4C53-D582-33F0-6C24502A44A2}"/>
              </a:ext>
            </a:extLst>
          </p:cNvPr>
          <p:cNvSpPr>
            <a:spLocks noChangeAspect="1"/>
          </p:cNvSpPr>
          <p:nvPr/>
        </p:nvSpPr>
        <p:spPr>
          <a:xfrm>
            <a:off x="5856027" y="3370187"/>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solidFill>
            <a:schemeClr val="tx1"/>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36000" rIns="0" rtlCol="0" anchor="ctr"/>
          <a:lstStyle/>
          <a:p>
            <a:pPr marL="361950" lvl="1"/>
            <a:r>
              <a:rPr lang="en-US" sz="1400" b="1" dirty="0">
                <a:solidFill>
                  <a:schemeClr val="bg1"/>
                </a:solidFill>
                <a:latin typeface="Arial (Body)"/>
                <a:ea typeface="Archer" charset="0"/>
                <a:cs typeface="Archer" charset="0"/>
              </a:rPr>
              <a:t>Ease of implementation</a:t>
            </a:r>
          </a:p>
        </p:txBody>
      </p:sp>
      <p:sp>
        <p:nvSpPr>
          <p:cNvPr id="40" name="Freeform 14">
            <a:extLst>
              <a:ext uri="{FF2B5EF4-FFF2-40B4-BE49-F238E27FC236}">
                <a16:creationId xmlns:a16="http://schemas.microsoft.com/office/drawing/2014/main" id="{B859CF89-1075-9F25-DF92-D0AF33E9F037}"/>
              </a:ext>
            </a:extLst>
          </p:cNvPr>
          <p:cNvSpPr>
            <a:spLocks noChangeAspect="1"/>
          </p:cNvSpPr>
          <p:nvPr/>
        </p:nvSpPr>
        <p:spPr>
          <a:xfrm>
            <a:off x="5659226" y="3670176"/>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7620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1" name="Rounded Rectangle 150">
            <a:extLst>
              <a:ext uri="{FF2B5EF4-FFF2-40B4-BE49-F238E27FC236}">
                <a16:creationId xmlns:a16="http://schemas.microsoft.com/office/drawing/2014/main" id="{5662FCED-25AF-ECB8-D654-BB756315EDC2}"/>
              </a:ext>
            </a:extLst>
          </p:cNvPr>
          <p:cNvSpPr/>
          <p:nvPr/>
        </p:nvSpPr>
        <p:spPr bwMode="auto">
          <a:xfrm>
            <a:off x="7363018" y="2469203"/>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Yes</a:t>
            </a:r>
          </a:p>
        </p:txBody>
      </p:sp>
      <p:sp>
        <p:nvSpPr>
          <p:cNvPr id="42" name="Rounded Rectangle 150">
            <a:extLst>
              <a:ext uri="{FF2B5EF4-FFF2-40B4-BE49-F238E27FC236}">
                <a16:creationId xmlns:a16="http://schemas.microsoft.com/office/drawing/2014/main" id="{EC7F9C2B-D308-C052-BE2F-D743F116792B}"/>
              </a:ext>
            </a:extLst>
          </p:cNvPr>
          <p:cNvSpPr/>
          <p:nvPr/>
        </p:nvSpPr>
        <p:spPr bwMode="auto">
          <a:xfrm>
            <a:off x="8305024" y="2469203"/>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No</a:t>
            </a:r>
          </a:p>
        </p:txBody>
      </p:sp>
      <p:sp>
        <p:nvSpPr>
          <p:cNvPr id="43" name="Rounded Rectangle 150">
            <a:extLst>
              <a:ext uri="{FF2B5EF4-FFF2-40B4-BE49-F238E27FC236}">
                <a16:creationId xmlns:a16="http://schemas.microsoft.com/office/drawing/2014/main" id="{4B68C87B-5E8D-4620-BD38-67FFD193400A}"/>
              </a:ext>
            </a:extLst>
          </p:cNvPr>
          <p:cNvSpPr/>
          <p:nvPr/>
        </p:nvSpPr>
        <p:spPr bwMode="auto">
          <a:xfrm>
            <a:off x="1057350" y="4464185"/>
            <a:ext cx="820973"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a:solidFill>
                  <a:schemeClr val="bg1"/>
                </a:solidFill>
              </a:rPr>
              <a:t>Low</a:t>
            </a:r>
            <a:endParaRPr lang="en-US" sz="1050" b="1" kern="0" dirty="0">
              <a:solidFill>
                <a:schemeClr val="bg1"/>
              </a:solidFill>
            </a:endParaRPr>
          </a:p>
        </p:txBody>
      </p:sp>
      <p:sp>
        <p:nvSpPr>
          <p:cNvPr id="44" name="Rounded Rectangle 150">
            <a:extLst>
              <a:ext uri="{FF2B5EF4-FFF2-40B4-BE49-F238E27FC236}">
                <a16:creationId xmlns:a16="http://schemas.microsoft.com/office/drawing/2014/main" id="{97353349-BD8D-8A29-A835-317CC3123363}"/>
              </a:ext>
            </a:extLst>
          </p:cNvPr>
          <p:cNvSpPr/>
          <p:nvPr/>
        </p:nvSpPr>
        <p:spPr bwMode="auto">
          <a:xfrm>
            <a:off x="1990871" y="4464185"/>
            <a:ext cx="820973"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Medium</a:t>
            </a:r>
          </a:p>
        </p:txBody>
      </p:sp>
      <p:sp>
        <p:nvSpPr>
          <p:cNvPr id="45" name="Rounded Rectangle 150">
            <a:extLst>
              <a:ext uri="{FF2B5EF4-FFF2-40B4-BE49-F238E27FC236}">
                <a16:creationId xmlns:a16="http://schemas.microsoft.com/office/drawing/2014/main" id="{47D56E76-59E3-899F-F242-DD263E1D05CF}"/>
              </a:ext>
            </a:extLst>
          </p:cNvPr>
          <p:cNvSpPr/>
          <p:nvPr/>
        </p:nvSpPr>
        <p:spPr bwMode="auto">
          <a:xfrm>
            <a:off x="2924393" y="4464185"/>
            <a:ext cx="820973"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High</a:t>
            </a:r>
          </a:p>
        </p:txBody>
      </p:sp>
      <p:sp>
        <p:nvSpPr>
          <p:cNvPr id="46" name="Arrow: Down 45">
            <a:extLst>
              <a:ext uri="{FF2B5EF4-FFF2-40B4-BE49-F238E27FC236}">
                <a16:creationId xmlns:a16="http://schemas.microsoft.com/office/drawing/2014/main" id="{651B9233-50F8-7F25-FCDF-FAFF10F79FF5}"/>
              </a:ext>
            </a:extLst>
          </p:cNvPr>
          <p:cNvSpPr/>
          <p:nvPr/>
        </p:nvSpPr>
        <p:spPr>
          <a:xfrm>
            <a:off x="7481028" y="2020179"/>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Arrow: Down 46">
            <a:extLst>
              <a:ext uri="{FF2B5EF4-FFF2-40B4-BE49-F238E27FC236}">
                <a16:creationId xmlns:a16="http://schemas.microsoft.com/office/drawing/2014/main" id="{B4555272-D71E-133E-8461-F6A20EA17639}"/>
              </a:ext>
            </a:extLst>
          </p:cNvPr>
          <p:cNvSpPr/>
          <p:nvPr/>
        </p:nvSpPr>
        <p:spPr>
          <a:xfrm>
            <a:off x="3049549" y="3997308"/>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150">
            <a:extLst>
              <a:ext uri="{FF2B5EF4-FFF2-40B4-BE49-F238E27FC236}">
                <a16:creationId xmlns:a16="http://schemas.microsoft.com/office/drawing/2014/main" id="{DADE7780-E371-8480-E4F3-65F16666152F}"/>
              </a:ext>
            </a:extLst>
          </p:cNvPr>
          <p:cNvSpPr/>
          <p:nvPr/>
        </p:nvSpPr>
        <p:spPr bwMode="auto">
          <a:xfrm>
            <a:off x="7942875" y="4464185"/>
            <a:ext cx="1008000" cy="274320"/>
          </a:xfrm>
          <a:prstGeom prst="roundRect">
            <a:avLst>
              <a:gd name="adj" fmla="val 3792"/>
            </a:avLst>
          </a:prstGeom>
          <a:solidFill>
            <a:schemeClr val="accent6"/>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Difficult</a:t>
            </a:r>
          </a:p>
        </p:txBody>
      </p:sp>
      <p:sp>
        <p:nvSpPr>
          <p:cNvPr id="49" name="Rounded Rectangle 150">
            <a:extLst>
              <a:ext uri="{FF2B5EF4-FFF2-40B4-BE49-F238E27FC236}">
                <a16:creationId xmlns:a16="http://schemas.microsoft.com/office/drawing/2014/main" id="{01D8E1E2-F7E3-CBCB-D865-9E3B8C520CCB}"/>
              </a:ext>
            </a:extLst>
          </p:cNvPr>
          <p:cNvSpPr/>
          <p:nvPr/>
        </p:nvSpPr>
        <p:spPr bwMode="auto">
          <a:xfrm>
            <a:off x="9025258" y="4464185"/>
            <a:ext cx="1008000" cy="274320"/>
          </a:xfrm>
          <a:prstGeom prst="roundRect">
            <a:avLst>
              <a:gd name="adj" fmla="val 3792"/>
            </a:avLst>
          </a:prstGeom>
          <a:solidFill>
            <a:schemeClr val="accent5"/>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Intermediate</a:t>
            </a:r>
          </a:p>
        </p:txBody>
      </p:sp>
      <p:sp>
        <p:nvSpPr>
          <p:cNvPr id="50" name="Rounded Rectangle 150">
            <a:extLst>
              <a:ext uri="{FF2B5EF4-FFF2-40B4-BE49-F238E27FC236}">
                <a16:creationId xmlns:a16="http://schemas.microsoft.com/office/drawing/2014/main" id="{7D809B7A-40C9-07B6-4E7A-602A1E46E8AF}"/>
              </a:ext>
            </a:extLst>
          </p:cNvPr>
          <p:cNvSpPr/>
          <p:nvPr/>
        </p:nvSpPr>
        <p:spPr bwMode="auto">
          <a:xfrm>
            <a:off x="10107637" y="4464185"/>
            <a:ext cx="1008000" cy="274320"/>
          </a:xfrm>
          <a:prstGeom prst="roundRect">
            <a:avLst>
              <a:gd name="adj" fmla="val 3792"/>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US" sz="1050" b="1" kern="0" dirty="0">
                <a:solidFill>
                  <a:schemeClr val="bg1"/>
                </a:solidFill>
              </a:rPr>
              <a:t>Easy</a:t>
            </a:r>
          </a:p>
        </p:txBody>
      </p:sp>
      <p:sp>
        <p:nvSpPr>
          <p:cNvPr id="51" name="Arrow: Down 50">
            <a:extLst>
              <a:ext uri="{FF2B5EF4-FFF2-40B4-BE49-F238E27FC236}">
                <a16:creationId xmlns:a16="http://schemas.microsoft.com/office/drawing/2014/main" id="{C2BA554A-FF60-319C-596B-28A9A1D21F24}"/>
              </a:ext>
            </a:extLst>
          </p:cNvPr>
          <p:cNvSpPr/>
          <p:nvPr/>
        </p:nvSpPr>
        <p:spPr>
          <a:xfrm>
            <a:off x="9223714" y="3997308"/>
            <a:ext cx="581930" cy="36731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15BB2FE6-E6FC-7A05-5DC0-BB42544A9967}"/>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TextBox 52">
            <a:extLst>
              <a:ext uri="{FF2B5EF4-FFF2-40B4-BE49-F238E27FC236}">
                <a16:creationId xmlns:a16="http://schemas.microsoft.com/office/drawing/2014/main" id="{9D7700F9-4E50-24B7-7BB2-7187C242227B}"/>
              </a:ext>
            </a:extLst>
          </p:cNvPr>
          <p:cNvSpPr txBox="1"/>
          <p:nvPr/>
        </p:nvSpPr>
        <p:spPr>
          <a:xfrm>
            <a:off x="7991245" y="5786217"/>
            <a:ext cx="3600000" cy="583200"/>
          </a:xfrm>
          <a:prstGeom prst="rect">
            <a:avLst/>
          </a:prstGeom>
          <a:noFill/>
          <a:ln>
            <a:solidFill>
              <a:schemeClr val="bg2"/>
            </a:solidFill>
          </a:ln>
        </p:spPr>
        <p:txBody>
          <a:bodyPr wrap="square" rtlCol="0" anchor="ctr">
            <a:spAutoFit/>
          </a:bodyPr>
          <a:lstStyle/>
          <a:p>
            <a:r>
              <a:rPr lang="en-US" sz="1600" b="1" dirty="0"/>
              <a:t>Change Manager</a:t>
            </a:r>
          </a:p>
          <a:p>
            <a:r>
              <a:rPr lang="en-US" sz="1600" dirty="0"/>
              <a:t>John Doe</a:t>
            </a:r>
          </a:p>
        </p:txBody>
      </p:sp>
      <p:sp>
        <p:nvSpPr>
          <p:cNvPr id="54" name="Rectangle 53">
            <a:extLst>
              <a:ext uri="{FF2B5EF4-FFF2-40B4-BE49-F238E27FC236}">
                <a16:creationId xmlns:a16="http://schemas.microsoft.com/office/drawing/2014/main" id="{65A83E97-9AA1-7D17-DA28-C9ACF62BCE19}"/>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TextBox 54">
            <a:extLst>
              <a:ext uri="{FF2B5EF4-FFF2-40B4-BE49-F238E27FC236}">
                <a16:creationId xmlns:a16="http://schemas.microsoft.com/office/drawing/2014/main" id="{F0542000-3037-06CC-2C58-08CB246B55D8}"/>
              </a:ext>
            </a:extLst>
          </p:cNvPr>
          <p:cNvSpPr txBox="1"/>
          <p:nvPr/>
        </p:nvSpPr>
        <p:spPr>
          <a:xfrm>
            <a:off x="604844" y="5786217"/>
            <a:ext cx="3600000" cy="583200"/>
          </a:xfrm>
          <a:prstGeom prst="rect">
            <a:avLst/>
          </a:prstGeom>
          <a:noFill/>
          <a:ln>
            <a:solidFill>
              <a:schemeClr val="bg2"/>
            </a:solidFill>
          </a:ln>
        </p:spPr>
        <p:txBody>
          <a:bodyPr wrap="square" rtlCol="0" anchor="ctr">
            <a:spAutoFit/>
          </a:bodyPr>
          <a:lstStyle/>
          <a:p>
            <a:r>
              <a:rPr lang="en-US" sz="1600" b="1" dirty="0"/>
              <a:t>Project Sponsor</a:t>
            </a:r>
          </a:p>
          <a:p>
            <a:r>
              <a:rPr lang="en-US" sz="1600" dirty="0"/>
              <a:t>John Doe</a:t>
            </a:r>
          </a:p>
        </p:txBody>
      </p:sp>
      <p:sp>
        <p:nvSpPr>
          <p:cNvPr id="56" name="Rectangle 55">
            <a:extLst>
              <a:ext uri="{FF2B5EF4-FFF2-40B4-BE49-F238E27FC236}">
                <a16:creationId xmlns:a16="http://schemas.microsoft.com/office/drawing/2014/main" id="{6B193990-D152-0F9D-0F87-8F8BC8ADEA64}"/>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 name="TextBox 56">
            <a:extLst>
              <a:ext uri="{FF2B5EF4-FFF2-40B4-BE49-F238E27FC236}">
                <a16:creationId xmlns:a16="http://schemas.microsoft.com/office/drawing/2014/main" id="{8E6C0D4D-408E-D3D9-2656-729486A023A2}"/>
              </a:ext>
            </a:extLst>
          </p:cNvPr>
          <p:cNvSpPr txBox="1"/>
          <p:nvPr/>
        </p:nvSpPr>
        <p:spPr>
          <a:xfrm>
            <a:off x="4298045" y="5786217"/>
            <a:ext cx="3600000" cy="583200"/>
          </a:xfrm>
          <a:prstGeom prst="rect">
            <a:avLst/>
          </a:prstGeom>
          <a:noFill/>
          <a:ln>
            <a:solidFill>
              <a:schemeClr val="bg2"/>
            </a:solidFill>
          </a:ln>
        </p:spPr>
        <p:txBody>
          <a:bodyPr wrap="square" rtlCol="0" anchor="ctr">
            <a:spAutoFit/>
          </a:bodyPr>
          <a:lstStyle/>
          <a:p>
            <a:r>
              <a:rPr lang="en-US" sz="1600" b="1" dirty="0"/>
              <a:t>Project Manager</a:t>
            </a:r>
          </a:p>
          <a:p>
            <a:r>
              <a:rPr lang="en-US" sz="1600" dirty="0"/>
              <a:t>John Doe</a:t>
            </a:r>
          </a:p>
        </p:txBody>
      </p:sp>
      <p:sp>
        <p:nvSpPr>
          <p:cNvPr id="3" name="Rectangle: Rounded Corners 2">
            <a:extLst>
              <a:ext uri="{FF2B5EF4-FFF2-40B4-BE49-F238E27FC236}">
                <a16:creationId xmlns:a16="http://schemas.microsoft.com/office/drawing/2014/main" id="{12770704-04A4-DF71-B6D2-75806DA31742}"/>
              </a:ext>
            </a:extLst>
          </p:cNvPr>
          <p:cNvSpPr/>
          <p:nvPr/>
        </p:nvSpPr>
        <p:spPr>
          <a:xfrm>
            <a:off x="2815131" y="3169008"/>
            <a:ext cx="1046631" cy="730434"/>
          </a:xfrm>
          <a:prstGeom prst="round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16.3M</a:t>
            </a:r>
          </a:p>
        </p:txBody>
      </p:sp>
      <p:sp>
        <p:nvSpPr>
          <p:cNvPr id="7" name="TextBox 6">
            <a:extLst>
              <a:ext uri="{FF2B5EF4-FFF2-40B4-BE49-F238E27FC236}">
                <a16:creationId xmlns:a16="http://schemas.microsoft.com/office/drawing/2014/main" id="{FE5E7E4B-6E7A-D301-75BD-C3B76637903D}"/>
              </a:ext>
            </a:extLst>
          </p:cNvPr>
          <p:cNvSpPr txBox="1"/>
          <p:nvPr/>
        </p:nvSpPr>
        <p:spPr>
          <a:xfrm>
            <a:off x="2105338" y="2796688"/>
            <a:ext cx="2478114" cy="307777"/>
          </a:xfrm>
          <a:prstGeom prst="rect">
            <a:avLst/>
          </a:prstGeom>
          <a:noFill/>
        </p:spPr>
        <p:txBody>
          <a:bodyPr wrap="square" rtlCol="0">
            <a:spAutoFit/>
          </a:bodyPr>
          <a:lstStyle/>
          <a:p>
            <a:pPr algn="ctr"/>
            <a:r>
              <a:rPr lang="en-US" sz="1400" b="1" dirty="0"/>
              <a:t>Net Present Value</a:t>
            </a:r>
          </a:p>
        </p:txBody>
      </p:sp>
    </p:spTree>
    <p:extLst>
      <p:ext uri="{BB962C8B-B14F-4D97-AF65-F5344CB8AC3E}">
        <p14:creationId xmlns:p14="http://schemas.microsoft.com/office/powerpoint/2010/main" val="3242661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1026CE-E8D2-CDB3-9C26-855698CDCE8E}"/>
              </a:ext>
            </a:extLst>
          </p:cNvPr>
          <p:cNvSpPr/>
          <p:nvPr/>
        </p:nvSpPr>
        <p:spPr>
          <a:xfrm>
            <a:off x="6464608"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Project Business Case Framework</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2" name="Freeform 8">
            <a:extLst>
              <a:ext uri="{FF2B5EF4-FFF2-40B4-BE49-F238E27FC236}">
                <a16:creationId xmlns:a16="http://schemas.microsoft.com/office/drawing/2014/main" id="{5DFEC0C9-A1E1-40AC-70B8-11966774E310}"/>
              </a:ext>
            </a:extLst>
          </p:cNvPr>
          <p:cNvSpPr>
            <a:spLocks noChangeAspect="1"/>
          </p:cNvSpPr>
          <p:nvPr/>
        </p:nvSpPr>
        <p:spPr>
          <a:xfrm>
            <a:off x="8003319" y="3979579"/>
            <a:ext cx="986831" cy="638898"/>
          </a:xfrm>
          <a:custGeom>
            <a:avLst/>
            <a:gdLst>
              <a:gd name="connsiteX0" fmla="*/ 162713 w 763812"/>
              <a:gd name="connsiteY0" fmla="*/ 0 h 494510"/>
              <a:gd name="connsiteX1" fmla="*/ 751478 w 763812"/>
              <a:gd name="connsiteY1" fmla="*/ 243874 h 494510"/>
              <a:gd name="connsiteX2" fmla="*/ 763812 w 763812"/>
              <a:gd name="connsiteY2" fmla="*/ 258823 h 494510"/>
              <a:gd name="connsiteX3" fmla="*/ 665100 w 763812"/>
              <a:gd name="connsiteY3" fmla="*/ 378465 h 494510"/>
              <a:gd name="connsiteX4" fmla="*/ 602113 w 763812"/>
              <a:gd name="connsiteY4" fmla="*/ 494510 h 494510"/>
              <a:gd name="connsiteX5" fmla="*/ 591313 w 763812"/>
              <a:gd name="connsiteY5" fmla="*/ 492862 h 494510"/>
              <a:gd name="connsiteX6" fmla="*/ 68682 w 763812"/>
              <a:gd name="connsiteY6" fmla="*/ 142675 h 494510"/>
              <a:gd name="connsiteX7" fmla="*/ 0 w 763812"/>
              <a:gd name="connsiteY7" fmla="*/ 16139 h 494510"/>
              <a:gd name="connsiteX8" fmla="*/ 77580 w 763812"/>
              <a:gd name="connsiteY8" fmla="*/ 4299 h 494510"/>
              <a:gd name="connsiteX9" fmla="*/ 162713 w 763812"/>
              <a:gd name="connsiteY9" fmla="*/ 0 h 49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812" h="494510">
                <a:moveTo>
                  <a:pt x="162713" y="0"/>
                </a:moveTo>
                <a:cubicBezTo>
                  <a:pt x="392640" y="0"/>
                  <a:pt x="600800" y="93196"/>
                  <a:pt x="751478" y="243874"/>
                </a:cubicBezTo>
                <a:lnTo>
                  <a:pt x="763812" y="258823"/>
                </a:lnTo>
                <a:lnTo>
                  <a:pt x="665100" y="378465"/>
                </a:lnTo>
                <a:lnTo>
                  <a:pt x="602113" y="494510"/>
                </a:lnTo>
                <a:lnTo>
                  <a:pt x="591313" y="492862"/>
                </a:lnTo>
                <a:cubicBezTo>
                  <a:pt x="374502" y="448496"/>
                  <a:pt x="188387" y="319862"/>
                  <a:pt x="68682" y="142675"/>
                </a:cubicBezTo>
                <a:lnTo>
                  <a:pt x="0" y="16139"/>
                </a:lnTo>
                <a:lnTo>
                  <a:pt x="77580" y="4299"/>
                </a:lnTo>
                <a:cubicBezTo>
                  <a:pt x="105572" y="1456"/>
                  <a:pt x="133972" y="0"/>
                  <a:pt x="162713"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4" name="Freeform 9">
            <a:extLst>
              <a:ext uri="{FF2B5EF4-FFF2-40B4-BE49-F238E27FC236}">
                <a16:creationId xmlns:a16="http://schemas.microsoft.com/office/drawing/2014/main" id="{A63C1983-C054-446D-2473-396DDDCF3FB1}"/>
              </a:ext>
            </a:extLst>
          </p:cNvPr>
          <p:cNvSpPr>
            <a:spLocks noChangeAspect="1"/>
          </p:cNvSpPr>
          <p:nvPr/>
        </p:nvSpPr>
        <p:spPr>
          <a:xfrm>
            <a:off x="8990150" y="3994258"/>
            <a:ext cx="967348" cy="623093"/>
          </a:xfrm>
          <a:custGeom>
            <a:avLst/>
            <a:gdLst>
              <a:gd name="connsiteX0" fmla="*/ 591725 w 748732"/>
              <a:gd name="connsiteY0" fmla="*/ 0 h 482277"/>
              <a:gd name="connsiteX1" fmla="*/ 676858 w 748732"/>
              <a:gd name="connsiteY1" fmla="*/ 4299 h 482277"/>
              <a:gd name="connsiteX2" fmla="*/ 748732 w 748732"/>
              <a:gd name="connsiteY2" fmla="*/ 15268 h 482277"/>
              <a:gd name="connsiteX3" fmla="*/ 685744 w 748732"/>
              <a:gd name="connsiteY3" fmla="*/ 131313 h 482277"/>
              <a:gd name="connsiteX4" fmla="*/ 163113 w 748732"/>
              <a:gd name="connsiteY4" fmla="*/ 481500 h 482277"/>
              <a:gd name="connsiteX5" fmla="*/ 158020 w 748732"/>
              <a:gd name="connsiteY5" fmla="*/ 482277 h 482277"/>
              <a:gd name="connsiteX6" fmla="*/ 89338 w 748732"/>
              <a:gd name="connsiteY6" fmla="*/ 355741 h 482277"/>
              <a:gd name="connsiteX7" fmla="*/ 0 w 748732"/>
              <a:gd name="connsiteY7" fmla="*/ 247461 h 482277"/>
              <a:gd name="connsiteX8" fmla="*/ 2960 w 748732"/>
              <a:gd name="connsiteY8" fmla="*/ 243874 h 482277"/>
              <a:gd name="connsiteX9" fmla="*/ 591725 w 748732"/>
              <a:gd name="connsiteY9" fmla="*/ 0 h 48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732" h="482277">
                <a:moveTo>
                  <a:pt x="591725" y="0"/>
                </a:moveTo>
                <a:cubicBezTo>
                  <a:pt x="620466" y="0"/>
                  <a:pt x="648867" y="1456"/>
                  <a:pt x="676858" y="4299"/>
                </a:cubicBezTo>
                <a:lnTo>
                  <a:pt x="748732" y="15268"/>
                </a:lnTo>
                <a:lnTo>
                  <a:pt x="685744" y="131313"/>
                </a:lnTo>
                <a:cubicBezTo>
                  <a:pt x="566040" y="308500"/>
                  <a:pt x="379924" y="437134"/>
                  <a:pt x="163113" y="481500"/>
                </a:cubicBezTo>
                <a:lnTo>
                  <a:pt x="158020" y="482277"/>
                </a:lnTo>
                <a:lnTo>
                  <a:pt x="89338" y="355741"/>
                </a:lnTo>
                <a:lnTo>
                  <a:pt x="0" y="247461"/>
                </a:lnTo>
                <a:lnTo>
                  <a:pt x="2960" y="243874"/>
                </a:lnTo>
                <a:cubicBezTo>
                  <a:pt x="153638" y="93196"/>
                  <a:pt x="361798" y="0"/>
                  <a:pt x="591725" y="0"/>
                </a:cubicBez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5" name="Freeform 10">
            <a:extLst>
              <a:ext uri="{FF2B5EF4-FFF2-40B4-BE49-F238E27FC236}">
                <a16:creationId xmlns:a16="http://schemas.microsoft.com/office/drawing/2014/main" id="{C88CEA91-0E0B-46D2-4CF6-DE4893D6ADD2}"/>
              </a:ext>
            </a:extLst>
          </p:cNvPr>
          <p:cNvSpPr>
            <a:spLocks noChangeAspect="1"/>
          </p:cNvSpPr>
          <p:nvPr/>
        </p:nvSpPr>
        <p:spPr>
          <a:xfrm>
            <a:off x="8691462" y="4617352"/>
            <a:ext cx="610402" cy="1194022"/>
          </a:xfrm>
          <a:custGeom>
            <a:avLst/>
            <a:gdLst>
              <a:gd name="connsiteX0" fmla="*/ 398934 w 472454"/>
              <a:gd name="connsiteY0" fmla="*/ 0 h 924178"/>
              <a:gd name="connsiteX1" fmla="*/ 407021 w 472454"/>
              <a:gd name="connsiteY1" fmla="*/ 14899 h 924178"/>
              <a:gd name="connsiteX2" fmla="*/ 472454 w 472454"/>
              <a:gd name="connsiteY2" fmla="*/ 339000 h 924178"/>
              <a:gd name="connsiteX3" fmla="*/ 330252 w 472454"/>
              <a:gd name="connsiteY3" fmla="*/ 804536 h 924178"/>
              <a:gd name="connsiteX4" fmla="*/ 231540 w 472454"/>
              <a:gd name="connsiteY4" fmla="*/ 924178 h 924178"/>
              <a:gd name="connsiteX5" fmla="*/ 142202 w 472454"/>
              <a:gd name="connsiteY5" fmla="*/ 815898 h 924178"/>
              <a:gd name="connsiteX6" fmla="*/ 0 w 472454"/>
              <a:gd name="connsiteY6" fmla="*/ 350362 h 924178"/>
              <a:gd name="connsiteX7" fmla="*/ 65433 w 472454"/>
              <a:gd name="connsiteY7" fmla="*/ 26261 h 924178"/>
              <a:gd name="connsiteX8" fmla="*/ 79215 w 472454"/>
              <a:gd name="connsiteY8" fmla="*/ 871 h 924178"/>
              <a:gd name="connsiteX9" fmla="*/ 151088 w 472454"/>
              <a:gd name="connsiteY9" fmla="*/ 11840 h 924178"/>
              <a:gd name="connsiteX10" fmla="*/ 236221 w 472454"/>
              <a:gd name="connsiteY10" fmla="*/ 16139 h 924178"/>
              <a:gd name="connsiteX11" fmla="*/ 321354 w 472454"/>
              <a:gd name="connsiteY11" fmla="*/ 11840 h 924178"/>
              <a:gd name="connsiteX12" fmla="*/ 398934 w 472454"/>
              <a:gd name="connsiteY12" fmla="*/ 0 h 92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454" h="924178">
                <a:moveTo>
                  <a:pt x="398934" y="0"/>
                </a:moveTo>
                <a:lnTo>
                  <a:pt x="407021" y="14899"/>
                </a:lnTo>
                <a:cubicBezTo>
                  <a:pt x="449155" y="114515"/>
                  <a:pt x="472454" y="224037"/>
                  <a:pt x="472454" y="339000"/>
                </a:cubicBezTo>
                <a:cubicBezTo>
                  <a:pt x="472454" y="511445"/>
                  <a:pt x="420031" y="671647"/>
                  <a:pt x="330252" y="804536"/>
                </a:cubicBezTo>
                <a:lnTo>
                  <a:pt x="231540" y="924178"/>
                </a:lnTo>
                <a:lnTo>
                  <a:pt x="142202" y="815898"/>
                </a:lnTo>
                <a:cubicBezTo>
                  <a:pt x="52423" y="683009"/>
                  <a:pt x="0" y="522807"/>
                  <a:pt x="0" y="350362"/>
                </a:cubicBezTo>
                <a:cubicBezTo>
                  <a:pt x="0" y="235399"/>
                  <a:pt x="23299" y="125877"/>
                  <a:pt x="65433" y="26261"/>
                </a:cubicBezTo>
                <a:lnTo>
                  <a:pt x="79215" y="871"/>
                </a:lnTo>
                <a:lnTo>
                  <a:pt x="151088" y="11840"/>
                </a:lnTo>
                <a:cubicBezTo>
                  <a:pt x="179080" y="14683"/>
                  <a:pt x="207480" y="16139"/>
                  <a:pt x="236221" y="16139"/>
                </a:cubicBezTo>
                <a:cubicBezTo>
                  <a:pt x="264962" y="16139"/>
                  <a:pt x="293363" y="14683"/>
                  <a:pt x="321354" y="11840"/>
                </a:cubicBezTo>
                <a:lnTo>
                  <a:pt x="398934" y="0"/>
                </a:lnTo>
                <a:close/>
              </a:path>
            </a:pathLst>
          </a:custGeom>
          <a:solidFill>
            <a:schemeClr val="bg2"/>
          </a:solidFill>
          <a:ln w="7620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6" name="Freeform 11">
            <a:extLst>
              <a:ext uri="{FF2B5EF4-FFF2-40B4-BE49-F238E27FC236}">
                <a16:creationId xmlns:a16="http://schemas.microsoft.com/office/drawing/2014/main" id="{5F466E0F-ED4B-5BEC-BB2F-0DBB4F3935D8}"/>
              </a:ext>
            </a:extLst>
          </p:cNvPr>
          <p:cNvSpPr>
            <a:spLocks noChangeAspect="1"/>
          </p:cNvSpPr>
          <p:nvPr/>
        </p:nvSpPr>
        <p:spPr>
          <a:xfrm>
            <a:off x="7908331" y="2486693"/>
            <a:ext cx="2151509" cy="1827280"/>
          </a:xfrm>
          <a:custGeom>
            <a:avLst/>
            <a:gdLst>
              <a:gd name="connsiteX0" fmla="*/ 832639 w 1665278"/>
              <a:gd name="connsiteY0" fmla="*/ 0 h 1414323"/>
              <a:gd name="connsiteX1" fmla="*/ 1665278 w 1665278"/>
              <a:gd name="connsiteY1" fmla="*/ 832639 h 1414323"/>
              <a:gd name="connsiteX2" fmla="*/ 1599845 w 1665278"/>
              <a:gd name="connsiteY2" fmla="*/ 1156740 h 1414323"/>
              <a:gd name="connsiteX3" fmla="*/ 1586064 w 1665278"/>
              <a:gd name="connsiteY3" fmla="*/ 1182130 h 1414323"/>
              <a:gd name="connsiteX4" fmla="*/ 1514190 w 1665278"/>
              <a:gd name="connsiteY4" fmla="*/ 1171161 h 1414323"/>
              <a:gd name="connsiteX5" fmla="*/ 1429057 w 1665278"/>
              <a:gd name="connsiteY5" fmla="*/ 1166862 h 1414323"/>
              <a:gd name="connsiteX6" fmla="*/ 840292 w 1665278"/>
              <a:gd name="connsiteY6" fmla="*/ 1410736 h 1414323"/>
              <a:gd name="connsiteX7" fmla="*/ 837332 w 1665278"/>
              <a:gd name="connsiteY7" fmla="*/ 1414323 h 1414323"/>
              <a:gd name="connsiteX8" fmla="*/ 824998 w 1665278"/>
              <a:gd name="connsiteY8" fmla="*/ 1399374 h 1414323"/>
              <a:gd name="connsiteX9" fmla="*/ 236233 w 1665278"/>
              <a:gd name="connsiteY9" fmla="*/ 1155500 h 1414323"/>
              <a:gd name="connsiteX10" fmla="*/ 151100 w 1665278"/>
              <a:gd name="connsiteY10" fmla="*/ 1159799 h 1414323"/>
              <a:gd name="connsiteX11" fmla="*/ 73520 w 1665278"/>
              <a:gd name="connsiteY11" fmla="*/ 1171639 h 1414323"/>
              <a:gd name="connsiteX12" fmla="*/ 65433 w 1665278"/>
              <a:gd name="connsiteY12" fmla="*/ 1156740 h 1414323"/>
              <a:gd name="connsiteX13" fmla="*/ 0 w 1665278"/>
              <a:gd name="connsiteY13" fmla="*/ 832639 h 1414323"/>
              <a:gd name="connsiteX14" fmla="*/ 832639 w 1665278"/>
              <a:gd name="connsiteY14" fmla="*/ 0 h 14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5278" h="1414323">
                <a:moveTo>
                  <a:pt x="832639" y="0"/>
                </a:moveTo>
                <a:cubicBezTo>
                  <a:pt x="1292493" y="0"/>
                  <a:pt x="1665278" y="372785"/>
                  <a:pt x="1665278" y="832639"/>
                </a:cubicBezTo>
                <a:cubicBezTo>
                  <a:pt x="1665278" y="947602"/>
                  <a:pt x="1641979" y="1057124"/>
                  <a:pt x="1599845" y="1156740"/>
                </a:cubicBezTo>
                <a:lnTo>
                  <a:pt x="1586064" y="1182130"/>
                </a:lnTo>
                <a:lnTo>
                  <a:pt x="1514190" y="1171161"/>
                </a:lnTo>
                <a:cubicBezTo>
                  <a:pt x="1486199" y="1168318"/>
                  <a:pt x="1457798" y="1166862"/>
                  <a:pt x="1429057" y="1166862"/>
                </a:cubicBezTo>
                <a:cubicBezTo>
                  <a:pt x="1199130" y="1166862"/>
                  <a:pt x="990970" y="1260058"/>
                  <a:pt x="840292" y="1410736"/>
                </a:cubicBezTo>
                <a:lnTo>
                  <a:pt x="837332" y="1414323"/>
                </a:lnTo>
                <a:lnTo>
                  <a:pt x="824998" y="1399374"/>
                </a:lnTo>
                <a:cubicBezTo>
                  <a:pt x="674320" y="1248696"/>
                  <a:pt x="466160" y="1155500"/>
                  <a:pt x="236233" y="1155500"/>
                </a:cubicBezTo>
                <a:cubicBezTo>
                  <a:pt x="207492" y="1155500"/>
                  <a:pt x="179092" y="1156956"/>
                  <a:pt x="151100" y="1159799"/>
                </a:cubicBezTo>
                <a:lnTo>
                  <a:pt x="73520" y="1171639"/>
                </a:lnTo>
                <a:lnTo>
                  <a:pt x="65433" y="1156740"/>
                </a:lnTo>
                <a:cubicBezTo>
                  <a:pt x="23299" y="1057124"/>
                  <a:pt x="0" y="947602"/>
                  <a:pt x="0" y="832639"/>
                </a:cubicBezTo>
                <a:cubicBezTo>
                  <a:pt x="0" y="372785"/>
                  <a:pt x="372785" y="0"/>
                  <a:pt x="832639" y="0"/>
                </a:cubicBezTo>
                <a:close/>
              </a:path>
            </a:pathLst>
          </a:cu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US" sz="1400" b="1" dirty="0">
                <a:solidFill>
                  <a:schemeClr val="bg1"/>
                </a:solidFill>
              </a:rPr>
              <a:t>5.Strategic </a:t>
            </a:r>
          </a:p>
          <a:p>
            <a:pPr algn="ctr">
              <a:spcBef>
                <a:spcPts val="200"/>
              </a:spcBef>
              <a:spcAft>
                <a:spcPts val="200"/>
              </a:spcAft>
            </a:pPr>
            <a:r>
              <a:rPr lang="en-US" sz="1400" b="1" dirty="0">
                <a:solidFill>
                  <a:schemeClr val="bg1"/>
                </a:solidFill>
              </a:rPr>
              <a:t>Alignment</a:t>
            </a:r>
          </a:p>
        </p:txBody>
      </p:sp>
      <p:sp>
        <p:nvSpPr>
          <p:cNvPr id="7" name="Freeform 12">
            <a:extLst>
              <a:ext uri="{FF2B5EF4-FFF2-40B4-BE49-F238E27FC236}">
                <a16:creationId xmlns:a16="http://schemas.microsoft.com/office/drawing/2014/main" id="{31982C24-FB1A-DE90-1B6B-163BCEC6D013}"/>
              </a:ext>
            </a:extLst>
          </p:cNvPr>
          <p:cNvSpPr>
            <a:spLocks noChangeAspect="1"/>
          </p:cNvSpPr>
          <p:nvPr/>
        </p:nvSpPr>
        <p:spPr>
          <a:xfrm>
            <a:off x="7155372" y="4000430"/>
            <a:ext cx="1840253" cy="2130659"/>
          </a:xfrm>
          <a:custGeom>
            <a:avLst/>
            <a:gdLst>
              <a:gd name="connsiteX0" fmla="*/ 669926 w 1424364"/>
              <a:gd name="connsiteY0" fmla="*/ 0 h 1649139"/>
              <a:gd name="connsiteX1" fmla="*/ 738608 w 1424364"/>
              <a:gd name="connsiteY1" fmla="*/ 126536 h 1649139"/>
              <a:gd name="connsiteX2" fmla="*/ 1261239 w 1424364"/>
              <a:gd name="connsiteY2" fmla="*/ 476723 h 1649139"/>
              <a:gd name="connsiteX3" fmla="*/ 1272039 w 1424364"/>
              <a:gd name="connsiteY3" fmla="*/ 478371 h 1649139"/>
              <a:gd name="connsiteX4" fmla="*/ 1258257 w 1424364"/>
              <a:gd name="connsiteY4" fmla="*/ 503761 h 1649139"/>
              <a:gd name="connsiteX5" fmla="*/ 1192824 w 1424364"/>
              <a:gd name="connsiteY5" fmla="*/ 827862 h 1649139"/>
              <a:gd name="connsiteX6" fmla="*/ 1335026 w 1424364"/>
              <a:gd name="connsiteY6" fmla="*/ 1293398 h 1649139"/>
              <a:gd name="connsiteX7" fmla="*/ 1424364 w 1424364"/>
              <a:gd name="connsiteY7" fmla="*/ 1401678 h 1649139"/>
              <a:gd name="connsiteX8" fmla="*/ 1421404 w 1424364"/>
              <a:gd name="connsiteY8" fmla="*/ 1405265 h 1649139"/>
              <a:gd name="connsiteX9" fmla="*/ 832639 w 1424364"/>
              <a:gd name="connsiteY9" fmla="*/ 1649139 h 1649139"/>
              <a:gd name="connsiteX10" fmla="*/ 0 w 1424364"/>
              <a:gd name="connsiteY10" fmla="*/ 816500 h 1649139"/>
              <a:gd name="connsiteX11" fmla="*/ 664833 w 1424364"/>
              <a:gd name="connsiteY11" fmla="*/ 777 h 1649139"/>
              <a:gd name="connsiteX12" fmla="*/ 669926 w 1424364"/>
              <a:gd name="connsiteY12" fmla="*/ 0 h 164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4364" h="1649139">
                <a:moveTo>
                  <a:pt x="669926" y="0"/>
                </a:moveTo>
                <a:lnTo>
                  <a:pt x="738608" y="126536"/>
                </a:lnTo>
                <a:cubicBezTo>
                  <a:pt x="858313" y="303723"/>
                  <a:pt x="1044428" y="432357"/>
                  <a:pt x="1261239" y="476723"/>
                </a:cubicBezTo>
                <a:lnTo>
                  <a:pt x="1272039" y="478371"/>
                </a:lnTo>
                <a:lnTo>
                  <a:pt x="1258257" y="503761"/>
                </a:lnTo>
                <a:cubicBezTo>
                  <a:pt x="1216123" y="603377"/>
                  <a:pt x="1192824" y="712899"/>
                  <a:pt x="1192824" y="827862"/>
                </a:cubicBezTo>
                <a:cubicBezTo>
                  <a:pt x="1192824" y="1000307"/>
                  <a:pt x="1245247" y="1160509"/>
                  <a:pt x="1335026" y="1293398"/>
                </a:cubicBezTo>
                <a:lnTo>
                  <a:pt x="1424364" y="1401678"/>
                </a:lnTo>
                <a:lnTo>
                  <a:pt x="1421404" y="1405265"/>
                </a:lnTo>
                <a:cubicBezTo>
                  <a:pt x="1270726" y="1555943"/>
                  <a:pt x="1062566" y="1649139"/>
                  <a:pt x="832639" y="1649139"/>
                </a:cubicBezTo>
                <a:cubicBezTo>
                  <a:pt x="372785" y="1649139"/>
                  <a:pt x="0" y="1276354"/>
                  <a:pt x="0" y="816500"/>
                </a:cubicBezTo>
                <a:cubicBezTo>
                  <a:pt x="0" y="414128"/>
                  <a:pt x="285414" y="78418"/>
                  <a:pt x="664833" y="777"/>
                </a:cubicBezTo>
                <a:lnTo>
                  <a:pt x="669926" y="0"/>
                </a:lnTo>
                <a:close/>
              </a:path>
            </a:pathLst>
          </a:cu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US" sz="1400" b="1" dirty="0">
                <a:solidFill>
                  <a:schemeClr val="bg1"/>
                </a:solidFill>
              </a:rPr>
              <a:t>        6.Value </a:t>
            </a:r>
          </a:p>
        </p:txBody>
      </p:sp>
      <p:sp>
        <p:nvSpPr>
          <p:cNvPr id="8" name="Freeform 13">
            <a:extLst>
              <a:ext uri="{FF2B5EF4-FFF2-40B4-BE49-F238E27FC236}">
                <a16:creationId xmlns:a16="http://schemas.microsoft.com/office/drawing/2014/main" id="{44FE4632-05BB-66A8-A382-4A3034C2F499}"/>
              </a:ext>
            </a:extLst>
          </p:cNvPr>
          <p:cNvSpPr>
            <a:spLocks noChangeAspect="1"/>
          </p:cNvSpPr>
          <p:nvPr/>
        </p:nvSpPr>
        <p:spPr>
          <a:xfrm>
            <a:off x="8978039" y="4013984"/>
            <a:ext cx="1852364" cy="2131784"/>
          </a:xfrm>
          <a:custGeom>
            <a:avLst/>
            <a:gdLst>
              <a:gd name="connsiteX0" fmla="*/ 758106 w 1433738"/>
              <a:gd name="connsiteY0" fmla="*/ 0 h 1650010"/>
              <a:gd name="connsiteX1" fmla="*/ 768905 w 1433738"/>
              <a:gd name="connsiteY1" fmla="*/ 1648 h 1650010"/>
              <a:gd name="connsiteX2" fmla="*/ 1433738 w 1433738"/>
              <a:gd name="connsiteY2" fmla="*/ 817371 h 1650010"/>
              <a:gd name="connsiteX3" fmla="*/ 601099 w 1433738"/>
              <a:gd name="connsiteY3" fmla="*/ 1650010 h 1650010"/>
              <a:gd name="connsiteX4" fmla="*/ 12334 w 1433738"/>
              <a:gd name="connsiteY4" fmla="*/ 1406136 h 1650010"/>
              <a:gd name="connsiteX5" fmla="*/ 0 w 1433738"/>
              <a:gd name="connsiteY5" fmla="*/ 1391187 h 1650010"/>
              <a:gd name="connsiteX6" fmla="*/ 98712 w 1433738"/>
              <a:gd name="connsiteY6" fmla="*/ 1271545 h 1650010"/>
              <a:gd name="connsiteX7" fmla="*/ 240914 w 1433738"/>
              <a:gd name="connsiteY7" fmla="*/ 806009 h 1650010"/>
              <a:gd name="connsiteX8" fmla="*/ 175481 w 1433738"/>
              <a:gd name="connsiteY8" fmla="*/ 481908 h 1650010"/>
              <a:gd name="connsiteX9" fmla="*/ 167394 w 1433738"/>
              <a:gd name="connsiteY9" fmla="*/ 467009 h 1650010"/>
              <a:gd name="connsiteX10" fmla="*/ 172487 w 1433738"/>
              <a:gd name="connsiteY10" fmla="*/ 466232 h 1650010"/>
              <a:gd name="connsiteX11" fmla="*/ 695118 w 1433738"/>
              <a:gd name="connsiteY11" fmla="*/ 116045 h 1650010"/>
              <a:gd name="connsiteX12" fmla="*/ 758106 w 1433738"/>
              <a:gd name="connsiteY12" fmla="*/ 0 h 165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3738" h="1650010">
                <a:moveTo>
                  <a:pt x="758106" y="0"/>
                </a:moveTo>
                <a:lnTo>
                  <a:pt x="768905" y="1648"/>
                </a:lnTo>
                <a:cubicBezTo>
                  <a:pt x="1148325" y="79289"/>
                  <a:pt x="1433738" y="414999"/>
                  <a:pt x="1433738" y="817371"/>
                </a:cubicBezTo>
                <a:cubicBezTo>
                  <a:pt x="1433738" y="1277225"/>
                  <a:pt x="1060953" y="1650010"/>
                  <a:pt x="601099" y="1650010"/>
                </a:cubicBezTo>
                <a:cubicBezTo>
                  <a:pt x="371172" y="1650010"/>
                  <a:pt x="163012" y="1556814"/>
                  <a:pt x="12334" y="1406136"/>
                </a:cubicBezTo>
                <a:lnTo>
                  <a:pt x="0" y="1391187"/>
                </a:lnTo>
                <a:lnTo>
                  <a:pt x="98712" y="1271545"/>
                </a:lnTo>
                <a:cubicBezTo>
                  <a:pt x="188491" y="1138656"/>
                  <a:pt x="240914" y="978454"/>
                  <a:pt x="240914" y="806009"/>
                </a:cubicBezTo>
                <a:cubicBezTo>
                  <a:pt x="240914" y="691046"/>
                  <a:pt x="217615" y="581524"/>
                  <a:pt x="175481" y="481908"/>
                </a:cubicBezTo>
                <a:lnTo>
                  <a:pt x="167394" y="467009"/>
                </a:lnTo>
                <a:lnTo>
                  <a:pt x="172487" y="466232"/>
                </a:lnTo>
                <a:cubicBezTo>
                  <a:pt x="389298" y="421866"/>
                  <a:pt x="575414" y="293232"/>
                  <a:pt x="695118" y="116045"/>
                </a:cubicBezTo>
                <a:lnTo>
                  <a:pt x="758106" y="0"/>
                </a:lnTo>
                <a:close/>
              </a:path>
            </a:pathLst>
          </a:cu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5113" lvl="1">
              <a:spcBef>
                <a:spcPts val="200"/>
              </a:spcBef>
              <a:spcAft>
                <a:spcPts val="200"/>
              </a:spcAft>
            </a:pPr>
            <a:r>
              <a:rPr lang="en-US" sz="1400" b="1" dirty="0">
                <a:solidFill>
                  <a:schemeClr val="bg1"/>
                </a:solidFill>
              </a:rPr>
              <a:t>7.Ease of Implementation</a:t>
            </a:r>
          </a:p>
        </p:txBody>
      </p:sp>
      <p:sp>
        <p:nvSpPr>
          <p:cNvPr id="9" name="Freeform 14">
            <a:extLst>
              <a:ext uri="{FF2B5EF4-FFF2-40B4-BE49-F238E27FC236}">
                <a16:creationId xmlns:a16="http://schemas.microsoft.com/office/drawing/2014/main" id="{6889AC47-4C69-A503-D065-AC039B4A1900}"/>
              </a:ext>
            </a:extLst>
          </p:cNvPr>
          <p:cNvSpPr>
            <a:spLocks noChangeAspect="1"/>
          </p:cNvSpPr>
          <p:nvPr/>
        </p:nvSpPr>
        <p:spPr>
          <a:xfrm>
            <a:off x="8781238" y="4313973"/>
            <a:ext cx="413071" cy="324229"/>
          </a:xfrm>
          <a:custGeom>
            <a:avLst/>
            <a:gdLst>
              <a:gd name="connsiteX0" fmla="*/ 161699 w 319719"/>
              <a:gd name="connsiteY0" fmla="*/ 0 h 250955"/>
              <a:gd name="connsiteX1" fmla="*/ 251037 w 319719"/>
              <a:gd name="connsiteY1" fmla="*/ 108280 h 250955"/>
              <a:gd name="connsiteX2" fmla="*/ 319719 w 319719"/>
              <a:gd name="connsiteY2" fmla="*/ 234816 h 250955"/>
              <a:gd name="connsiteX3" fmla="*/ 242139 w 319719"/>
              <a:gd name="connsiteY3" fmla="*/ 246656 h 250955"/>
              <a:gd name="connsiteX4" fmla="*/ 157006 w 319719"/>
              <a:gd name="connsiteY4" fmla="*/ 250955 h 250955"/>
              <a:gd name="connsiteX5" fmla="*/ 71873 w 319719"/>
              <a:gd name="connsiteY5" fmla="*/ 246656 h 250955"/>
              <a:gd name="connsiteX6" fmla="*/ 0 w 319719"/>
              <a:gd name="connsiteY6" fmla="*/ 235687 h 250955"/>
              <a:gd name="connsiteX7" fmla="*/ 62987 w 319719"/>
              <a:gd name="connsiteY7" fmla="*/ 119642 h 250955"/>
              <a:gd name="connsiteX8" fmla="*/ 161699 w 319719"/>
              <a:gd name="connsiteY8" fmla="*/ 0 h 25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719" h="250955">
                <a:moveTo>
                  <a:pt x="161699" y="0"/>
                </a:moveTo>
                <a:lnTo>
                  <a:pt x="251037" y="108280"/>
                </a:lnTo>
                <a:lnTo>
                  <a:pt x="319719" y="234816"/>
                </a:lnTo>
                <a:lnTo>
                  <a:pt x="242139" y="246656"/>
                </a:lnTo>
                <a:cubicBezTo>
                  <a:pt x="214148" y="249499"/>
                  <a:pt x="185747" y="250955"/>
                  <a:pt x="157006" y="250955"/>
                </a:cubicBezTo>
                <a:cubicBezTo>
                  <a:pt x="128265" y="250955"/>
                  <a:pt x="99865" y="249499"/>
                  <a:pt x="71873" y="246656"/>
                </a:cubicBezTo>
                <a:lnTo>
                  <a:pt x="0" y="235687"/>
                </a:lnTo>
                <a:lnTo>
                  <a:pt x="62987" y="119642"/>
                </a:lnTo>
                <a:lnTo>
                  <a:pt x="161699" y="0"/>
                </a:lnTo>
                <a:close/>
              </a:path>
            </a:pathLst>
          </a:custGeom>
          <a:solidFill>
            <a:schemeClr val="accent3"/>
          </a:solidFill>
          <a:ln w="57150">
            <a:solidFill>
              <a:schemeClr val="tx1">
                <a:lumMod val="10000"/>
                <a:lumOff val="9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1000" b="1" dirty="0">
              <a:latin typeface="Helvetica Neue" charset="0"/>
              <a:ea typeface="Helvetica Neue" charset="0"/>
              <a:cs typeface="Helvetica Neue" charset="0"/>
            </a:endParaRPr>
          </a:p>
        </p:txBody>
      </p:sp>
      <p:sp>
        <p:nvSpPr>
          <p:cNvPr id="11" name="Rectangle 10">
            <a:extLst>
              <a:ext uri="{FF2B5EF4-FFF2-40B4-BE49-F238E27FC236}">
                <a16:creationId xmlns:a16="http://schemas.microsoft.com/office/drawing/2014/main" id="{514E29C3-6CD2-E22F-FD26-A8B7F7770488}"/>
              </a:ext>
            </a:extLst>
          </p:cNvPr>
          <p:cNvSpPr/>
          <p:nvPr/>
        </p:nvSpPr>
        <p:spPr>
          <a:xfrm>
            <a:off x="660383" y="2080912"/>
            <a:ext cx="5082363" cy="4298623"/>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dirty="0">
              <a:solidFill>
                <a:schemeClr val="tx1"/>
              </a:solidFill>
            </a:endParaRPr>
          </a:p>
        </p:txBody>
      </p:sp>
      <p:sp>
        <p:nvSpPr>
          <p:cNvPr id="29" name="TextBox 28">
            <a:extLst>
              <a:ext uri="{FF2B5EF4-FFF2-40B4-BE49-F238E27FC236}">
                <a16:creationId xmlns:a16="http://schemas.microsoft.com/office/drawing/2014/main" id="{67990735-90A1-5230-8D75-8AB8EB5CC965}"/>
              </a:ext>
            </a:extLst>
          </p:cNvPr>
          <p:cNvSpPr txBox="1"/>
          <p:nvPr/>
        </p:nvSpPr>
        <p:spPr>
          <a:xfrm>
            <a:off x="1902384" y="1711580"/>
            <a:ext cx="2598361" cy="369332"/>
          </a:xfrm>
          <a:prstGeom prst="rect">
            <a:avLst/>
          </a:prstGeom>
          <a:noFill/>
        </p:spPr>
        <p:txBody>
          <a:bodyPr wrap="square" rtlCol="0">
            <a:spAutoFit/>
          </a:bodyPr>
          <a:lstStyle/>
          <a:p>
            <a:pPr algn="ctr"/>
            <a:r>
              <a:rPr lang="en-US" b="1" dirty="0"/>
              <a:t>Project Description</a:t>
            </a:r>
          </a:p>
        </p:txBody>
      </p:sp>
      <p:sp>
        <p:nvSpPr>
          <p:cNvPr id="41" name="TextBox 40">
            <a:extLst>
              <a:ext uri="{FF2B5EF4-FFF2-40B4-BE49-F238E27FC236}">
                <a16:creationId xmlns:a16="http://schemas.microsoft.com/office/drawing/2014/main" id="{ADF24C54-1249-F95E-2314-2EB95A27E316}"/>
              </a:ext>
            </a:extLst>
          </p:cNvPr>
          <p:cNvSpPr txBox="1"/>
          <p:nvPr/>
        </p:nvSpPr>
        <p:spPr>
          <a:xfrm>
            <a:off x="7706608" y="1711580"/>
            <a:ext cx="2598361" cy="369332"/>
          </a:xfrm>
          <a:prstGeom prst="rect">
            <a:avLst/>
          </a:prstGeom>
          <a:noFill/>
        </p:spPr>
        <p:txBody>
          <a:bodyPr wrap="square" rtlCol="0">
            <a:spAutoFit/>
          </a:bodyPr>
          <a:lstStyle/>
          <a:p>
            <a:pPr algn="ctr"/>
            <a:r>
              <a:rPr lang="en-US" b="1" dirty="0"/>
              <a:t>Project Assessment</a:t>
            </a:r>
          </a:p>
        </p:txBody>
      </p:sp>
      <p:sp>
        <p:nvSpPr>
          <p:cNvPr id="42" name="Rectangle 41">
            <a:extLst>
              <a:ext uri="{FF2B5EF4-FFF2-40B4-BE49-F238E27FC236}">
                <a16:creationId xmlns:a16="http://schemas.microsoft.com/office/drawing/2014/main" id="{26510F40-4302-75BE-E94D-03C8301F6A69}"/>
              </a:ext>
            </a:extLst>
          </p:cNvPr>
          <p:cNvSpPr/>
          <p:nvPr/>
        </p:nvSpPr>
        <p:spPr>
          <a:xfrm>
            <a:off x="963410" y="2264732"/>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1.Business opportunity &amp; suggested solution</a:t>
            </a:r>
            <a:endParaRPr lang="en-GB" sz="1400" b="1" dirty="0">
              <a:solidFill>
                <a:schemeClr val="bg1"/>
              </a:solidFill>
            </a:endParaRPr>
          </a:p>
        </p:txBody>
      </p:sp>
      <p:sp>
        <p:nvSpPr>
          <p:cNvPr id="44" name="Rectangle 43">
            <a:extLst>
              <a:ext uri="{FF2B5EF4-FFF2-40B4-BE49-F238E27FC236}">
                <a16:creationId xmlns:a16="http://schemas.microsoft.com/office/drawing/2014/main" id="{2FF40CCF-99C6-FA18-7641-D42683BB99A7}"/>
              </a:ext>
            </a:extLst>
          </p:cNvPr>
          <p:cNvSpPr/>
          <p:nvPr/>
        </p:nvSpPr>
        <p:spPr>
          <a:xfrm>
            <a:off x="963410" y="4337748"/>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a:solidFill>
                  <a:schemeClr val="bg1"/>
                </a:solidFill>
              </a:rPr>
              <a:t>3</a:t>
            </a:r>
            <a:r>
              <a:rPr lang="en-GB" sz="1400" b="1" dirty="0">
                <a:solidFill>
                  <a:schemeClr val="bg1"/>
                </a:solidFill>
              </a:rPr>
              <a:t>.Project scope, </a:t>
            </a:r>
            <a:r>
              <a:rPr lang="en-GB" sz="1400" b="1">
                <a:solidFill>
                  <a:schemeClr val="bg1"/>
                </a:solidFill>
              </a:rPr>
              <a:t>approach and high-level plan</a:t>
            </a:r>
            <a:endParaRPr lang="en-GB" sz="1400" b="1" dirty="0">
              <a:solidFill>
                <a:schemeClr val="bg1"/>
              </a:solidFill>
            </a:endParaRPr>
          </a:p>
        </p:txBody>
      </p:sp>
      <p:sp>
        <p:nvSpPr>
          <p:cNvPr id="45" name="Rectangle 44">
            <a:extLst>
              <a:ext uri="{FF2B5EF4-FFF2-40B4-BE49-F238E27FC236}">
                <a16:creationId xmlns:a16="http://schemas.microsoft.com/office/drawing/2014/main" id="{5FF2A5B7-0CC2-42FA-D08D-E033FBD006EA}"/>
              </a:ext>
            </a:extLst>
          </p:cNvPr>
          <p:cNvSpPr/>
          <p:nvPr/>
        </p:nvSpPr>
        <p:spPr>
          <a:xfrm>
            <a:off x="963410" y="5374256"/>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4.Deliverables, activities &amp; key </a:t>
            </a:r>
            <a:r>
              <a:rPr lang="en-GB" sz="1400" b="1">
                <a:solidFill>
                  <a:schemeClr val="bg1"/>
                </a:solidFill>
              </a:rPr>
              <a:t>success factors</a:t>
            </a:r>
            <a:endParaRPr lang="en-GB" sz="1400" b="1" dirty="0">
              <a:solidFill>
                <a:schemeClr val="bg1"/>
              </a:solidFill>
            </a:endParaRPr>
          </a:p>
        </p:txBody>
      </p:sp>
      <p:sp>
        <p:nvSpPr>
          <p:cNvPr id="15" name="Rectangle 14">
            <a:extLst>
              <a:ext uri="{FF2B5EF4-FFF2-40B4-BE49-F238E27FC236}">
                <a16:creationId xmlns:a16="http://schemas.microsoft.com/office/drawing/2014/main" id="{C5C1B5CA-FBF4-0C31-5A12-8DC6021109A3}"/>
              </a:ext>
            </a:extLst>
          </p:cNvPr>
          <p:cNvSpPr/>
          <p:nvPr/>
        </p:nvSpPr>
        <p:spPr>
          <a:xfrm>
            <a:off x="963410" y="3301240"/>
            <a:ext cx="4476307" cy="824024"/>
          </a:xfrm>
          <a:prstGeom prst="rect">
            <a:avLst/>
          </a:prstGeom>
          <a:ln w="57150">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GB" sz="1400" b="1" dirty="0">
                <a:solidFill>
                  <a:schemeClr val="bg1"/>
                </a:solidFill>
              </a:rPr>
              <a:t>2.Project objectives and key performance indicators (KPIs)</a:t>
            </a:r>
          </a:p>
        </p:txBody>
      </p:sp>
    </p:spTree>
    <p:extLst>
      <p:ext uri="{BB962C8B-B14F-4D97-AF65-F5344CB8AC3E}">
        <p14:creationId xmlns:p14="http://schemas.microsoft.com/office/powerpoint/2010/main" val="2197308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I of our traditional project management 3-phase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28" name="Rectangle: Rounded Corners 27">
            <a:extLst>
              <a:ext uri="{FF2B5EF4-FFF2-40B4-BE49-F238E27FC236}">
                <a16:creationId xmlns:a16="http://schemas.microsoft.com/office/drawing/2014/main" id="{C893B390-DB33-D099-DBE1-597A4D03D8FB}"/>
              </a:ext>
            </a:extLst>
          </p:cNvPr>
          <p:cNvSpPr/>
          <p:nvPr/>
        </p:nvSpPr>
        <p:spPr>
          <a:xfrm>
            <a:off x="597147" y="1783081"/>
            <a:ext cx="11073049" cy="3055694"/>
          </a:xfrm>
          <a:prstGeom prst="roundRect">
            <a:avLst>
              <a:gd name="adj" fmla="val 1343"/>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Chevron 17">
            <a:extLst>
              <a:ext uri="{FF2B5EF4-FFF2-40B4-BE49-F238E27FC236}">
                <a16:creationId xmlns:a16="http://schemas.microsoft.com/office/drawing/2014/main" id="{24B54FEA-2AAA-EF82-1D1E-C21ED0F6B343}"/>
              </a:ext>
            </a:extLst>
          </p:cNvPr>
          <p:cNvSpPr/>
          <p:nvPr/>
        </p:nvSpPr>
        <p:spPr bwMode="auto">
          <a:xfrm>
            <a:off x="665727"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Build a Business Case &amp; Financial Model</a:t>
            </a:r>
            <a:endParaRPr lang="en-US" sz="1300" b="1" dirty="0">
              <a:solidFill>
                <a:schemeClr val="bg1"/>
              </a:solidFill>
              <a:cs typeface="Times New Roman" pitchFamily="18" charset="0"/>
            </a:endParaRPr>
          </a:p>
        </p:txBody>
      </p:sp>
      <p:sp>
        <p:nvSpPr>
          <p:cNvPr id="30" name="Chevron 17">
            <a:extLst>
              <a:ext uri="{FF2B5EF4-FFF2-40B4-BE49-F238E27FC236}">
                <a16:creationId xmlns:a16="http://schemas.microsoft.com/office/drawing/2014/main" id="{DB2C44EB-22E1-AC6D-66B2-F83A856224CF}"/>
              </a:ext>
            </a:extLst>
          </p:cNvPr>
          <p:cNvSpPr/>
          <p:nvPr/>
        </p:nvSpPr>
        <p:spPr bwMode="auto">
          <a:xfrm>
            <a:off x="4356125" y="2363662"/>
            <a:ext cx="3604451" cy="432000"/>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a:t>
            </a:r>
            <a:r>
              <a:rPr lang="en-GB" sz="1300" b="1" dirty="0">
                <a:solidFill>
                  <a:schemeClr val="bg1"/>
                </a:solidFill>
                <a:cs typeface="Times New Roman" pitchFamily="18" charset="0"/>
              </a:rPr>
              <a:t>Initiate the Project</a:t>
            </a:r>
          </a:p>
        </p:txBody>
      </p:sp>
      <p:sp>
        <p:nvSpPr>
          <p:cNvPr id="31" name="Rectangle 30">
            <a:extLst>
              <a:ext uri="{FF2B5EF4-FFF2-40B4-BE49-F238E27FC236}">
                <a16:creationId xmlns:a16="http://schemas.microsoft.com/office/drawing/2014/main" id="{BC5C36B5-E318-3858-D3A1-18315FD36EE7}"/>
              </a:ext>
            </a:extLst>
          </p:cNvPr>
          <p:cNvSpPr/>
          <p:nvPr/>
        </p:nvSpPr>
        <p:spPr>
          <a:xfrm>
            <a:off x="720890" y="2812578"/>
            <a:ext cx="3690953" cy="202619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Project Descriptio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Business opportunity &amp; suggested solutio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Project objectives and key performance indicators</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Project scope, approach and high-level pla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Deliverables, activities &amp; key success factors</a:t>
            </a:r>
          </a:p>
          <a:p>
            <a:pPr marL="169863" indent="-169863">
              <a:spcBef>
                <a:spcPts val="200"/>
              </a:spcBef>
              <a:spcAft>
                <a:spcPts val="200"/>
              </a:spcAft>
              <a:buFont typeface="+mj-lt"/>
              <a:buAutoNum type="arabicPeriod"/>
              <a:defRPr/>
            </a:pPr>
            <a:r>
              <a:rPr lang="en-GB" sz="1100" dirty="0">
                <a:solidFill>
                  <a:srgbClr val="002776"/>
                </a:solidFill>
              </a:rPr>
              <a:t>Project Assessment</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Strategic alignment</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Value (Revenue, Costs, Net present value, ROI, etc.)</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Ease of implementation</a:t>
            </a:r>
          </a:p>
        </p:txBody>
      </p:sp>
      <p:sp>
        <p:nvSpPr>
          <p:cNvPr id="32" name="Rectangle 31">
            <a:extLst>
              <a:ext uri="{FF2B5EF4-FFF2-40B4-BE49-F238E27FC236}">
                <a16:creationId xmlns:a16="http://schemas.microsoft.com/office/drawing/2014/main" id="{8E76BCBB-086B-C823-B6A3-32050A7399D8}"/>
              </a:ext>
            </a:extLst>
          </p:cNvPr>
          <p:cNvSpPr/>
          <p:nvPr/>
        </p:nvSpPr>
        <p:spPr>
          <a:xfrm>
            <a:off x="8046523" y="2812578"/>
            <a:ext cx="3447437"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High-level project plan</a:t>
            </a:r>
          </a:p>
          <a:p>
            <a:pPr marL="169863" indent="-169863">
              <a:spcBef>
                <a:spcPts val="200"/>
              </a:spcBef>
              <a:spcAft>
                <a:spcPts val="200"/>
              </a:spcAft>
              <a:buFont typeface="+mj-lt"/>
              <a:buAutoNum type="arabicPeriod"/>
              <a:defRPr/>
            </a:pPr>
            <a:r>
              <a:rPr lang="en-GB" sz="1100" dirty="0">
                <a:solidFill>
                  <a:srgbClr val="002776"/>
                </a:solidFill>
              </a:rPr>
              <a:t>Detailed project plan</a:t>
            </a:r>
          </a:p>
          <a:p>
            <a:pPr marL="169863" indent="-169863">
              <a:spcBef>
                <a:spcPts val="200"/>
              </a:spcBef>
              <a:spcAft>
                <a:spcPts val="200"/>
              </a:spcAft>
              <a:buFont typeface="+mj-lt"/>
              <a:buAutoNum type="arabicPeriod"/>
              <a:defRPr/>
            </a:pPr>
            <a:r>
              <a:rPr lang="en-GB" sz="1100" dirty="0">
                <a:solidFill>
                  <a:srgbClr val="002776"/>
                </a:solidFill>
              </a:rPr>
              <a:t>Project dashboard</a:t>
            </a:r>
          </a:p>
          <a:p>
            <a:pPr marL="169863" indent="-169863">
              <a:spcBef>
                <a:spcPts val="200"/>
              </a:spcBef>
              <a:spcAft>
                <a:spcPts val="200"/>
              </a:spcAft>
              <a:buFont typeface="+mj-lt"/>
              <a:buAutoNum type="arabicPeriod"/>
              <a:defRPr/>
            </a:pPr>
            <a:r>
              <a:rPr lang="en-GB" sz="1100" dirty="0">
                <a:solidFill>
                  <a:srgbClr val="002776"/>
                </a:solidFill>
              </a:rPr>
              <a:t>Parking lot</a:t>
            </a:r>
          </a:p>
          <a:p>
            <a:pPr marL="169863" indent="-169863">
              <a:spcBef>
                <a:spcPts val="200"/>
              </a:spcBef>
              <a:spcAft>
                <a:spcPts val="200"/>
              </a:spcAft>
              <a:buFont typeface="+mj-lt"/>
              <a:buAutoNum type="arabicPeriod"/>
              <a:defRPr/>
            </a:pPr>
            <a:r>
              <a:rPr lang="en-GB" sz="1100" dirty="0">
                <a:solidFill>
                  <a:srgbClr val="002776"/>
                </a:solidFill>
              </a:rPr>
              <a:t>Punch list</a:t>
            </a:r>
          </a:p>
          <a:p>
            <a:pPr marL="169863" indent="-169863">
              <a:spcBef>
                <a:spcPts val="200"/>
              </a:spcBef>
              <a:spcAft>
                <a:spcPts val="200"/>
              </a:spcAft>
              <a:buFont typeface="+mj-lt"/>
              <a:buAutoNum type="arabicPeriod"/>
              <a:defRPr/>
            </a:pPr>
            <a:r>
              <a:rPr lang="en-GB" sz="1100" dirty="0">
                <a:solidFill>
                  <a:srgbClr val="002776"/>
                </a:solidFill>
              </a:rPr>
              <a:t>Post-project evaluation report</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sp>
        <p:nvSpPr>
          <p:cNvPr id="33" name="Chevron 17">
            <a:extLst>
              <a:ext uri="{FF2B5EF4-FFF2-40B4-BE49-F238E27FC236}">
                <a16:creationId xmlns:a16="http://schemas.microsoft.com/office/drawing/2014/main" id="{2A99C644-C5AF-C50D-58C4-CF8E8D287DEF}"/>
              </a:ext>
            </a:extLst>
          </p:cNvPr>
          <p:cNvSpPr/>
          <p:nvPr/>
        </p:nvSpPr>
        <p:spPr bwMode="auto">
          <a:xfrm>
            <a:off x="8046523"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Define and Implement your Project Plan</a:t>
            </a:r>
          </a:p>
        </p:txBody>
      </p:sp>
      <p:sp>
        <p:nvSpPr>
          <p:cNvPr id="34" name="Rectangle 33">
            <a:extLst>
              <a:ext uri="{FF2B5EF4-FFF2-40B4-BE49-F238E27FC236}">
                <a16:creationId xmlns:a16="http://schemas.microsoft.com/office/drawing/2014/main" id="{91D68227-A79A-B823-4FA2-901CE92DCAE3}"/>
              </a:ext>
            </a:extLst>
          </p:cNvPr>
          <p:cNvSpPr/>
          <p:nvPr/>
        </p:nvSpPr>
        <p:spPr>
          <a:xfrm>
            <a:off x="4411844" y="2812578"/>
            <a:ext cx="3396807"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Project charter</a:t>
            </a:r>
          </a:p>
          <a:p>
            <a:pPr marL="169863" indent="-169863">
              <a:spcBef>
                <a:spcPts val="200"/>
              </a:spcBef>
              <a:spcAft>
                <a:spcPts val="200"/>
              </a:spcAft>
              <a:buFont typeface="+mj-lt"/>
              <a:buAutoNum type="arabicPeriod"/>
              <a:defRPr/>
            </a:pPr>
            <a:r>
              <a:rPr lang="en-GB" sz="1100" dirty="0">
                <a:solidFill>
                  <a:srgbClr val="002776"/>
                </a:solidFill>
              </a:rPr>
              <a:t>Project challenges and key success factors</a:t>
            </a:r>
          </a:p>
          <a:p>
            <a:pPr marL="169863" indent="-169863">
              <a:spcBef>
                <a:spcPts val="200"/>
              </a:spcBef>
              <a:spcAft>
                <a:spcPts val="200"/>
              </a:spcAft>
              <a:buFont typeface="+mj-lt"/>
              <a:buAutoNum type="arabicPeriod"/>
              <a:defRPr/>
            </a:pPr>
            <a:r>
              <a:rPr lang="nb-NO" sz="1100" dirty="0">
                <a:solidFill>
                  <a:srgbClr val="002776"/>
                </a:solidFill>
              </a:rPr>
              <a:t>RACI matrix</a:t>
            </a:r>
          </a:p>
          <a:p>
            <a:pPr marL="169863" indent="-169863">
              <a:spcBef>
                <a:spcPts val="200"/>
              </a:spcBef>
              <a:spcAft>
                <a:spcPts val="200"/>
              </a:spcAft>
              <a:buFont typeface="+mj-lt"/>
              <a:buAutoNum type="arabicPeriod"/>
              <a:defRPr/>
            </a:pPr>
            <a:r>
              <a:rPr lang="nb-NO" sz="1100" dirty="0">
                <a:solidFill>
                  <a:srgbClr val="002776"/>
                </a:solidFill>
              </a:rPr>
              <a:t>Stakeholder analysis</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p:txBody>
      </p:sp>
      <p:pic>
        <p:nvPicPr>
          <p:cNvPr id="35" name="Graphic 34" descr="Bar chart outline">
            <a:extLst>
              <a:ext uri="{FF2B5EF4-FFF2-40B4-BE49-F238E27FC236}">
                <a16:creationId xmlns:a16="http://schemas.microsoft.com/office/drawing/2014/main" id="{D7E34647-A63D-23C7-3428-851A1E4C9E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01284" y="1882268"/>
            <a:ext cx="455456" cy="455456"/>
          </a:xfrm>
          <a:prstGeom prst="rect">
            <a:avLst/>
          </a:prstGeom>
        </p:spPr>
      </p:pic>
      <p:pic>
        <p:nvPicPr>
          <p:cNvPr id="36" name="Graphic 35" descr="Play outline">
            <a:extLst>
              <a:ext uri="{FF2B5EF4-FFF2-40B4-BE49-F238E27FC236}">
                <a16:creationId xmlns:a16="http://schemas.microsoft.com/office/drawing/2014/main" id="{E2920195-4366-D511-690A-AA25CEDAFC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81647" y="1863930"/>
            <a:ext cx="457200" cy="457200"/>
          </a:xfrm>
          <a:prstGeom prst="rect">
            <a:avLst/>
          </a:prstGeom>
        </p:spPr>
      </p:pic>
      <p:pic>
        <p:nvPicPr>
          <p:cNvPr id="37" name="Graphic 36" descr="Checklist outline">
            <a:extLst>
              <a:ext uri="{FF2B5EF4-FFF2-40B4-BE49-F238E27FC236}">
                <a16:creationId xmlns:a16="http://schemas.microsoft.com/office/drawing/2014/main" id="{0C6C6B4F-C86F-A953-FCCB-880CE0DECE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20148" y="1882268"/>
            <a:ext cx="457200" cy="457200"/>
          </a:xfrm>
          <a:prstGeom prst="rect">
            <a:avLst/>
          </a:prstGeom>
        </p:spPr>
      </p:pic>
      <p:sp>
        <p:nvSpPr>
          <p:cNvPr id="38" name="TextBox 37">
            <a:extLst>
              <a:ext uri="{FF2B5EF4-FFF2-40B4-BE49-F238E27FC236}">
                <a16:creationId xmlns:a16="http://schemas.microsoft.com/office/drawing/2014/main" id="{112AA82F-E27A-66FE-93DD-C7FE67D5EB04}"/>
              </a:ext>
            </a:extLst>
          </p:cNvPr>
          <p:cNvSpPr txBox="1"/>
          <p:nvPr/>
        </p:nvSpPr>
        <p:spPr>
          <a:xfrm>
            <a:off x="4487751" y="1512544"/>
            <a:ext cx="3291840" cy="307777"/>
          </a:xfrm>
          <a:prstGeom prst="rect">
            <a:avLst/>
          </a:prstGeom>
          <a:noFill/>
        </p:spPr>
        <p:txBody>
          <a:bodyPr wrap="square" rtlCol="0">
            <a:spAutoFit/>
          </a:bodyPr>
          <a:lstStyle/>
          <a:p>
            <a:pPr algn="ctr"/>
            <a:r>
              <a:rPr lang="en-US" sz="1400" b="1" dirty="0"/>
              <a:t>Traditional Approach</a:t>
            </a:r>
          </a:p>
        </p:txBody>
      </p:sp>
      <p:sp>
        <p:nvSpPr>
          <p:cNvPr id="39" name="Rectangle: Rounded Corners 38">
            <a:extLst>
              <a:ext uri="{FF2B5EF4-FFF2-40B4-BE49-F238E27FC236}">
                <a16:creationId xmlns:a16="http://schemas.microsoft.com/office/drawing/2014/main" id="{8508FACD-47EE-2EC0-A1AA-2D1E2299FA7B}"/>
              </a:ext>
            </a:extLst>
          </p:cNvPr>
          <p:cNvSpPr/>
          <p:nvPr/>
        </p:nvSpPr>
        <p:spPr>
          <a:xfrm>
            <a:off x="597147" y="5338152"/>
            <a:ext cx="11073049" cy="1200442"/>
          </a:xfrm>
          <a:prstGeom prst="roundRect">
            <a:avLst>
              <a:gd name="adj" fmla="val 396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0C97F124-1014-CBC8-D263-AC70BC0A28BE}"/>
              </a:ext>
            </a:extLst>
          </p:cNvPr>
          <p:cNvSpPr txBox="1"/>
          <p:nvPr/>
        </p:nvSpPr>
        <p:spPr>
          <a:xfrm>
            <a:off x="4487751" y="5021895"/>
            <a:ext cx="3291840" cy="307777"/>
          </a:xfrm>
          <a:prstGeom prst="rect">
            <a:avLst/>
          </a:prstGeom>
          <a:noFill/>
        </p:spPr>
        <p:txBody>
          <a:bodyPr wrap="square" rtlCol="0">
            <a:spAutoFit/>
          </a:bodyPr>
          <a:lstStyle/>
          <a:p>
            <a:pPr algn="ctr"/>
            <a:r>
              <a:rPr lang="en-US" sz="1400" b="1" dirty="0"/>
              <a:t>Agile Approach</a:t>
            </a:r>
          </a:p>
        </p:txBody>
      </p:sp>
      <p:sp>
        <p:nvSpPr>
          <p:cNvPr id="41" name="Right Arrow 20">
            <a:extLst>
              <a:ext uri="{FF2B5EF4-FFF2-40B4-BE49-F238E27FC236}">
                <a16:creationId xmlns:a16="http://schemas.microsoft.com/office/drawing/2014/main" id="{2709E945-4268-62B5-C74C-65682BA07C9E}"/>
              </a:ext>
            </a:extLst>
          </p:cNvPr>
          <p:cNvSpPr/>
          <p:nvPr/>
        </p:nvSpPr>
        <p:spPr>
          <a:xfrm>
            <a:off x="2343505" y="5588779"/>
            <a:ext cx="1336554" cy="59307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2" name="Right Arrow 27">
            <a:extLst>
              <a:ext uri="{FF2B5EF4-FFF2-40B4-BE49-F238E27FC236}">
                <a16:creationId xmlns:a16="http://schemas.microsoft.com/office/drawing/2014/main" id="{A331F2F2-4ABE-663C-CCE0-26689944956A}"/>
              </a:ext>
            </a:extLst>
          </p:cNvPr>
          <p:cNvSpPr/>
          <p:nvPr/>
        </p:nvSpPr>
        <p:spPr>
          <a:xfrm>
            <a:off x="5520928" y="5588779"/>
            <a:ext cx="2419190" cy="59307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3" name="TextBox 42">
            <a:extLst>
              <a:ext uri="{FF2B5EF4-FFF2-40B4-BE49-F238E27FC236}">
                <a16:creationId xmlns:a16="http://schemas.microsoft.com/office/drawing/2014/main" id="{101D710C-1C64-6A07-5B69-D88E7DDD2B01}"/>
              </a:ext>
            </a:extLst>
          </p:cNvPr>
          <p:cNvSpPr txBox="1"/>
          <p:nvPr/>
        </p:nvSpPr>
        <p:spPr>
          <a:xfrm>
            <a:off x="766157" y="6268879"/>
            <a:ext cx="1200970"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Product Backlog</a:t>
            </a:r>
          </a:p>
        </p:txBody>
      </p:sp>
      <p:sp>
        <p:nvSpPr>
          <p:cNvPr id="44" name="TextBox 43">
            <a:extLst>
              <a:ext uri="{FF2B5EF4-FFF2-40B4-BE49-F238E27FC236}">
                <a16:creationId xmlns:a16="http://schemas.microsoft.com/office/drawing/2014/main" id="{EF55FE3F-940D-7028-5070-9C50AA1F030B}"/>
              </a:ext>
            </a:extLst>
          </p:cNvPr>
          <p:cNvSpPr txBox="1"/>
          <p:nvPr/>
        </p:nvSpPr>
        <p:spPr>
          <a:xfrm>
            <a:off x="3981660" y="6268879"/>
            <a:ext cx="1087157"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Backlog</a:t>
            </a:r>
          </a:p>
        </p:txBody>
      </p:sp>
      <p:sp>
        <p:nvSpPr>
          <p:cNvPr id="45" name="TextBox 44">
            <a:extLst>
              <a:ext uri="{FF2B5EF4-FFF2-40B4-BE49-F238E27FC236}">
                <a16:creationId xmlns:a16="http://schemas.microsoft.com/office/drawing/2014/main" id="{E413F668-2A0A-DF83-225C-555732E20D71}"/>
              </a:ext>
            </a:extLst>
          </p:cNvPr>
          <p:cNvSpPr txBox="1"/>
          <p:nvPr/>
        </p:nvSpPr>
        <p:spPr>
          <a:xfrm>
            <a:off x="6072891" y="6268879"/>
            <a:ext cx="1200970"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Execution</a:t>
            </a:r>
          </a:p>
        </p:txBody>
      </p:sp>
      <p:sp>
        <p:nvSpPr>
          <p:cNvPr id="46" name="TextBox 45">
            <a:extLst>
              <a:ext uri="{FF2B5EF4-FFF2-40B4-BE49-F238E27FC236}">
                <a16:creationId xmlns:a16="http://schemas.microsoft.com/office/drawing/2014/main" id="{4AC66820-CB24-E6A8-96D7-5017E48DF5CE}"/>
              </a:ext>
            </a:extLst>
          </p:cNvPr>
          <p:cNvSpPr txBox="1"/>
          <p:nvPr/>
        </p:nvSpPr>
        <p:spPr>
          <a:xfrm>
            <a:off x="8553456" y="6152054"/>
            <a:ext cx="2103114" cy="400110"/>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Potentially Shippable Product Increment</a:t>
            </a:r>
          </a:p>
        </p:txBody>
      </p:sp>
      <p:sp>
        <p:nvSpPr>
          <p:cNvPr id="47" name="TextBox 46">
            <a:extLst>
              <a:ext uri="{FF2B5EF4-FFF2-40B4-BE49-F238E27FC236}">
                <a16:creationId xmlns:a16="http://schemas.microsoft.com/office/drawing/2014/main" id="{67810271-AC1C-F1F9-E497-949000B40E86}"/>
              </a:ext>
            </a:extLst>
          </p:cNvPr>
          <p:cNvSpPr txBox="1"/>
          <p:nvPr/>
        </p:nvSpPr>
        <p:spPr>
          <a:xfrm>
            <a:off x="2392642" y="6301264"/>
            <a:ext cx="1130438"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Planning</a:t>
            </a:r>
          </a:p>
        </p:txBody>
      </p:sp>
      <p:sp>
        <p:nvSpPr>
          <p:cNvPr id="48" name="TextBox 47">
            <a:extLst>
              <a:ext uri="{FF2B5EF4-FFF2-40B4-BE49-F238E27FC236}">
                <a16:creationId xmlns:a16="http://schemas.microsoft.com/office/drawing/2014/main" id="{9AD704BE-BFDF-776E-2785-79CC0B3AB31C}"/>
              </a:ext>
            </a:extLst>
          </p:cNvPr>
          <p:cNvSpPr txBox="1"/>
          <p:nvPr/>
        </p:nvSpPr>
        <p:spPr>
          <a:xfrm>
            <a:off x="7961625" y="6184439"/>
            <a:ext cx="795117" cy="400110"/>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Sprint Review</a:t>
            </a:r>
          </a:p>
        </p:txBody>
      </p:sp>
      <p:sp>
        <p:nvSpPr>
          <p:cNvPr id="49" name="Rectangle 48">
            <a:extLst>
              <a:ext uri="{FF2B5EF4-FFF2-40B4-BE49-F238E27FC236}">
                <a16:creationId xmlns:a16="http://schemas.microsoft.com/office/drawing/2014/main" id="{B37F23AB-D1E5-8F54-E0B7-997395727990}"/>
              </a:ext>
            </a:extLst>
          </p:cNvPr>
          <p:cNvSpPr/>
          <p:nvPr/>
        </p:nvSpPr>
        <p:spPr>
          <a:xfrm>
            <a:off x="863959"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0" name="Rectangle 49">
            <a:extLst>
              <a:ext uri="{FF2B5EF4-FFF2-40B4-BE49-F238E27FC236}">
                <a16:creationId xmlns:a16="http://schemas.microsoft.com/office/drawing/2014/main" id="{EE48BFC4-5243-C6D5-64AC-4538BBAFEB18}"/>
              </a:ext>
            </a:extLst>
          </p:cNvPr>
          <p:cNvSpPr/>
          <p:nvPr/>
        </p:nvSpPr>
        <p:spPr>
          <a:xfrm>
            <a:off x="1248938"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1" name="Rectangle 50">
            <a:extLst>
              <a:ext uri="{FF2B5EF4-FFF2-40B4-BE49-F238E27FC236}">
                <a16:creationId xmlns:a16="http://schemas.microsoft.com/office/drawing/2014/main" id="{D9A99CBA-B34C-FFED-10E6-61F1EB9A48A1}"/>
              </a:ext>
            </a:extLst>
          </p:cNvPr>
          <p:cNvSpPr/>
          <p:nvPr/>
        </p:nvSpPr>
        <p:spPr>
          <a:xfrm>
            <a:off x="1633916"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2" name="Freeform 948">
            <a:extLst>
              <a:ext uri="{FF2B5EF4-FFF2-40B4-BE49-F238E27FC236}">
                <a16:creationId xmlns:a16="http://schemas.microsoft.com/office/drawing/2014/main" id="{26A0C8AE-2C3D-E8BD-8F3A-86223A856185}"/>
              </a:ext>
            </a:extLst>
          </p:cNvPr>
          <p:cNvSpPr>
            <a:spLocks noChangeAspect="1" noChangeArrowheads="1"/>
          </p:cNvSpPr>
          <p:nvPr/>
        </p:nvSpPr>
        <p:spPr bwMode="auto">
          <a:xfrm>
            <a:off x="9173090" y="5406454"/>
            <a:ext cx="855900" cy="754006"/>
          </a:xfrm>
          <a:custGeom>
            <a:avLst/>
            <a:gdLst>
              <a:gd name="T0" fmla="*/ 27610722 w 293328"/>
              <a:gd name="T1" fmla="*/ 27453834 h 258401"/>
              <a:gd name="T2" fmla="*/ 9154902 w 293328"/>
              <a:gd name="T3" fmla="*/ 26352054 h 258401"/>
              <a:gd name="T4" fmla="*/ 8582692 w 293328"/>
              <a:gd name="T5" fmla="*/ 26925015 h 258401"/>
              <a:gd name="T6" fmla="*/ 24560222 w 293328"/>
              <a:gd name="T7" fmla="*/ 27001841 h 258401"/>
              <a:gd name="T8" fmla="*/ 27587035 w 293328"/>
              <a:gd name="T9" fmla="*/ 23963042 h 258401"/>
              <a:gd name="T10" fmla="*/ 9080349 w 293328"/>
              <a:gd name="T11" fmla="*/ 30040687 h 258401"/>
              <a:gd name="T12" fmla="*/ 1038012 w 293328"/>
              <a:gd name="T13" fmla="*/ 21097906 h 258401"/>
              <a:gd name="T14" fmla="*/ 5015691 w 293328"/>
              <a:gd name="T15" fmla="*/ 26437412 h 258401"/>
              <a:gd name="T16" fmla="*/ 19933601 w 293328"/>
              <a:gd name="T17" fmla="*/ 26437412 h 258401"/>
              <a:gd name="T18" fmla="*/ 24016198 w 293328"/>
              <a:gd name="T19" fmla="*/ 19859556 h 258401"/>
              <a:gd name="T20" fmla="*/ 26673362 w 293328"/>
              <a:gd name="T21" fmla="*/ 20961094 h 258401"/>
              <a:gd name="T22" fmla="*/ 24016198 w 293328"/>
              <a:gd name="T23" fmla="*/ 19859556 h 258401"/>
              <a:gd name="T24" fmla="*/ 15307077 w 293328"/>
              <a:gd name="T25" fmla="*/ 13587724 h 258401"/>
              <a:gd name="T26" fmla="*/ 16733736 w 293328"/>
              <a:gd name="T27" fmla="*/ 11069930 h 258401"/>
              <a:gd name="T28" fmla="*/ 11026240 w 293328"/>
              <a:gd name="T29" fmla="*/ 20012605 h 258401"/>
              <a:gd name="T30" fmla="*/ 17814730 w 293328"/>
              <a:gd name="T31" fmla="*/ 11069930 h 258401"/>
              <a:gd name="T32" fmla="*/ 17079772 w 293328"/>
              <a:gd name="T33" fmla="*/ 15324063 h 258401"/>
              <a:gd name="T34" fmla="*/ 13706857 w 293328"/>
              <a:gd name="T35" fmla="*/ 15367655 h 258401"/>
              <a:gd name="T36" fmla="*/ 13144847 w 293328"/>
              <a:gd name="T37" fmla="*/ 11069930 h 258401"/>
              <a:gd name="T38" fmla="*/ 4237276 w 293328"/>
              <a:gd name="T39" fmla="*/ 14021773 h 258401"/>
              <a:gd name="T40" fmla="*/ 5707359 w 293328"/>
              <a:gd name="T41" fmla="*/ 13587724 h 258401"/>
              <a:gd name="T42" fmla="*/ 4237276 w 293328"/>
              <a:gd name="T43" fmla="*/ 11069930 h 258401"/>
              <a:gd name="T44" fmla="*/ 9945373 w 293328"/>
              <a:gd name="T45" fmla="*/ 20012605 h 258401"/>
              <a:gd name="T46" fmla="*/ 7826377 w 293328"/>
              <a:gd name="T47" fmla="*/ 14803100 h 258401"/>
              <a:gd name="T48" fmla="*/ 7091399 w 293328"/>
              <a:gd name="T49" fmla="*/ 15324063 h 258401"/>
              <a:gd name="T50" fmla="*/ 3415964 w 293328"/>
              <a:gd name="T51" fmla="*/ 15237161 h 258401"/>
              <a:gd name="T52" fmla="*/ 1038012 w 293328"/>
              <a:gd name="T53" fmla="*/ 11069930 h 258401"/>
              <a:gd name="T54" fmla="*/ 26722298 w 293328"/>
              <a:gd name="T55" fmla="*/ 16409461 h 258401"/>
              <a:gd name="T56" fmla="*/ 25252179 w 293328"/>
              <a:gd name="T57" fmla="*/ 7466708 h 258401"/>
              <a:gd name="T58" fmla="*/ 21014519 w 293328"/>
              <a:gd name="T59" fmla="*/ 26437412 h 258401"/>
              <a:gd name="T60" fmla="*/ 31651633 w 293328"/>
              <a:gd name="T61" fmla="*/ 26437412 h 258401"/>
              <a:gd name="T62" fmla="*/ 34202613 w 293328"/>
              <a:gd name="T63" fmla="*/ 23963042 h 258401"/>
              <a:gd name="T64" fmla="*/ 32343327 w 293328"/>
              <a:gd name="T65" fmla="*/ 22877815 h 258401"/>
              <a:gd name="T66" fmla="*/ 32343327 w 293328"/>
              <a:gd name="T67" fmla="*/ 20967830 h 258401"/>
              <a:gd name="T68" fmla="*/ 34202613 w 293328"/>
              <a:gd name="T69" fmla="*/ 19882456 h 258401"/>
              <a:gd name="T70" fmla="*/ 26722298 w 293328"/>
              <a:gd name="T71" fmla="*/ 17494806 h 258401"/>
              <a:gd name="T72" fmla="*/ 21014519 w 293328"/>
              <a:gd name="T73" fmla="*/ 7466708 h 258401"/>
              <a:gd name="T74" fmla="*/ 10290941 w 293328"/>
              <a:gd name="T75" fmla="*/ 3559590 h 258401"/>
              <a:gd name="T76" fmla="*/ 11718072 w 293328"/>
              <a:gd name="T77" fmla="*/ 1041754 h 258401"/>
              <a:gd name="T78" fmla="*/ 6053678 w 293328"/>
              <a:gd name="T79" fmla="*/ 9984609 h 258401"/>
              <a:gd name="T80" fmla="*/ 12799067 w 293328"/>
              <a:gd name="T81" fmla="*/ 1041754 h 258401"/>
              <a:gd name="T82" fmla="*/ 12280200 w 293328"/>
              <a:gd name="T83" fmla="*/ 5339544 h 258401"/>
              <a:gd name="T84" fmla="*/ 8907366 w 293328"/>
              <a:gd name="T85" fmla="*/ 5296325 h 258401"/>
              <a:gd name="T86" fmla="*/ 8172406 w 293328"/>
              <a:gd name="T87" fmla="*/ 1041754 h 258401"/>
              <a:gd name="T88" fmla="*/ 15479727 w 293328"/>
              <a:gd name="T89" fmla="*/ 0 h 258401"/>
              <a:gd name="T90" fmla="*/ 19933601 w 293328"/>
              <a:gd name="T91" fmla="*/ 9984609 h 258401"/>
              <a:gd name="T92" fmla="*/ 25252179 w 293328"/>
              <a:gd name="T93" fmla="*/ 6381406 h 258401"/>
              <a:gd name="T94" fmla="*/ 35240414 w 293328"/>
              <a:gd name="T95" fmla="*/ 19838874 h 258401"/>
              <a:gd name="T96" fmla="*/ 31651633 w 293328"/>
              <a:gd name="T97" fmla="*/ 27522882 h 258401"/>
              <a:gd name="T98" fmla="*/ 13144847 w 293328"/>
              <a:gd name="T99" fmla="*/ 27522882 h 258401"/>
              <a:gd name="T100" fmla="*/ 1945877 w 293328"/>
              <a:gd name="T101" fmla="*/ 27522882 h 258401"/>
              <a:gd name="T102" fmla="*/ 0 w 293328"/>
              <a:gd name="T103" fmla="*/ 10549040 h 258401"/>
              <a:gd name="T104" fmla="*/ 4972696 w 293328"/>
              <a:gd name="T105" fmla="*/ 520909 h 2584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3328" h="258401">
                <a:moveTo>
                  <a:pt x="229821" y="219075"/>
                </a:moveTo>
                <a:cubicBezTo>
                  <a:pt x="232386" y="219075"/>
                  <a:pt x="234584" y="220907"/>
                  <a:pt x="234584" y="223838"/>
                </a:cubicBezTo>
                <a:cubicBezTo>
                  <a:pt x="234584" y="226402"/>
                  <a:pt x="232386" y="228234"/>
                  <a:pt x="229821" y="228234"/>
                </a:cubicBezTo>
                <a:cubicBezTo>
                  <a:pt x="227257" y="228234"/>
                  <a:pt x="225425" y="226402"/>
                  <a:pt x="225425" y="223838"/>
                </a:cubicBezTo>
                <a:cubicBezTo>
                  <a:pt x="225425" y="220907"/>
                  <a:pt x="227257" y="219075"/>
                  <a:pt x="229821" y="219075"/>
                </a:cubicBezTo>
                <a:close/>
                <a:moveTo>
                  <a:pt x="76200" y="219075"/>
                </a:moveTo>
                <a:cubicBezTo>
                  <a:pt x="78398" y="219075"/>
                  <a:pt x="80597" y="220907"/>
                  <a:pt x="80597" y="223838"/>
                </a:cubicBezTo>
                <a:cubicBezTo>
                  <a:pt x="80597" y="226402"/>
                  <a:pt x="78398" y="228234"/>
                  <a:pt x="76200" y="228234"/>
                </a:cubicBezTo>
                <a:cubicBezTo>
                  <a:pt x="73636" y="228234"/>
                  <a:pt x="71438" y="226402"/>
                  <a:pt x="71438" y="223838"/>
                </a:cubicBezTo>
                <a:cubicBezTo>
                  <a:pt x="71438" y="220907"/>
                  <a:pt x="73636" y="219075"/>
                  <a:pt x="76200" y="219075"/>
                </a:cubicBezTo>
                <a:close/>
                <a:moveTo>
                  <a:pt x="229624" y="199214"/>
                </a:moveTo>
                <a:cubicBezTo>
                  <a:pt x="215947" y="199214"/>
                  <a:pt x="204430" y="210402"/>
                  <a:pt x="204430" y="224477"/>
                </a:cubicBezTo>
                <a:cubicBezTo>
                  <a:pt x="204430" y="238191"/>
                  <a:pt x="215947" y="249740"/>
                  <a:pt x="229624" y="249740"/>
                </a:cubicBezTo>
                <a:cubicBezTo>
                  <a:pt x="243660" y="249740"/>
                  <a:pt x="254818" y="238191"/>
                  <a:pt x="254818" y="224477"/>
                </a:cubicBezTo>
                <a:cubicBezTo>
                  <a:pt x="254818" y="210402"/>
                  <a:pt x="243660" y="199214"/>
                  <a:pt x="229624" y="199214"/>
                </a:cubicBezTo>
                <a:close/>
                <a:moveTo>
                  <a:pt x="75581" y="199214"/>
                </a:moveTo>
                <a:cubicBezTo>
                  <a:pt x="61545" y="199214"/>
                  <a:pt x="50388" y="210402"/>
                  <a:pt x="50388" y="224477"/>
                </a:cubicBezTo>
                <a:cubicBezTo>
                  <a:pt x="50388" y="238191"/>
                  <a:pt x="61545" y="249740"/>
                  <a:pt x="75581" y="249740"/>
                </a:cubicBezTo>
                <a:cubicBezTo>
                  <a:pt x="89258" y="249740"/>
                  <a:pt x="100415" y="238191"/>
                  <a:pt x="100415" y="224477"/>
                </a:cubicBezTo>
                <a:cubicBezTo>
                  <a:pt x="100415" y="210402"/>
                  <a:pt x="89258" y="199214"/>
                  <a:pt x="75581" y="199214"/>
                </a:cubicBezTo>
                <a:close/>
                <a:moveTo>
                  <a:pt x="8638" y="175395"/>
                </a:moveTo>
                <a:lnTo>
                  <a:pt x="8638" y="212568"/>
                </a:lnTo>
                <a:cubicBezTo>
                  <a:pt x="8638" y="216537"/>
                  <a:pt x="11877" y="219785"/>
                  <a:pt x="16196" y="219785"/>
                </a:cubicBezTo>
                <a:lnTo>
                  <a:pt x="41750" y="219785"/>
                </a:lnTo>
                <a:cubicBezTo>
                  <a:pt x="43909" y="203184"/>
                  <a:pt x="58306" y="190192"/>
                  <a:pt x="75581" y="190192"/>
                </a:cubicBezTo>
                <a:cubicBezTo>
                  <a:pt x="92857" y="190192"/>
                  <a:pt x="106894" y="203184"/>
                  <a:pt x="109413" y="219785"/>
                </a:cubicBezTo>
                <a:lnTo>
                  <a:pt x="165919" y="219785"/>
                </a:lnTo>
                <a:lnTo>
                  <a:pt x="165919" y="175395"/>
                </a:lnTo>
                <a:lnTo>
                  <a:pt x="8638" y="175395"/>
                </a:lnTo>
                <a:close/>
                <a:moveTo>
                  <a:pt x="199901" y="165100"/>
                </a:moveTo>
                <a:lnTo>
                  <a:pt x="222019" y="165100"/>
                </a:lnTo>
                <a:cubicBezTo>
                  <a:pt x="224873" y="165100"/>
                  <a:pt x="226656" y="166932"/>
                  <a:pt x="226656" y="169863"/>
                </a:cubicBezTo>
                <a:cubicBezTo>
                  <a:pt x="226656" y="172061"/>
                  <a:pt x="224873" y="174259"/>
                  <a:pt x="222019" y="174259"/>
                </a:cubicBezTo>
                <a:lnTo>
                  <a:pt x="199901" y="174259"/>
                </a:lnTo>
                <a:cubicBezTo>
                  <a:pt x="197404" y="174259"/>
                  <a:pt x="195263" y="172061"/>
                  <a:pt x="195263" y="169863"/>
                </a:cubicBezTo>
                <a:cubicBezTo>
                  <a:pt x="195263" y="166932"/>
                  <a:pt x="197404" y="165100"/>
                  <a:pt x="199901" y="165100"/>
                </a:cubicBezTo>
                <a:close/>
                <a:moveTo>
                  <a:pt x="118411" y="92028"/>
                </a:moveTo>
                <a:lnTo>
                  <a:pt x="118411" y="116569"/>
                </a:lnTo>
                <a:lnTo>
                  <a:pt x="127409" y="112960"/>
                </a:lnTo>
                <a:cubicBezTo>
                  <a:pt x="128128" y="112599"/>
                  <a:pt x="129208" y="112599"/>
                  <a:pt x="130288" y="112960"/>
                </a:cubicBezTo>
                <a:lnTo>
                  <a:pt x="139286" y="116569"/>
                </a:lnTo>
                <a:lnTo>
                  <a:pt x="139286" y="92028"/>
                </a:lnTo>
                <a:lnTo>
                  <a:pt x="118411" y="92028"/>
                </a:lnTo>
                <a:close/>
                <a:moveTo>
                  <a:pt x="91777" y="92028"/>
                </a:moveTo>
                <a:lnTo>
                  <a:pt x="91777" y="166373"/>
                </a:lnTo>
                <a:lnTo>
                  <a:pt x="165919" y="166373"/>
                </a:lnTo>
                <a:lnTo>
                  <a:pt x="165919" y="92028"/>
                </a:lnTo>
                <a:lnTo>
                  <a:pt x="148284" y="92028"/>
                </a:lnTo>
                <a:lnTo>
                  <a:pt x="148284" y="123065"/>
                </a:lnTo>
                <a:cubicBezTo>
                  <a:pt x="148284" y="124870"/>
                  <a:pt x="147204" y="125952"/>
                  <a:pt x="146124" y="126674"/>
                </a:cubicBezTo>
                <a:cubicBezTo>
                  <a:pt x="145044" y="127757"/>
                  <a:pt x="143245" y="127757"/>
                  <a:pt x="142165" y="127396"/>
                </a:cubicBezTo>
                <a:lnTo>
                  <a:pt x="128848" y="121983"/>
                </a:lnTo>
                <a:lnTo>
                  <a:pt x="115532" y="127396"/>
                </a:lnTo>
                <a:cubicBezTo>
                  <a:pt x="115172" y="127757"/>
                  <a:pt x="114452" y="127757"/>
                  <a:pt x="114092" y="127757"/>
                </a:cubicBezTo>
                <a:cubicBezTo>
                  <a:pt x="113012" y="127757"/>
                  <a:pt x="112292" y="127396"/>
                  <a:pt x="111573" y="126674"/>
                </a:cubicBezTo>
                <a:cubicBezTo>
                  <a:pt x="110493" y="125952"/>
                  <a:pt x="109413" y="124870"/>
                  <a:pt x="109413" y="123065"/>
                </a:cubicBezTo>
                <a:lnTo>
                  <a:pt x="109413" y="92028"/>
                </a:lnTo>
                <a:lnTo>
                  <a:pt x="91777" y="92028"/>
                </a:lnTo>
                <a:close/>
                <a:moveTo>
                  <a:pt x="35271" y="92028"/>
                </a:moveTo>
                <a:lnTo>
                  <a:pt x="35271" y="116569"/>
                </a:lnTo>
                <a:lnTo>
                  <a:pt x="44269" y="112960"/>
                </a:lnTo>
                <a:cubicBezTo>
                  <a:pt x="44629" y="112960"/>
                  <a:pt x="45349" y="112960"/>
                  <a:pt x="45709" y="112960"/>
                </a:cubicBezTo>
                <a:cubicBezTo>
                  <a:pt x="46428" y="112960"/>
                  <a:pt x="46788" y="112960"/>
                  <a:pt x="47508" y="112960"/>
                </a:cubicBezTo>
                <a:lnTo>
                  <a:pt x="56146" y="116569"/>
                </a:lnTo>
                <a:lnTo>
                  <a:pt x="56146" y="92028"/>
                </a:lnTo>
                <a:lnTo>
                  <a:pt x="35271" y="92028"/>
                </a:lnTo>
                <a:close/>
                <a:moveTo>
                  <a:pt x="8638" y="92028"/>
                </a:moveTo>
                <a:lnTo>
                  <a:pt x="8638" y="166373"/>
                </a:lnTo>
                <a:lnTo>
                  <a:pt x="82780" y="166373"/>
                </a:lnTo>
                <a:lnTo>
                  <a:pt x="82780" y="92028"/>
                </a:lnTo>
                <a:lnTo>
                  <a:pt x="65144" y="92028"/>
                </a:lnTo>
                <a:lnTo>
                  <a:pt x="65144" y="123065"/>
                </a:lnTo>
                <a:cubicBezTo>
                  <a:pt x="65144" y="124870"/>
                  <a:pt x="64064" y="125952"/>
                  <a:pt x="63344" y="126674"/>
                </a:cubicBezTo>
                <a:cubicBezTo>
                  <a:pt x="62265" y="127396"/>
                  <a:pt x="61545" y="127757"/>
                  <a:pt x="60825" y="127757"/>
                </a:cubicBezTo>
                <a:cubicBezTo>
                  <a:pt x="60105" y="127757"/>
                  <a:pt x="59385" y="127757"/>
                  <a:pt x="59025" y="127396"/>
                </a:cubicBezTo>
                <a:lnTo>
                  <a:pt x="45709" y="121983"/>
                </a:lnTo>
                <a:lnTo>
                  <a:pt x="32752" y="127396"/>
                </a:lnTo>
                <a:cubicBezTo>
                  <a:pt x="31312" y="127757"/>
                  <a:pt x="29513" y="127757"/>
                  <a:pt x="28433" y="126674"/>
                </a:cubicBezTo>
                <a:cubicBezTo>
                  <a:pt x="27353" y="125952"/>
                  <a:pt x="26273" y="124870"/>
                  <a:pt x="26273" y="123065"/>
                </a:cubicBezTo>
                <a:lnTo>
                  <a:pt x="26273" y="92028"/>
                </a:lnTo>
                <a:lnTo>
                  <a:pt x="8638" y="92028"/>
                </a:lnTo>
                <a:close/>
                <a:moveTo>
                  <a:pt x="204430" y="62074"/>
                </a:moveTo>
                <a:lnTo>
                  <a:pt x="204430" y="118374"/>
                </a:lnTo>
                <a:cubicBezTo>
                  <a:pt x="204430" y="128479"/>
                  <a:pt x="212708" y="136418"/>
                  <a:pt x="222426" y="136418"/>
                </a:cubicBezTo>
                <a:lnTo>
                  <a:pt x="258417" y="136418"/>
                </a:lnTo>
                <a:lnTo>
                  <a:pt x="233223" y="77592"/>
                </a:lnTo>
                <a:cubicBezTo>
                  <a:pt x="229264" y="68209"/>
                  <a:pt x="220266" y="62074"/>
                  <a:pt x="210189" y="62074"/>
                </a:cubicBezTo>
                <a:lnTo>
                  <a:pt x="204430" y="62074"/>
                </a:lnTo>
                <a:close/>
                <a:moveTo>
                  <a:pt x="174917" y="62074"/>
                </a:moveTo>
                <a:lnTo>
                  <a:pt x="174917" y="219785"/>
                </a:lnTo>
                <a:lnTo>
                  <a:pt x="195792" y="219785"/>
                </a:lnTo>
                <a:cubicBezTo>
                  <a:pt x="197952" y="203184"/>
                  <a:pt x="212348" y="190192"/>
                  <a:pt x="229624" y="190192"/>
                </a:cubicBezTo>
                <a:cubicBezTo>
                  <a:pt x="246900" y="190192"/>
                  <a:pt x="261296" y="203184"/>
                  <a:pt x="263456" y="219785"/>
                </a:cubicBezTo>
                <a:lnTo>
                  <a:pt x="277132" y="219785"/>
                </a:lnTo>
                <a:cubicBezTo>
                  <a:pt x="281091" y="219785"/>
                  <a:pt x="284690" y="216537"/>
                  <a:pt x="284690" y="212568"/>
                </a:cubicBezTo>
                <a:lnTo>
                  <a:pt x="284690" y="199214"/>
                </a:lnTo>
                <a:lnTo>
                  <a:pt x="269214" y="199214"/>
                </a:lnTo>
                <a:cubicBezTo>
                  <a:pt x="267055" y="199214"/>
                  <a:pt x="264895" y="197049"/>
                  <a:pt x="264895" y="194523"/>
                </a:cubicBezTo>
                <a:cubicBezTo>
                  <a:pt x="264895" y="191996"/>
                  <a:pt x="267055" y="190192"/>
                  <a:pt x="269214" y="190192"/>
                </a:cubicBezTo>
                <a:lnTo>
                  <a:pt x="284690" y="190192"/>
                </a:lnTo>
                <a:lnTo>
                  <a:pt x="284690" y="174313"/>
                </a:lnTo>
                <a:lnTo>
                  <a:pt x="269214" y="174313"/>
                </a:lnTo>
                <a:cubicBezTo>
                  <a:pt x="267055" y="174313"/>
                  <a:pt x="264895" y="172147"/>
                  <a:pt x="264895" y="169982"/>
                </a:cubicBezTo>
                <a:cubicBezTo>
                  <a:pt x="264895" y="167095"/>
                  <a:pt x="267055" y="165290"/>
                  <a:pt x="269214" y="165290"/>
                </a:cubicBezTo>
                <a:lnTo>
                  <a:pt x="284690" y="165290"/>
                </a:lnTo>
                <a:lnTo>
                  <a:pt x="284690" y="164929"/>
                </a:lnTo>
                <a:cubicBezTo>
                  <a:pt x="284690" y="154102"/>
                  <a:pt x="275693" y="145441"/>
                  <a:pt x="265255" y="145441"/>
                </a:cubicBezTo>
                <a:lnTo>
                  <a:pt x="222426" y="145441"/>
                </a:lnTo>
                <a:cubicBezTo>
                  <a:pt x="207669" y="145441"/>
                  <a:pt x="195432" y="133531"/>
                  <a:pt x="195432" y="118374"/>
                </a:cubicBezTo>
                <a:lnTo>
                  <a:pt x="195432" y="62074"/>
                </a:lnTo>
                <a:lnTo>
                  <a:pt x="174917" y="62074"/>
                </a:lnTo>
                <a:close/>
                <a:moveTo>
                  <a:pt x="77021" y="8661"/>
                </a:moveTo>
                <a:lnTo>
                  <a:pt x="77021" y="33202"/>
                </a:lnTo>
                <a:lnTo>
                  <a:pt x="85659" y="29593"/>
                </a:lnTo>
                <a:cubicBezTo>
                  <a:pt x="86739" y="29232"/>
                  <a:pt x="87818" y="29232"/>
                  <a:pt x="88898" y="29593"/>
                </a:cubicBezTo>
                <a:lnTo>
                  <a:pt x="97536" y="33202"/>
                </a:lnTo>
                <a:lnTo>
                  <a:pt x="97536" y="8661"/>
                </a:lnTo>
                <a:lnTo>
                  <a:pt x="77021" y="8661"/>
                </a:lnTo>
                <a:close/>
                <a:moveTo>
                  <a:pt x="50388" y="8661"/>
                </a:moveTo>
                <a:lnTo>
                  <a:pt x="50388" y="83006"/>
                </a:lnTo>
                <a:lnTo>
                  <a:pt x="124169" y="83006"/>
                </a:lnTo>
                <a:lnTo>
                  <a:pt x="124169" y="8661"/>
                </a:lnTo>
                <a:lnTo>
                  <a:pt x="106534" y="8661"/>
                </a:lnTo>
                <a:lnTo>
                  <a:pt x="106534" y="40059"/>
                </a:lnTo>
                <a:cubicBezTo>
                  <a:pt x="106534" y="41503"/>
                  <a:pt x="105814" y="42946"/>
                  <a:pt x="104734" y="43307"/>
                </a:cubicBezTo>
                <a:cubicBezTo>
                  <a:pt x="104014" y="44029"/>
                  <a:pt x="102935" y="44390"/>
                  <a:pt x="102215" y="44390"/>
                </a:cubicBezTo>
                <a:cubicBezTo>
                  <a:pt x="101855" y="44390"/>
                  <a:pt x="101135" y="44390"/>
                  <a:pt x="100415" y="44029"/>
                </a:cubicBezTo>
                <a:lnTo>
                  <a:pt x="87458" y="38977"/>
                </a:lnTo>
                <a:lnTo>
                  <a:pt x="74142" y="44029"/>
                </a:lnTo>
                <a:cubicBezTo>
                  <a:pt x="72702" y="44751"/>
                  <a:pt x="71262" y="44390"/>
                  <a:pt x="69823" y="43307"/>
                </a:cubicBezTo>
                <a:cubicBezTo>
                  <a:pt x="68743" y="42946"/>
                  <a:pt x="68023" y="41503"/>
                  <a:pt x="68023" y="40059"/>
                </a:cubicBezTo>
                <a:lnTo>
                  <a:pt x="68023" y="8661"/>
                </a:lnTo>
                <a:lnTo>
                  <a:pt x="50388" y="8661"/>
                </a:lnTo>
                <a:close/>
                <a:moveTo>
                  <a:pt x="45709" y="0"/>
                </a:moveTo>
                <a:lnTo>
                  <a:pt x="128848" y="0"/>
                </a:lnTo>
                <a:cubicBezTo>
                  <a:pt x="131368" y="0"/>
                  <a:pt x="133527" y="1804"/>
                  <a:pt x="133527" y="4331"/>
                </a:cubicBezTo>
                <a:lnTo>
                  <a:pt x="133527" y="83006"/>
                </a:lnTo>
                <a:lnTo>
                  <a:pt x="165919" y="83006"/>
                </a:lnTo>
                <a:lnTo>
                  <a:pt x="165919" y="57743"/>
                </a:lnTo>
                <a:cubicBezTo>
                  <a:pt x="165919" y="55578"/>
                  <a:pt x="167719" y="53051"/>
                  <a:pt x="170238" y="53051"/>
                </a:cubicBezTo>
                <a:lnTo>
                  <a:pt x="210189" y="53051"/>
                </a:lnTo>
                <a:cubicBezTo>
                  <a:pt x="223865" y="53051"/>
                  <a:pt x="236102" y="61352"/>
                  <a:pt x="241501" y="73983"/>
                </a:cubicBezTo>
                <a:lnTo>
                  <a:pt x="268134" y="136779"/>
                </a:lnTo>
                <a:cubicBezTo>
                  <a:pt x="282531" y="138223"/>
                  <a:pt x="293328" y="150493"/>
                  <a:pt x="293328" y="164929"/>
                </a:cubicBezTo>
                <a:lnTo>
                  <a:pt x="293328" y="212568"/>
                </a:lnTo>
                <a:cubicBezTo>
                  <a:pt x="293328" y="221590"/>
                  <a:pt x="286130" y="228808"/>
                  <a:pt x="277132" y="228808"/>
                </a:cubicBezTo>
                <a:lnTo>
                  <a:pt x="263456" y="228808"/>
                </a:lnTo>
                <a:cubicBezTo>
                  <a:pt x="261296" y="245409"/>
                  <a:pt x="246900" y="258401"/>
                  <a:pt x="229624" y="258401"/>
                </a:cubicBezTo>
                <a:cubicBezTo>
                  <a:pt x="212348" y="258401"/>
                  <a:pt x="197952" y="245409"/>
                  <a:pt x="195792" y="228808"/>
                </a:cubicBezTo>
                <a:lnTo>
                  <a:pt x="109413" y="228808"/>
                </a:lnTo>
                <a:cubicBezTo>
                  <a:pt x="106894" y="245409"/>
                  <a:pt x="92857" y="258401"/>
                  <a:pt x="75581" y="258401"/>
                </a:cubicBezTo>
                <a:cubicBezTo>
                  <a:pt x="58306" y="258401"/>
                  <a:pt x="43909" y="245409"/>
                  <a:pt x="41750" y="228808"/>
                </a:cubicBezTo>
                <a:lnTo>
                  <a:pt x="16196" y="228808"/>
                </a:lnTo>
                <a:cubicBezTo>
                  <a:pt x="7198" y="228808"/>
                  <a:pt x="0" y="221590"/>
                  <a:pt x="0" y="212568"/>
                </a:cubicBezTo>
                <a:lnTo>
                  <a:pt x="0" y="170704"/>
                </a:lnTo>
                <a:lnTo>
                  <a:pt x="0" y="87697"/>
                </a:lnTo>
                <a:cubicBezTo>
                  <a:pt x="0" y="85171"/>
                  <a:pt x="1799" y="83006"/>
                  <a:pt x="4319" y="83006"/>
                </a:cubicBezTo>
                <a:lnTo>
                  <a:pt x="41390" y="83006"/>
                </a:lnTo>
                <a:lnTo>
                  <a:pt x="41390" y="4331"/>
                </a:lnTo>
                <a:cubicBezTo>
                  <a:pt x="41390" y="1804"/>
                  <a:pt x="43549" y="0"/>
                  <a:pt x="45709"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pic>
        <p:nvPicPr>
          <p:cNvPr id="53" name="Graphic 52" descr="Magnifying glass with solid fill">
            <a:extLst>
              <a:ext uri="{FF2B5EF4-FFF2-40B4-BE49-F238E27FC236}">
                <a16:creationId xmlns:a16="http://schemas.microsoft.com/office/drawing/2014/main" id="{33C7E71D-A63D-939E-1C11-175C0AA82AF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70162" y="5579759"/>
            <a:ext cx="581573" cy="581573"/>
          </a:xfrm>
          <a:prstGeom prst="rect">
            <a:avLst/>
          </a:prstGeom>
        </p:spPr>
      </p:pic>
      <p:pic>
        <p:nvPicPr>
          <p:cNvPr id="54" name="Graphic 53" descr="Checklist with solid fill">
            <a:extLst>
              <a:ext uri="{FF2B5EF4-FFF2-40B4-BE49-F238E27FC236}">
                <a16:creationId xmlns:a16="http://schemas.microsoft.com/office/drawing/2014/main" id="{05E1A23C-5DF9-C4F5-90EE-0ADF0A66A00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94089" y="5521177"/>
            <a:ext cx="682961" cy="682961"/>
          </a:xfrm>
          <a:prstGeom prst="rect">
            <a:avLst/>
          </a:prstGeom>
        </p:spPr>
      </p:pic>
      <p:sp>
        <p:nvSpPr>
          <p:cNvPr id="55" name="Rectangle 54">
            <a:extLst>
              <a:ext uri="{FF2B5EF4-FFF2-40B4-BE49-F238E27FC236}">
                <a16:creationId xmlns:a16="http://schemas.microsoft.com/office/drawing/2014/main" id="{0DACE58D-99C3-E5BB-73A0-8428B1710B5A}"/>
              </a:ext>
            </a:extLst>
          </p:cNvPr>
          <p:cNvSpPr/>
          <p:nvPr/>
        </p:nvSpPr>
        <p:spPr>
          <a:xfrm>
            <a:off x="863959"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6" name="Rectangle 55">
            <a:extLst>
              <a:ext uri="{FF2B5EF4-FFF2-40B4-BE49-F238E27FC236}">
                <a16:creationId xmlns:a16="http://schemas.microsoft.com/office/drawing/2014/main" id="{6EF299EE-BBBB-9B92-A785-9BBF598BEAAE}"/>
              </a:ext>
            </a:extLst>
          </p:cNvPr>
          <p:cNvSpPr/>
          <p:nvPr/>
        </p:nvSpPr>
        <p:spPr>
          <a:xfrm>
            <a:off x="1248938"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7" name="Rectangle 56">
            <a:extLst>
              <a:ext uri="{FF2B5EF4-FFF2-40B4-BE49-F238E27FC236}">
                <a16:creationId xmlns:a16="http://schemas.microsoft.com/office/drawing/2014/main" id="{176DDB36-3829-C962-9EFA-B3F7F92F8A81}"/>
              </a:ext>
            </a:extLst>
          </p:cNvPr>
          <p:cNvSpPr/>
          <p:nvPr/>
        </p:nvSpPr>
        <p:spPr>
          <a:xfrm>
            <a:off x="1633916"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8" name="Rectangle 57">
            <a:extLst>
              <a:ext uri="{FF2B5EF4-FFF2-40B4-BE49-F238E27FC236}">
                <a16:creationId xmlns:a16="http://schemas.microsoft.com/office/drawing/2014/main" id="{5DC45BDF-BC33-4B2C-F4C2-78E92F688734}"/>
              </a:ext>
            </a:extLst>
          </p:cNvPr>
          <p:cNvSpPr/>
          <p:nvPr/>
        </p:nvSpPr>
        <p:spPr>
          <a:xfrm>
            <a:off x="3947719"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9" name="Rectangle 58">
            <a:extLst>
              <a:ext uri="{FF2B5EF4-FFF2-40B4-BE49-F238E27FC236}">
                <a16:creationId xmlns:a16="http://schemas.microsoft.com/office/drawing/2014/main" id="{FB5ACDE1-A2D5-8CAA-1418-183E3C1DB9A6}"/>
              </a:ext>
            </a:extLst>
          </p:cNvPr>
          <p:cNvSpPr/>
          <p:nvPr/>
        </p:nvSpPr>
        <p:spPr>
          <a:xfrm>
            <a:off x="4332698"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0" name="Rectangle 59">
            <a:extLst>
              <a:ext uri="{FF2B5EF4-FFF2-40B4-BE49-F238E27FC236}">
                <a16:creationId xmlns:a16="http://schemas.microsoft.com/office/drawing/2014/main" id="{7DB6823E-0F51-B10F-30FA-1FE83902BDCD}"/>
              </a:ext>
            </a:extLst>
          </p:cNvPr>
          <p:cNvSpPr/>
          <p:nvPr/>
        </p:nvSpPr>
        <p:spPr>
          <a:xfrm>
            <a:off x="4717676"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 name="TextBox 1">
            <a:extLst>
              <a:ext uri="{FF2B5EF4-FFF2-40B4-BE49-F238E27FC236}">
                <a16:creationId xmlns:a16="http://schemas.microsoft.com/office/drawing/2014/main" id="{C3D30AA2-9359-74C6-EA2E-B82EA400585C}"/>
              </a:ext>
            </a:extLst>
          </p:cNvPr>
          <p:cNvSpPr txBox="1"/>
          <p:nvPr/>
        </p:nvSpPr>
        <p:spPr>
          <a:xfrm>
            <a:off x="10368915" y="6230159"/>
            <a:ext cx="1514475" cy="246221"/>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Retrospective</a:t>
            </a:r>
          </a:p>
        </p:txBody>
      </p:sp>
    </p:spTree>
    <p:extLst>
      <p:ext uri="{BB962C8B-B14F-4D97-AF65-F5344CB8AC3E}">
        <p14:creationId xmlns:p14="http://schemas.microsoft.com/office/powerpoint/2010/main" val="35138870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Charter (Template #1)</a:t>
            </a:r>
            <a:br>
              <a:rPr lang="en-US" sz="2400" kern="0" dirty="0"/>
            </a:br>
            <a:r>
              <a:rPr lang="en-US" b="0" kern="0" dirty="0"/>
              <a:t>Project name:</a:t>
            </a:r>
            <a:br>
              <a:rPr lang="en-US" b="0" kern="0" dirty="0"/>
            </a:br>
            <a:r>
              <a:rPr lang="en-US" b="0" kern="0" dirty="0"/>
              <a:t>Sponsor:</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7" name="Rectangle 6">
            <a:extLst>
              <a:ext uri="{FF2B5EF4-FFF2-40B4-BE49-F238E27FC236}">
                <a16:creationId xmlns:a16="http://schemas.microsoft.com/office/drawing/2014/main" id="{BD8536AF-0B7E-48E1-9C75-C682E214BCD0}"/>
              </a:ext>
            </a:extLst>
          </p:cNvPr>
          <p:cNvSpPr/>
          <p:nvPr/>
        </p:nvSpPr>
        <p:spPr>
          <a:xfrm>
            <a:off x="2306781" y="1631372"/>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sert in this box what business issue this project will address</a:t>
            </a:r>
          </a:p>
        </p:txBody>
      </p:sp>
      <p:sp>
        <p:nvSpPr>
          <p:cNvPr id="8" name="Rectangle 7">
            <a:extLst>
              <a:ext uri="{FF2B5EF4-FFF2-40B4-BE49-F238E27FC236}">
                <a16:creationId xmlns:a16="http://schemas.microsoft.com/office/drawing/2014/main" id="{78ED16CB-F99A-49EB-9011-A790624CF6BE}"/>
              </a:ext>
            </a:extLst>
          </p:cNvPr>
          <p:cNvSpPr/>
          <p:nvPr/>
        </p:nvSpPr>
        <p:spPr>
          <a:xfrm>
            <a:off x="2306781" y="2291835"/>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sert in this box the objective of this project</a:t>
            </a:r>
          </a:p>
        </p:txBody>
      </p:sp>
      <p:sp>
        <p:nvSpPr>
          <p:cNvPr id="9" name="Rectangle 8">
            <a:extLst>
              <a:ext uri="{FF2B5EF4-FFF2-40B4-BE49-F238E27FC236}">
                <a16:creationId xmlns:a16="http://schemas.microsoft.com/office/drawing/2014/main" id="{F473319B-5E8B-44ED-9E3B-5D73397EF396}"/>
              </a:ext>
            </a:extLst>
          </p:cNvPr>
          <p:cNvSpPr/>
          <p:nvPr/>
        </p:nvSpPr>
        <p:spPr>
          <a:xfrm>
            <a:off x="612201" y="1631372"/>
            <a:ext cx="1618381"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Problem statement</a:t>
            </a:r>
          </a:p>
        </p:txBody>
      </p:sp>
      <p:sp>
        <p:nvSpPr>
          <p:cNvPr id="10" name="Rectangle 9">
            <a:extLst>
              <a:ext uri="{FF2B5EF4-FFF2-40B4-BE49-F238E27FC236}">
                <a16:creationId xmlns:a16="http://schemas.microsoft.com/office/drawing/2014/main" id="{B1EB6383-2B27-4F82-992E-6F270BC1BA8E}"/>
              </a:ext>
            </a:extLst>
          </p:cNvPr>
          <p:cNvSpPr/>
          <p:nvPr/>
        </p:nvSpPr>
        <p:spPr>
          <a:xfrm>
            <a:off x="612201" y="2291835"/>
            <a:ext cx="1618381"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Objective</a:t>
            </a:r>
          </a:p>
        </p:txBody>
      </p:sp>
      <p:sp>
        <p:nvSpPr>
          <p:cNvPr id="11" name="Rectangle 10">
            <a:extLst>
              <a:ext uri="{FF2B5EF4-FFF2-40B4-BE49-F238E27FC236}">
                <a16:creationId xmlns:a16="http://schemas.microsoft.com/office/drawing/2014/main" id="{4428F958-AD35-4442-A371-214625803F6E}"/>
              </a:ext>
            </a:extLst>
          </p:cNvPr>
          <p:cNvSpPr/>
          <p:nvPr/>
        </p:nvSpPr>
        <p:spPr>
          <a:xfrm>
            <a:off x="2306781" y="2952299"/>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 </a:t>
            </a:r>
          </a:p>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 </a:t>
            </a:r>
          </a:p>
          <a:p>
            <a:pPr marL="114300" indent="-114300">
              <a:buFont typeface="Arial" panose="020B0604020202020204" pitchFamily="34" charset="0"/>
              <a:buChar char="•"/>
            </a:pPr>
            <a:r>
              <a:rPr lang="en-US" sz="1200" dirty="0">
                <a:solidFill>
                  <a:schemeClr val="tx1"/>
                </a:solidFill>
              </a:rPr>
              <a:t>Insert what is in-scope </a:t>
            </a:r>
          </a:p>
        </p:txBody>
      </p:sp>
      <p:sp>
        <p:nvSpPr>
          <p:cNvPr id="12" name="Rectangle 11">
            <a:extLst>
              <a:ext uri="{FF2B5EF4-FFF2-40B4-BE49-F238E27FC236}">
                <a16:creationId xmlns:a16="http://schemas.microsoft.com/office/drawing/2014/main" id="{81ECBFF0-2FFA-45E2-9645-4518EB2B12B3}"/>
              </a:ext>
            </a:extLst>
          </p:cNvPr>
          <p:cNvSpPr/>
          <p:nvPr/>
        </p:nvSpPr>
        <p:spPr>
          <a:xfrm>
            <a:off x="612201" y="2952299"/>
            <a:ext cx="1618381"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cope</a:t>
            </a:r>
          </a:p>
        </p:txBody>
      </p:sp>
      <p:sp>
        <p:nvSpPr>
          <p:cNvPr id="14" name="Rectangle 13">
            <a:extLst>
              <a:ext uri="{FF2B5EF4-FFF2-40B4-BE49-F238E27FC236}">
                <a16:creationId xmlns:a16="http://schemas.microsoft.com/office/drawing/2014/main" id="{FDC7A1BE-53FD-4437-AD8B-FFE79F586174}"/>
              </a:ext>
            </a:extLst>
          </p:cNvPr>
          <p:cNvSpPr/>
          <p:nvPr/>
        </p:nvSpPr>
        <p:spPr>
          <a:xfrm>
            <a:off x="2306781" y="3612762"/>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14300" indent="-114300">
              <a:buFont typeface="Arial" panose="020B0604020202020204" pitchFamily="34" charset="0"/>
              <a:buChar char="•"/>
            </a:pPr>
            <a:r>
              <a:rPr lang="en-US" sz="1200" dirty="0">
                <a:solidFill>
                  <a:schemeClr val="tx1"/>
                </a:solidFill>
              </a:rPr>
              <a:t>Insert what is out-of-scope</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  </a:t>
            </a:r>
          </a:p>
        </p:txBody>
      </p:sp>
      <p:sp>
        <p:nvSpPr>
          <p:cNvPr id="15" name="Rectangle 14">
            <a:extLst>
              <a:ext uri="{FF2B5EF4-FFF2-40B4-BE49-F238E27FC236}">
                <a16:creationId xmlns:a16="http://schemas.microsoft.com/office/drawing/2014/main" id="{C14BE17C-F35A-43D5-B5E9-05C027CAA901}"/>
              </a:ext>
            </a:extLst>
          </p:cNvPr>
          <p:cNvSpPr/>
          <p:nvPr/>
        </p:nvSpPr>
        <p:spPr>
          <a:xfrm>
            <a:off x="612201" y="3612762"/>
            <a:ext cx="1618381"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Out-of-scope</a:t>
            </a:r>
          </a:p>
        </p:txBody>
      </p:sp>
      <p:sp>
        <p:nvSpPr>
          <p:cNvPr id="17" name="Rectangle 16">
            <a:extLst>
              <a:ext uri="{FF2B5EF4-FFF2-40B4-BE49-F238E27FC236}">
                <a16:creationId xmlns:a16="http://schemas.microsoft.com/office/drawing/2014/main" id="{DBAC143B-21A5-46FD-A4D2-18FB1D4365E7}"/>
              </a:ext>
            </a:extLst>
          </p:cNvPr>
          <p:cNvSpPr/>
          <p:nvPr/>
        </p:nvSpPr>
        <p:spPr>
          <a:xfrm>
            <a:off x="2306781" y="4273225"/>
            <a:ext cx="9299864" cy="10567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indent="-114300">
              <a:buFont typeface="Arial" panose="020B0604020202020204" pitchFamily="34" charset="0"/>
              <a:buChar char="•"/>
            </a:pPr>
            <a:r>
              <a:rPr lang="en-US" sz="1200" b="1" dirty="0">
                <a:solidFill>
                  <a:schemeClr val="tx1"/>
                </a:solidFill>
              </a:rPr>
              <a:t>Budget: </a:t>
            </a:r>
            <a:r>
              <a:rPr lang="en-US" sz="1200" dirty="0">
                <a:solidFill>
                  <a:schemeClr val="tx1"/>
                </a:solidFill>
              </a:rPr>
              <a:t>Insert your own text</a:t>
            </a:r>
          </a:p>
          <a:p>
            <a:pPr marL="114300" indent="-114300">
              <a:buFont typeface="Arial" panose="020B0604020202020204" pitchFamily="34" charset="0"/>
              <a:buChar char="•"/>
            </a:pPr>
            <a:r>
              <a:rPr lang="en-US" sz="1200" b="1" dirty="0">
                <a:solidFill>
                  <a:schemeClr val="tx1"/>
                </a:solidFill>
              </a:rPr>
              <a:t>Project Manager: </a:t>
            </a:r>
            <a:r>
              <a:rPr lang="en-US" sz="1200" dirty="0">
                <a:solidFill>
                  <a:schemeClr val="tx1"/>
                </a:solidFill>
              </a:rPr>
              <a:t>Insert your own text</a:t>
            </a:r>
            <a:endParaRPr lang="en-US" sz="1200" b="1" dirty="0">
              <a:solidFill>
                <a:schemeClr val="tx1"/>
              </a:solidFill>
            </a:endParaRPr>
          </a:p>
          <a:p>
            <a:pPr marL="114300" indent="-114300">
              <a:buFont typeface="Arial" panose="020B0604020202020204" pitchFamily="34" charset="0"/>
              <a:buChar char="•"/>
            </a:pPr>
            <a:r>
              <a:rPr lang="en-US" sz="1200" b="1" dirty="0">
                <a:solidFill>
                  <a:schemeClr val="tx1"/>
                </a:solidFill>
              </a:rPr>
              <a:t>Key Team Members: </a:t>
            </a:r>
            <a:r>
              <a:rPr lang="en-US" sz="1200" dirty="0">
                <a:solidFill>
                  <a:schemeClr val="tx1"/>
                </a:solidFill>
              </a:rPr>
              <a:t>Insert your own text</a:t>
            </a:r>
            <a:endParaRPr lang="en-US" sz="1200" b="1" dirty="0">
              <a:solidFill>
                <a:schemeClr val="tx1"/>
              </a:solidFill>
            </a:endParaRPr>
          </a:p>
          <a:p>
            <a:pPr marL="114300" indent="-114300">
              <a:buFont typeface="Arial" panose="020B0604020202020204" pitchFamily="34" charset="0"/>
              <a:buChar char="•"/>
            </a:pPr>
            <a:r>
              <a:rPr lang="en-US" sz="1200" b="1" dirty="0">
                <a:solidFill>
                  <a:schemeClr val="tx1"/>
                </a:solidFill>
              </a:rPr>
              <a:t>Key Stakeholders: </a:t>
            </a:r>
            <a:r>
              <a:rPr lang="en-US" sz="1200" dirty="0">
                <a:solidFill>
                  <a:schemeClr val="tx1"/>
                </a:solidFill>
              </a:rPr>
              <a:t>Insert your own text</a:t>
            </a:r>
          </a:p>
        </p:txBody>
      </p:sp>
      <p:sp>
        <p:nvSpPr>
          <p:cNvPr id="18" name="Rectangle 17">
            <a:extLst>
              <a:ext uri="{FF2B5EF4-FFF2-40B4-BE49-F238E27FC236}">
                <a16:creationId xmlns:a16="http://schemas.microsoft.com/office/drawing/2014/main" id="{53BCCA30-A689-4E8D-BFD4-1AE3E972F211}"/>
              </a:ext>
            </a:extLst>
          </p:cNvPr>
          <p:cNvSpPr/>
          <p:nvPr/>
        </p:nvSpPr>
        <p:spPr>
          <a:xfrm>
            <a:off x="612201" y="4273225"/>
            <a:ext cx="1618381" cy="1056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Resources</a:t>
            </a:r>
          </a:p>
        </p:txBody>
      </p:sp>
      <p:sp>
        <p:nvSpPr>
          <p:cNvPr id="19" name="Rectangle 18">
            <a:extLst>
              <a:ext uri="{FF2B5EF4-FFF2-40B4-BE49-F238E27FC236}">
                <a16:creationId xmlns:a16="http://schemas.microsoft.com/office/drawing/2014/main" id="{9F7A4268-2737-4D98-A398-F165FF80B23C}"/>
              </a:ext>
            </a:extLst>
          </p:cNvPr>
          <p:cNvSpPr/>
          <p:nvPr/>
        </p:nvSpPr>
        <p:spPr>
          <a:xfrm>
            <a:off x="2306781" y="5396013"/>
            <a:ext cx="9299864" cy="10567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indent="-114300">
              <a:buFont typeface="Arial" panose="020B0604020202020204" pitchFamily="34" charset="0"/>
              <a:buChar char="•"/>
            </a:pPr>
            <a:r>
              <a:rPr lang="en-US" sz="1200" b="1" dirty="0">
                <a:solidFill>
                  <a:schemeClr val="tx1"/>
                </a:solidFill>
              </a:rPr>
              <a:t>Insert the name and target date of the milestone</a:t>
            </a:r>
          </a:p>
          <a:p>
            <a:pPr marL="114300" indent="-114300">
              <a:buFont typeface="Arial" panose="020B0604020202020204" pitchFamily="34" charset="0"/>
              <a:buChar char="•"/>
            </a:pPr>
            <a:r>
              <a:rPr lang="en-US" sz="1200" b="1" dirty="0">
                <a:solidFill>
                  <a:schemeClr val="tx1"/>
                </a:solidFill>
              </a:rPr>
              <a:t>Insert the name and target date of the milestone</a:t>
            </a:r>
          </a:p>
          <a:p>
            <a:pPr marL="114300" indent="-114300">
              <a:buFont typeface="Arial" panose="020B0604020202020204" pitchFamily="34" charset="0"/>
              <a:buChar char="•"/>
            </a:pPr>
            <a:r>
              <a:rPr lang="en-US" sz="1200" b="1" dirty="0">
                <a:solidFill>
                  <a:schemeClr val="tx1"/>
                </a:solidFill>
              </a:rPr>
              <a:t>Insert the name and target date of the milestone</a:t>
            </a:r>
          </a:p>
        </p:txBody>
      </p:sp>
      <p:sp>
        <p:nvSpPr>
          <p:cNvPr id="20" name="Rectangle 19">
            <a:extLst>
              <a:ext uri="{FF2B5EF4-FFF2-40B4-BE49-F238E27FC236}">
                <a16:creationId xmlns:a16="http://schemas.microsoft.com/office/drawing/2014/main" id="{AC578C2A-9EE3-4FD0-8A6F-B7E1F6F893E5}"/>
              </a:ext>
            </a:extLst>
          </p:cNvPr>
          <p:cNvSpPr/>
          <p:nvPr/>
        </p:nvSpPr>
        <p:spPr>
          <a:xfrm>
            <a:off x="612201" y="5396013"/>
            <a:ext cx="1618381" cy="1056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Key milestones</a:t>
            </a:r>
          </a:p>
        </p:txBody>
      </p:sp>
    </p:spTree>
    <p:extLst>
      <p:ext uri="{BB962C8B-B14F-4D97-AF65-F5344CB8AC3E}">
        <p14:creationId xmlns:p14="http://schemas.microsoft.com/office/powerpoint/2010/main" val="2634671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2 additional screenshot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2" name="TextBox 11">
            <a:extLst>
              <a:ext uri="{FF2B5EF4-FFF2-40B4-BE49-F238E27FC236}">
                <a16:creationId xmlns:a16="http://schemas.microsoft.com/office/drawing/2014/main" id="{E7675798-47BC-4250-BA24-0E2AC4A10A86}"/>
              </a:ext>
            </a:extLst>
          </p:cNvPr>
          <p:cNvSpPr txBox="1"/>
          <p:nvPr/>
        </p:nvSpPr>
        <p:spPr>
          <a:xfrm>
            <a:off x="1396061" y="2186473"/>
            <a:ext cx="3648001" cy="307777"/>
          </a:xfrm>
          <a:prstGeom prst="rect">
            <a:avLst/>
          </a:prstGeom>
          <a:noFill/>
        </p:spPr>
        <p:txBody>
          <a:bodyPr wrap="square" rtlCol="0">
            <a:spAutoFit/>
          </a:bodyPr>
          <a:lstStyle/>
          <a:p>
            <a:pPr algn="ctr"/>
            <a:r>
              <a:rPr lang="en-US" sz="1400" b="1" dirty="0"/>
              <a:t>Responsibility Assignment (RACI) Matrix</a:t>
            </a:r>
          </a:p>
        </p:txBody>
      </p:sp>
      <p:sp>
        <p:nvSpPr>
          <p:cNvPr id="17" name="TextBox 16">
            <a:extLst>
              <a:ext uri="{FF2B5EF4-FFF2-40B4-BE49-F238E27FC236}">
                <a16:creationId xmlns:a16="http://schemas.microsoft.com/office/drawing/2014/main" id="{142BE8BF-9256-475D-900B-55FCC0CE6DB5}"/>
              </a:ext>
            </a:extLst>
          </p:cNvPr>
          <p:cNvSpPr txBox="1"/>
          <p:nvPr/>
        </p:nvSpPr>
        <p:spPr>
          <a:xfrm>
            <a:off x="7114359" y="2186473"/>
            <a:ext cx="3648000" cy="307777"/>
          </a:xfrm>
          <a:prstGeom prst="rect">
            <a:avLst/>
          </a:prstGeom>
          <a:noFill/>
        </p:spPr>
        <p:txBody>
          <a:bodyPr wrap="square" rtlCol="0">
            <a:spAutoFit/>
          </a:bodyPr>
          <a:lstStyle/>
          <a:p>
            <a:pPr algn="ctr"/>
            <a:r>
              <a:rPr kumimoji="0" lang="en-GB" sz="1400" b="1" i="0" u="none" strike="noStrike" kern="1200" cap="none" spc="0" normalizeH="0" baseline="0" noProof="0" dirty="0">
                <a:ln>
                  <a:noFill/>
                </a:ln>
                <a:solidFill>
                  <a:schemeClr val="tx1"/>
                </a:solidFill>
                <a:effectLst/>
                <a:uLnTx/>
                <a:uFillTx/>
                <a:ea typeface="+mn-ea"/>
                <a:cs typeface="+mn-cs"/>
              </a:rPr>
              <a:t>Stakeholder Analysis Matrix</a:t>
            </a:r>
            <a:endParaRPr lang="en-US" sz="1400" b="1" dirty="0"/>
          </a:p>
        </p:txBody>
      </p:sp>
      <p:pic>
        <p:nvPicPr>
          <p:cNvPr id="4" name="Picture 3">
            <a:extLst>
              <a:ext uri="{FF2B5EF4-FFF2-40B4-BE49-F238E27FC236}">
                <a16:creationId xmlns:a16="http://schemas.microsoft.com/office/drawing/2014/main" id="{D30779E5-1271-46F9-A27B-99DB249FB89C}"/>
              </a:ext>
            </a:extLst>
          </p:cNvPr>
          <p:cNvPicPr>
            <a:picLocks noChangeAspect="1"/>
          </p:cNvPicPr>
          <p:nvPr/>
        </p:nvPicPr>
        <p:blipFill>
          <a:blip r:embed="rId6"/>
          <a:stretch>
            <a:fillRect/>
          </a:stretch>
        </p:blipFill>
        <p:spPr>
          <a:xfrm>
            <a:off x="943481" y="2643226"/>
            <a:ext cx="4671239" cy="2627572"/>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98AE3102-F1C1-4427-AC30-9DE669B3C0E8}"/>
              </a:ext>
            </a:extLst>
          </p:cNvPr>
          <p:cNvPicPr>
            <a:picLocks noChangeAspect="1"/>
          </p:cNvPicPr>
          <p:nvPr/>
        </p:nvPicPr>
        <p:blipFill>
          <a:blip r:embed="rId7"/>
          <a:stretch>
            <a:fillRect/>
          </a:stretch>
        </p:blipFill>
        <p:spPr>
          <a:xfrm>
            <a:off x="6634070" y="2643226"/>
            <a:ext cx="4671239" cy="26275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974946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II of our traditional project management 3-phase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28" name="Rectangle: Rounded Corners 27">
            <a:extLst>
              <a:ext uri="{FF2B5EF4-FFF2-40B4-BE49-F238E27FC236}">
                <a16:creationId xmlns:a16="http://schemas.microsoft.com/office/drawing/2014/main" id="{C893B390-DB33-D099-DBE1-597A4D03D8FB}"/>
              </a:ext>
            </a:extLst>
          </p:cNvPr>
          <p:cNvSpPr/>
          <p:nvPr/>
        </p:nvSpPr>
        <p:spPr>
          <a:xfrm>
            <a:off x="597147" y="1783081"/>
            <a:ext cx="11073049" cy="3055694"/>
          </a:xfrm>
          <a:prstGeom prst="roundRect">
            <a:avLst>
              <a:gd name="adj" fmla="val 1343"/>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Chevron 17">
            <a:extLst>
              <a:ext uri="{FF2B5EF4-FFF2-40B4-BE49-F238E27FC236}">
                <a16:creationId xmlns:a16="http://schemas.microsoft.com/office/drawing/2014/main" id="{24B54FEA-2AAA-EF82-1D1E-C21ED0F6B343}"/>
              </a:ext>
            </a:extLst>
          </p:cNvPr>
          <p:cNvSpPr/>
          <p:nvPr/>
        </p:nvSpPr>
        <p:spPr bwMode="auto">
          <a:xfrm>
            <a:off x="665727"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Build a Business Case &amp; Financial Model</a:t>
            </a:r>
            <a:endParaRPr lang="en-US" sz="1300" b="1" dirty="0">
              <a:solidFill>
                <a:schemeClr val="bg1"/>
              </a:solidFill>
              <a:cs typeface="Times New Roman" pitchFamily="18" charset="0"/>
            </a:endParaRPr>
          </a:p>
        </p:txBody>
      </p:sp>
      <p:sp>
        <p:nvSpPr>
          <p:cNvPr id="30" name="Chevron 17">
            <a:extLst>
              <a:ext uri="{FF2B5EF4-FFF2-40B4-BE49-F238E27FC236}">
                <a16:creationId xmlns:a16="http://schemas.microsoft.com/office/drawing/2014/main" id="{DB2C44EB-22E1-AC6D-66B2-F83A856224CF}"/>
              </a:ext>
            </a:extLst>
          </p:cNvPr>
          <p:cNvSpPr/>
          <p:nvPr/>
        </p:nvSpPr>
        <p:spPr bwMode="auto">
          <a:xfrm>
            <a:off x="4356125"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a:t>
            </a:r>
            <a:r>
              <a:rPr lang="en-GB" sz="1300" b="1" dirty="0">
                <a:solidFill>
                  <a:schemeClr val="bg1"/>
                </a:solidFill>
                <a:cs typeface="Times New Roman" pitchFamily="18" charset="0"/>
              </a:rPr>
              <a:t>Initiate the Project</a:t>
            </a:r>
          </a:p>
        </p:txBody>
      </p:sp>
      <p:sp>
        <p:nvSpPr>
          <p:cNvPr id="31" name="Rectangle 30">
            <a:extLst>
              <a:ext uri="{FF2B5EF4-FFF2-40B4-BE49-F238E27FC236}">
                <a16:creationId xmlns:a16="http://schemas.microsoft.com/office/drawing/2014/main" id="{BC5C36B5-E318-3858-D3A1-18315FD36EE7}"/>
              </a:ext>
            </a:extLst>
          </p:cNvPr>
          <p:cNvSpPr/>
          <p:nvPr/>
        </p:nvSpPr>
        <p:spPr>
          <a:xfrm>
            <a:off x="720890" y="2812578"/>
            <a:ext cx="3690953" cy="202619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Project Descriptio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Business opportunity &amp; suggested solutio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Project objectives and key performance indicators</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Project scope, approach and high-level pla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Deliverables, activities &amp; key success factors</a:t>
            </a:r>
          </a:p>
          <a:p>
            <a:pPr marL="169863" indent="-169863">
              <a:spcBef>
                <a:spcPts val="200"/>
              </a:spcBef>
              <a:spcAft>
                <a:spcPts val="200"/>
              </a:spcAft>
              <a:buFont typeface="+mj-lt"/>
              <a:buAutoNum type="arabicPeriod"/>
              <a:defRPr/>
            </a:pPr>
            <a:r>
              <a:rPr lang="en-GB" sz="1100" dirty="0">
                <a:solidFill>
                  <a:srgbClr val="002776"/>
                </a:solidFill>
              </a:rPr>
              <a:t>Project Assessment</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Strategic alignment</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Value (Revenue, Costs, Net present value, ROI, etc.)</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Ease of implementation</a:t>
            </a:r>
          </a:p>
        </p:txBody>
      </p:sp>
      <p:sp>
        <p:nvSpPr>
          <p:cNvPr id="32" name="Rectangle 31">
            <a:extLst>
              <a:ext uri="{FF2B5EF4-FFF2-40B4-BE49-F238E27FC236}">
                <a16:creationId xmlns:a16="http://schemas.microsoft.com/office/drawing/2014/main" id="{8E76BCBB-086B-C823-B6A3-32050A7399D8}"/>
              </a:ext>
            </a:extLst>
          </p:cNvPr>
          <p:cNvSpPr/>
          <p:nvPr/>
        </p:nvSpPr>
        <p:spPr>
          <a:xfrm>
            <a:off x="8046523" y="2812578"/>
            <a:ext cx="3447437"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High-level project plan</a:t>
            </a:r>
          </a:p>
          <a:p>
            <a:pPr marL="169863" indent="-169863">
              <a:spcBef>
                <a:spcPts val="200"/>
              </a:spcBef>
              <a:spcAft>
                <a:spcPts val="200"/>
              </a:spcAft>
              <a:buFont typeface="+mj-lt"/>
              <a:buAutoNum type="arabicPeriod"/>
              <a:defRPr/>
            </a:pPr>
            <a:r>
              <a:rPr lang="en-GB" sz="1100" dirty="0">
                <a:solidFill>
                  <a:srgbClr val="002776"/>
                </a:solidFill>
              </a:rPr>
              <a:t>Detailed project plan</a:t>
            </a:r>
          </a:p>
          <a:p>
            <a:pPr marL="169863" indent="-169863">
              <a:spcBef>
                <a:spcPts val="200"/>
              </a:spcBef>
              <a:spcAft>
                <a:spcPts val="200"/>
              </a:spcAft>
              <a:buFont typeface="+mj-lt"/>
              <a:buAutoNum type="arabicPeriod"/>
              <a:defRPr/>
            </a:pPr>
            <a:r>
              <a:rPr lang="en-GB" sz="1100" dirty="0">
                <a:solidFill>
                  <a:srgbClr val="002776"/>
                </a:solidFill>
              </a:rPr>
              <a:t>Project dashboard</a:t>
            </a:r>
          </a:p>
          <a:p>
            <a:pPr marL="169863" indent="-169863">
              <a:spcBef>
                <a:spcPts val="200"/>
              </a:spcBef>
              <a:spcAft>
                <a:spcPts val="200"/>
              </a:spcAft>
              <a:buFont typeface="+mj-lt"/>
              <a:buAutoNum type="arabicPeriod"/>
              <a:defRPr/>
            </a:pPr>
            <a:r>
              <a:rPr lang="en-GB" sz="1100" dirty="0">
                <a:solidFill>
                  <a:srgbClr val="002776"/>
                </a:solidFill>
              </a:rPr>
              <a:t>Parking lot</a:t>
            </a:r>
          </a:p>
          <a:p>
            <a:pPr marL="169863" indent="-169863">
              <a:spcBef>
                <a:spcPts val="200"/>
              </a:spcBef>
              <a:spcAft>
                <a:spcPts val="200"/>
              </a:spcAft>
              <a:buFont typeface="+mj-lt"/>
              <a:buAutoNum type="arabicPeriod"/>
              <a:defRPr/>
            </a:pPr>
            <a:r>
              <a:rPr lang="en-GB" sz="1100" dirty="0">
                <a:solidFill>
                  <a:srgbClr val="002776"/>
                </a:solidFill>
              </a:rPr>
              <a:t>Punch list</a:t>
            </a:r>
          </a:p>
          <a:p>
            <a:pPr marL="169863" indent="-169863">
              <a:spcBef>
                <a:spcPts val="200"/>
              </a:spcBef>
              <a:spcAft>
                <a:spcPts val="200"/>
              </a:spcAft>
              <a:buFont typeface="+mj-lt"/>
              <a:buAutoNum type="arabicPeriod"/>
              <a:defRPr/>
            </a:pPr>
            <a:r>
              <a:rPr lang="en-GB" sz="1100" dirty="0">
                <a:solidFill>
                  <a:srgbClr val="002776"/>
                </a:solidFill>
              </a:rPr>
              <a:t>Post-project evaluation report</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sp>
        <p:nvSpPr>
          <p:cNvPr id="33" name="Chevron 17">
            <a:extLst>
              <a:ext uri="{FF2B5EF4-FFF2-40B4-BE49-F238E27FC236}">
                <a16:creationId xmlns:a16="http://schemas.microsoft.com/office/drawing/2014/main" id="{2A99C644-C5AF-C50D-58C4-CF8E8D287DEF}"/>
              </a:ext>
            </a:extLst>
          </p:cNvPr>
          <p:cNvSpPr/>
          <p:nvPr/>
        </p:nvSpPr>
        <p:spPr bwMode="auto">
          <a:xfrm>
            <a:off x="8046523" y="2363662"/>
            <a:ext cx="3604451" cy="432000"/>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Define and Implement your Project Plan</a:t>
            </a:r>
          </a:p>
        </p:txBody>
      </p:sp>
      <p:sp>
        <p:nvSpPr>
          <p:cNvPr id="34" name="Rectangle 33">
            <a:extLst>
              <a:ext uri="{FF2B5EF4-FFF2-40B4-BE49-F238E27FC236}">
                <a16:creationId xmlns:a16="http://schemas.microsoft.com/office/drawing/2014/main" id="{91D68227-A79A-B823-4FA2-901CE92DCAE3}"/>
              </a:ext>
            </a:extLst>
          </p:cNvPr>
          <p:cNvSpPr/>
          <p:nvPr/>
        </p:nvSpPr>
        <p:spPr>
          <a:xfrm>
            <a:off x="4411844" y="2812578"/>
            <a:ext cx="3396807"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Project charter</a:t>
            </a:r>
          </a:p>
          <a:p>
            <a:pPr marL="169863" indent="-169863">
              <a:spcBef>
                <a:spcPts val="200"/>
              </a:spcBef>
              <a:spcAft>
                <a:spcPts val="200"/>
              </a:spcAft>
              <a:buFont typeface="+mj-lt"/>
              <a:buAutoNum type="arabicPeriod"/>
              <a:defRPr/>
            </a:pPr>
            <a:r>
              <a:rPr lang="en-GB" sz="1100" dirty="0">
                <a:solidFill>
                  <a:srgbClr val="002776"/>
                </a:solidFill>
              </a:rPr>
              <a:t>Project challenges and key success factors</a:t>
            </a:r>
          </a:p>
          <a:p>
            <a:pPr marL="169863" indent="-169863">
              <a:spcBef>
                <a:spcPts val="200"/>
              </a:spcBef>
              <a:spcAft>
                <a:spcPts val="200"/>
              </a:spcAft>
              <a:buFont typeface="+mj-lt"/>
              <a:buAutoNum type="arabicPeriod"/>
              <a:defRPr/>
            </a:pPr>
            <a:r>
              <a:rPr lang="nb-NO" sz="1100" dirty="0">
                <a:solidFill>
                  <a:srgbClr val="002776"/>
                </a:solidFill>
              </a:rPr>
              <a:t>RACI matrix</a:t>
            </a:r>
          </a:p>
          <a:p>
            <a:pPr marL="169863" indent="-169863">
              <a:spcBef>
                <a:spcPts val="200"/>
              </a:spcBef>
              <a:spcAft>
                <a:spcPts val="200"/>
              </a:spcAft>
              <a:buFont typeface="+mj-lt"/>
              <a:buAutoNum type="arabicPeriod"/>
              <a:defRPr/>
            </a:pPr>
            <a:r>
              <a:rPr lang="nb-NO" sz="1100" dirty="0">
                <a:solidFill>
                  <a:srgbClr val="002776"/>
                </a:solidFill>
              </a:rPr>
              <a:t>Stakeholder analysis</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p:txBody>
      </p:sp>
      <p:pic>
        <p:nvPicPr>
          <p:cNvPr id="35" name="Graphic 34" descr="Bar chart outline">
            <a:extLst>
              <a:ext uri="{FF2B5EF4-FFF2-40B4-BE49-F238E27FC236}">
                <a16:creationId xmlns:a16="http://schemas.microsoft.com/office/drawing/2014/main" id="{D7E34647-A63D-23C7-3428-851A1E4C9E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01284" y="1882268"/>
            <a:ext cx="455456" cy="455456"/>
          </a:xfrm>
          <a:prstGeom prst="rect">
            <a:avLst/>
          </a:prstGeom>
        </p:spPr>
      </p:pic>
      <p:pic>
        <p:nvPicPr>
          <p:cNvPr id="36" name="Graphic 35" descr="Play outline">
            <a:extLst>
              <a:ext uri="{FF2B5EF4-FFF2-40B4-BE49-F238E27FC236}">
                <a16:creationId xmlns:a16="http://schemas.microsoft.com/office/drawing/2014/main" id="{E2920195-4366-D511-690A-AA25CEDAFC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81647" y="1863930"/>
            <a:ext cx="457200" cy="457200"/>
          </a:xfrm>
          <a:prstGeom prst="rect">
            <a:avLst/>
          </a:prstGeom>
        </p:spPr>
      </p:pic>
      <p:pic>
        <p:nvPicPr>
          <p:cNvPr id="37" name="Graphic 36" descr="Checklist outline">
            <a:extLst>
              <a:ext uri="{FF2B5EF4-FFF2-40B4-BE49-F238E27FC236}">
                <a16:creationId xmlns:a16="http://schemas.microsoft.com/office/drawing/2014/main" id="{0C6C6B4F-C86F-A953-FCCB-880CE0DECE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20148" y="1882268"/>
            <a:ext cx="457200" cy="457200"/>
          </a:xfrm>
          <a:prstGeom prst="rect">
            <a:avLst/>
          </a:prstGeom>
        </p:spPr>
      </p:pic>
      <p:sp>
        <p:nvSpPr>
          <p:cNvPr id="38" name="TextBox 37">
            <a:extLst>
              <a:ext uri="{FF2B5EF4-FFF2-40B4-BE49-F238E27FC236}">
                <a16:creationId xmlns:a16="http://schemas.microsoft.com/office/drawing/2014/main" id="{112AA82F-E27A-66FE-93DD-C7FE67D5EB04}"/>
              </a:ext>
            </a:extLst>
          </p:cNvPr>
          <p:cNvSpPr txBox="1"/>
          <p:nvPr/>
        </p:nvSpPr>
        <p:spPr>
          <a:xfrm>
            <a:off x="4487751" y="1512544"/>
            <a:ext cx="3291840" cy="307777"/>
          </a:xfrm>
          <a:prstGeom prst="rect">
            <a:avLst/>
          </a:prstGeom>
          <a:noFill/>
        </p:spPr>
        <p:txBody>
          <a:bodyPr wrap="square" rtlCol="0">
            <a:spAutoFit/>
          </a:bodyPr>
          <a:lstStyle/>
          <a:p>
            <a:pPr algn="ctr"/>
            <a:r>
              <a:rPr lang="en-US" sz="1400" b="1" dirty="0"/>
              <a:t>Traditional Approach</a:t>
            </a:r>
          </a:p>
        </p:txBody>
      </p:sp>
      <p:sp>
        <p:nvSpPr>
          <p:cNvPr id="39" name="Rectangle: Rounded Corners 38">
            <a:extLst>
              <a:ext uri="{FF2B5EF4-FFF2-40B4-BE49-F238E27FC236}">
                <a16:creationId xmlns:a16="http://schemas.microsoft.com/office/drawing/2014/main" id="{8508FACD-47EE-2EC0-A1AA-2D1E2299FA7B}"/>
              </a:ext>
            </a:extLst>
          </p:cNvPr>
          <p:cNvSpPr/>
          <p:nvPr/>
        </p:nvSpPr>
        <p:spPr>
          <a:xfrm>
            <a:off x="597147" y="5338152"/>
            <a:ext cx="11073049" cy="1200442"/>
          </a:xfrm>
          <a:prstGeom prst="roundRect">
            <a:avLst>
              <a:gd name="adj" fmla="val 396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0C97F124-1014-CBC8-D263-AC70BC0A28BE}"/>
              </a:ext>
            </a:extLst>
          </p:cNvPr>
          <p:cNvSpPr txBox="1"/>
          <p:nvPr/>
        </p:nvSpPr>
        <p:spPr>
          <a:xfrm>
            <a:off x="4487751" y="5021895"/>
            <a:ext cx="3291840" cy="307777"/>
          </a:xfrm>
          <a:prstGeom prst="rect">
            <a:avLst/>
          </a:prstGeom>
          <a:noFill/>
        </p:spPr>
        <p:txBody>
          <a:bodyPr wrap="square" rtlCol="0">
            <a:spAutoFit/>
          </a:bodyPr>
          <a:lstStyle/>
          <a:p>
            <a:pPr algn="ctr"/>
            <a:r>
              <a:rPr lang="en-US" sz="1400" b="1" dirty="0"/>
              <a:t>Agile Approach</a:t>
            </a:r>
          </a:p>
        </p:txBody>
      </p:sp>
      <p:sp>
        <p:nvSpPr>
          <p:cNvPr id="41" name="Right Arrow 20">
            <a:extLst>
              <a:ext uri="{FF2B5EF4-FFF2-40B4-BE49-F238E27FC236}">
                <a16:creationId xmlns:a16="http://schemas.microsoft.com/office/drawing/2014/main" id="{2709E945-4268-62B5-C74C-65682BA07C9E}"/>
              </a:ext>
            </a:extLst>
          </p:cNvPr>
          <p:cNvSpPr/>
          <p:nvPr/>
        </p:nvSpPr>
        <p:spPr>
          <a:xfrm>
            <a:off x="2343505" y="5588779"/>
            <a:ext cx="1336554" cy="59307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2" name="Right Arrow 27">
            <a:extLst>
              <a:ext uri="{FF2B5EF4-FFF2-40B4-BE49-F238E27FC236}">
                <a16:creationId xmlns:a16="http://schemas.microsoft.com/office/drawing/2014/main" id="{A331F2F2-4ABE-663C-CCE0-26689944956A}"/>
              </a:ext>
            </a:extLst>
          </p:cNvPr>
          <p:cNvSpPr/>
          <p:nvPr/>
        </p:nvSpPr>
        <p:spPr>
          <a:xfrm>
            <a:off x="5520928" y="5588779"/>
            <a:ext cx="2419190" cy="59307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3" name="TextBox 42">
            <a:extLst>
              <a:ext uri="{FF2B5EF4-FFF2-40B4-BE49-F238E27FC236}">
                <a16:creationId xmlns:a16="http://schemas.microsoft.com/office/drawing/2014/main" id="{101D710C-1C64-6A07-5B69-D88E7DDD2B01}"/>
              </a:ext>
            </a:extLst>
          </p:cNvPr>
          <p:cNvSpPr txBox="1"/>
          <p:nvPr/>
        </p:nvSpPr>
        <p:spPr>
          <a:xfrm>
            <a:off x="766157" y="6268879"/>
            <a:ext cx="1200970"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Product Backlog</a:t>
            </a:r>
          </a:p>
        </p:txBody>
      </p:sp>
      <p:sp>
        <p:nvSpPr>
          <p:cNvPr id="44" name="TextBox 43">
            <a:extLst>
              <a:ext uri="{FF2B5EF4-FFF2-40B4-BE49-F238E27FC236}">
                <a16:creationId xmlns:a16="http://schemas.microsoft.com/office/drawing/2014/main" id="{EF55FE3F-940D-7028-5070-9C50AA1F030B}"/>
              </a:ext>
            </a:extLst>
          </p:cNvPr>
          <p:cNvSpPr txBox="1"/>
          <p:nvPr/>
        </p:nvSpPr>
        <p:spPr>
          <a:xfrm>
            <a:off x="3981660" y="6268879"/>
            <a:ext cx="1087157"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Backlog</a:t>
            </a:r>
          </a:p>
        </p:txBody>
      </p:sp>
      <p:sp>
        <p:nvSpPr>
          <p:cNvPr id="45" name="TextBox 44">
            <a:extLst>
              <a:ext uri="{FF2B5EF4-FFF2-40B4-BE49-F238E27FC236}">
                <a16:creationId xmlns:a16="http://schemas.microsoft.com/office/drawing/2014/main" id="{E413F668-2A0A-DF83-225C-555732E20D71}"/>
              </a:ext>
            </a:extLst>
          </p:cNvPr>
          <p:cNvSpPr txBox="1"/>
          <p:nvPr/>
        </p:nvSpPr>
        <p:spPr>
          <a:xfrm>
            <a:off x="6072891" y="6268879"/>
            <a:ext cx="1200970"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Execution</a:t>
            </a:r>
          </a:p>
        </p:txBody>
      </p:sp>
      <p:sp>
        <p:nvSpPr>
          <p:cNvPr id="46" name="TextBox 45">
            <a:extLst>
              <a:ext uri="{FF2B5EF4-FFF2-40B4-BE49-F238E27FC236}">
                <a16:creationId xmlns:a16="http://schemas.microsoft.com/office/drawing/2014/main" id="{4AC66820-CB24-E6A8-96D7-5017E48DF5CE}"/>
              </a:ext>
            </a:extLst>
          </p:cNvPr>
          <p:cNvSpPr txBox="1"/>
          <p:nvPr/>
        </p:nvSpPr>
        <p:spPr>
          <a:xfrm>
            <a:off x="8553456" y="6152054"/>
            <a:ext cx="2103114" cy="400110"/>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Potentially Shippable Product Increment</a:t>
            </a:r>
          </a:p>
        </p:txBody>
      </p:sp>
      <p:sp>
        <p:nvSpPr>
          <p:cNvPr id="47" name="TextBox 46">
            <a:extLst>
              <a:ext uri="{FF2B5EF4-FFF2-40B4-BE49-F238E27FC236}">
                <a16:creationId xmlns:a16="http://schemas.microsoft.com/office/drawing/2014/main" id="{67810271-AC1C-F1F9-E497-949000B40E86}"/>
              </a:ext>
            </a:extLst>
          </p:cNvPr>
          <p:cNvSpPr txBox="1"/>
          <p:nvPr/>
        </p:nvSpPr>
        <p:spPr>
          <a:xfrm>
            <a:off x="2392642" y="6301264"/>
            <a:ext cx="1130438"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Planning</a:t>
            </a:r>
          </a:p>
        </p:txBody>
      </p:sp>
      <p:sp>
        <p:nvSpPr>
          <p:cNvPr id="48" name="TextBox 47">
            <a:extLst>
              <a:ext uri="{FF2B5EF4-FFF2-40B4-BE49-F238E27FC236}">
                <a16:creationId xmlns:a16="http://schemas.microsoft.com/office/drawing/2014/main" id="{9AD704BE-BFDF-776E-2785-79CC0B3AB31C}"/>
              </a:ext>
            </a:extLst>
          </p:cNvPr>
          <p:cNvSpPr txBox="1"/>
          <p:nvPr/>
        </p:nvSpPr>
        <p:spPr>
          <a:xfrm>
            <a:off x="7961625" y="6184439"/>
            <a:ext cx="795117" cy="400110"/>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Sprint Review</a:t>
            </a:r>
          </a:p>
        </p:txBody>
      </p:sp>
      <p:sp>
        <p:nvSpPr>
          <p:cNvPr id="49" name="Rectangle 48">
            <a:extLst>
              <a:ext uri="{FF2B5EF4-FFF2-40B4-BE49-F238E27FC236}">
                <a16:creationId xmlns:a16="http://schemas.microsoft.com/office/drawing/2014/main" id="{B37F23AB-D1E5-8F54-E0B7-997395727990}"/>
              </a:ext>
            </a:extLst>
          </p:cNvPr>
          <p:cNvSpPr/>
          <p:nvPr/>
        </p:nvSpPr>
        <p:spPr>
          <a:xfrm>
            <a:off x="863959"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0" name="Rectangle 49">
            <a:extLst>
              <a:ext uri="{FF2B5EF4-FFF2-40B4-BE49-F238E27FC236}">
                <a16:creationId xmlns:a16="http://schemas.microsoft.com/office/drawing/2014/main" id="{EE48BFC4-5243-C6D5-64AC-4538BBAFEB18}"/>
              </a:ext>
            </a:extLst>
          </p:cNvPr>
          <p:cNvSpPr/>
          <p:nvPr/>
        </p:nvSpPr>
        <p:spPr>
          <a:xfrm>
            <a:off x="1248938"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1" name="Rectangle 50">
            <a:extLst>
              <a:ext uri="{FF2B5EF4-FFF2-40B4-BE49-F238E27FC236}">
                <a16:creationId xmlns:a16="http://schemas.microsoft.com/office/drawing/2014/main" id="{D9A99CBA-B34C-FFED-10E6-61F1EB9A48A1}"/>
              </a:ext>
            </a:extLst>
          </p:cNvPr>
          <p:cNvSpPr/>
          <p:nvPr/>
        </p:nvSpPr>
        <p:spPr>
          <a:xfrm>
            <a:off x="1633916"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2" name="Freeform 948">
            <a:extLst>
              <a:ext uri="{FF2B5EF4-FFF2-40B4-BE49-F238E27FC236}">
                <a16:creationId xmlns:a16="http://schemas.microsoft.com/office/drawing/2014/main" id="{26A0C8AE-2C3D-E8BD-8F3A-86223A856185}"/>
              </a:ext>
            </a:extLst>
          </p:cNvPr>
          <p:cNvSpPr>
            <a:spLocks noChangeAspect="1" noChangeArrowheads="1"/>
          </p:cNvSpPr>
          <p:nvPr/>
        </p:nvSpPr>
        <p:spPr bwMode="auto">
          <a:xfrm>
            <a:off x="9173090" y="5406454"/>
            <a:ext cx="855900" cy="754006"/>
          </a:xfrm>
          <a:custGeom>
            <a:avLst/>
            <a:gdLst>
              <a:gd name="T0" fmla="*/ 27610722 w 293328"/>
              <a:gd name="T1" fmla="*/ 27453834 h 258401"/>
              <a:gd name="T2" fmla="*/ 9154902 w 293328"/>
              <a:gd name="T3" fmla="*/ 26352054 h 258401"/>
              <a:gd name="T4" fmla="*/ 8582692 w 293328"/>
              <a:gd name="T5" fmla="*/ 26925015 h 258401"/>
              <a:gd name="T6" fmla="*/ 24560222 w 293328"/>
              <a:gd name="T7" fmla="*/ 27001841 h 258401"/>
              <a:gd name="T8" fmla="*/ 27587035 w 293328"/>
              <a:gd name="T9" fmla="*/ 23963042 h 258401"/>
              <a:gd name="T10" fmla="*/ 9080349 w 293328"/>
              <a:gd name="T11" fmla="*/ 30040687 h 258401"/>
              <a:gd name="T12" fmla="*/ 1038012 w 293328"/>
              <a:gd name="T13" fmla="*/ 21097906 h 258401"/>
              <a:gd name="T14" fmla="*/ 5015691 w 293328"/>
              <a:gd name="T15" fmla="*/ 26437412 h 258401"/>
              <a:gd name="T16" fmla="*/ 19933601 w 293328"/>
              <a:gd name="T17" fmla="*/ 26437412 h 258401"/>
              <a:gd name="T18" fmla="*/ 24016198 w 293328"/>
              <a:gd name="T19" fmla="*/ 19859556 h 258401"/>
              <a:gd name="T20" fmla="*/ 26673362 w 293328"/>
              <a:gd name="T21" fmla="*/ 20961094 h 258401"/>
              <a:gd name="T22" fmla="*/ 24016198 w 293328"/>
              <a:gd name="T23" fmla="*/ 19859556 h 258401"/>
              <a:gd name="T24" fmla="*/ 15307077 w 293328"/>
              <a:gd name="T25" fmla="*/ 13587724 h 258401"/>
              <a:gd name="T26" fmla="*/ 16733736 w 293328"/>
              <a:gd name="T27" fmla="*/ 11069930 h 258401"/>
              <a:gd name="T28" fmla="*/ 11026240 w 293328"/>
              <a:gd name="T29" fmla="*/ 20012605 h 258401"/>
              <a:gd name="T30" fmla="*/ 17814730 w 293328"/>
              <a:gd name="T31" fmla="*/ 11069930 h 258401"/>
              <a:gd name="T32" fmla="*/ 17079772 w 293328"/>
              <a:gd name="T33" fmla="*/ 15324063 h 258401"/>
              <a:gd name="T34" fmla="*/ 13706857 w 293328"/>
              <a:gd name="T35" fmla="*/ 15367655 h 258401"/>
              <a:gd name="T36" fmla="*/ 13144847 w 293328"/>
              <a:gd name="T37" fmla="*/ 11069930 h 258401"/>
              <a:gd name="T38" fmla="*/ 4237276 w 293328"/>
              <a:gd name="T39" fmla="*/ 14021773 h 258401"/>
              <a:gd name="T40" fmla="*/ 5707359 w 293328"/>
              <a:gd name="T41" fmla="*/ 13587724 h 258401"/>
              <a:gd name="T42" fmla="*/ 4237276 w 293328"/>
              <a:gd name="T43" fmla="*/ 11069930 h 258401"/>
              <a:gd name="T44" fmla="*/ 9945373 w 293328"/>
              <a:gd name="T45" fmla="*/ 20012605 h 258401"/>
              <a:gd name="T46" fmla="*/ 7826377 w 293328"/>
              <a:gd name="T47" fmla="*/ 14803100 h 258401"/>
              <a:gd name="T48" fmla="*/ 7091399 w 293328"/>
              <a:gd name="T49" fmla="*/ 15324063 h 258401"/>
              <a:gd name="T50" fmla="*/ 3415964 w 293328"/>
              <a:gd name="T51" fmla="*/ 15237161 h 258401"/>
              <a:gd name="T52" fmla="*/ 1038012 w 293328"/>
              <a:gd name="T53" fmla="*/ 11069930 h 258401"/>
              <a:gd name="T54" fmla="*/ 26722298 w 293328"/>
              <a:gd name="T55" fmla="*/ 16409461 h 258401"/>
              <a:gd name="T56" fmla="*/ 25252179 w 293328"/>
              <a:gd name="T57" fmla="*/ 7466708 h 258401"/>
              <a:gd name="T58" fmla="*/ 21014519 w 293328"/>
              <a:gd name="T59" fmla="*/ 26437412 h 258401"/>
              <a:gd name="T60" fmla="*/ 31651633 w 293328"/>
              <a:gd name="T61" fmla="*/ 26437412 h 258401"/>
              <a:gd name="T62" fmla="*/ 34202613 w 293328"/>
              <a:gd name="T63" fmla="*/ 23963042 h 258401"/>
              <a:gd name="T64" fmla="*/ 32343327 w 293328"/>
              <a:gd name="T65" fmla="*/ 22877815 h 258401"/>
              <a:gd name="T66" fmla="*/ 32343327 w 293328"/>
              <a:gd name="T67" fmla="*/ 20967830 h 258401"/>
              <a:gd name="T68" fmla="*/ 34202613 w 293328"/>
              <a:gd name="T69" fmla="*/ 19882456 h 258401"/>
              <a:gd name="T70" fmla="*/ 26722298 w 293328"/>
              <a:gd name="T71" fmla="*/ 17494806 h 258401"/>
              <a:gd name="T72" fmla="*/ 21014519 w 293328"/>
              <a:gd name="T73" fmla="*/ 7466708 h 258401"/>
              <a:gd name="T74" fmla="*/ 10290941 w 293328"/>
              <a:gd name="T75" fmla="*/ 3559590 h 258401"/>
              <a:gd name="T76" fmla="*/ 11718072 w 293328"/>
              <a:gd name="T77" fmla="*/ 1041754 h 258401"/>
              <a:gd name="T78" fmla="*/ 6053678 w 293328"/>
              <a:gd name="T79" fmla="*/ 9984609 h 258401"/>
              <a:gd name="T80" fmla="*/ 12799067 w 293328"/>
              <a:gd name="T81" fmla="*/ 1041754 h 258401"/>
              <a:gd name="T82" fmla="*/ 12280200 w 293328"/>
              <a:gd name="T83" fmla="*/ 5339544 h 258401"/>
              <a:gd name="T84" fmla="*/ 8907366 w 293328"/>
              <a:gd name="T85" fmla="*/ 5296325 h 258401"/>
              <a:gd name="T86" fmla="*/ 8172406 w 293328"/>
              <a:gd name="T87" fmla="*/ 1041754 h 258401"/>
              <a:gd name="T88" fmla="*/ 15479727 w 293328"/>
              <a:gd name="T89" fmla="*/ 0 h 258401"/>
              <a:gd name="T90" fmla="*/ 19933601 w 293328"/>
              <a:gd name="T91" fmla="*/ 9984609 h 258401"/>
              <a:gd name="T92" fmla="*/ 25252179 w 293328"/>
              <a:gd name="T93" fmla="*/ 6381406 h 258401"/>
              <a:gd name="T94" fmla="*/ 35240414 w 293328"/>
              <a:gd name="T95" fmla="*/ 19838874 h 258401"/>
              <a:gd name="T96" fmla="*/ 31651633 w 293328"/>
              <a:gd name="T97" fmla="*/ 27522882 h 258401"/>
              <a:gd name="T98" fmla="*/ 13144847 w 293328"/>
              <a:gd name="T99" fmla="*/ 27522882 h 258401"/>
              <a:gd name="T100" fmla="*/ 1945877 w 293328"/>
              <a:gd name="T101" fmla="*/ 27522882 h 258401"/>
              <a:gd name="T102" fmla="*/ 0 w 293328"/>
              <a:gd name="T103" fmla="*/ 10549040 h 258401"/>
              <a:gd name="T104" fmla="*/ 4972696 w 293328"/>
              <a:gd name="T105" fmla="*/ 520909 h 2584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3328" h="258401">
                <a:moveTo>
                  <a:pt x="229821" y="219075"/>
                </a:moveTo>
                <a:cubicBezTo>
                  <a:pt x="232386" y="219075"/>
                  <a:pt x="234584" y="220907"/>
                  <a:pt x="234584" y="223838"/>
                </a:cubicBezTo>
                <a:cubicBezTo>
                  <a:pt x="234584" y="226402"/>
                  <a:pt x="232386" y="228234"/>
                  <a:pt x="229821" y="228234"/>
                </a:cubicBezTo>
                <a:cubicBezTo>
                  <a:pt x="227257" y="228234"/>
                  <a:pt x="225425" y="226402"/>
                  <a:pt x="225425" y="223838"/>
                </a:cubicBezTo>
                <a:cubicBezTo>
                  <a:pt x="225425" y="220907"/>
                  <a:pt x="227257" y="219075"/>
                  <a:pt x="229821" y="219075"/>
                </a:cubicBezTo>
                <a:close/>
                <a:moveTo>
                  <a:pt x="76200" y="219075"/>
                </a:moveTo>
                <a:cubicBezTo>
                  <a:pt x="78398" y="219075"/>
                  <a:pt x="80597" y="220907"/>
                  <a:pt x="80597" y="223838"/>
                </a:cubicBezTo>
                <a:cubicBezTo>
                  <a:pt x="80597" y="226402"/>
                  <a:pt x="78398" y="228234"/>
                  <a:pt x="76200" y="228234"/>
                </a:cubicBezTo>
                <a:cubicBezTo>
                  <a:pt x="73636" y="228234"/>
                  <a:pt x="71438" y="226402"/>
                  <a:pt x="71438" y="223838"/>
                </a:cubicBezTo>
                <a:cubicBezTo>
                  <a:pt x="71438" y="220907"/>
                  <a:pt x="73636" y="219075"/>
                  <a:pt x="76200" y="219075"/>
                </a:cubicBezTo>
                <a:close/>
                <a:moveTo>
                  <a:pt x="229624" y="199214"/>
                </a:moveTo>
                <a:cubicBezTo>
                  <a:pt x="215947" y="199214"/>
                  <a:pt x="204430" y="210402"/>
                  <a:pt x="204430" y="224477"/>
                </a:cubicBezTo>
                <a:cubicBezTo>
                  <a:pt x="204430" y="238191"/>
                  <a:pt x="215947" y="249740"/>
                  <a:pt x="229624" y="249740"/>
                </a:cubicBezTo>
                <a:cubicBezTo>
                  <a:pt x="243660" y="249740"/>
                  <a:pt x="254818" y="238191"/>
                  <a:pt x="254818" y="224477"/>
                </a:cubicBezTo>
                <a:cubicBezTo>
                  <a:pt x="254818" y="210402"/>
                  <a:pt x="243660" y="199214"/>
                  <a:pt x="229624" y="199214"/>
                </a:cubicBezTo>
                <a:close/>
                <a:moveTo>
                  <a:pt x="75581" y="199214"/>
                </a:moveTo>
                <a:cubicBezTo>
                  <a:pt x="61545" y="199214"/>
                  <a:pt x="50388" y="210402"/>
                  <a:pt x="50388" y="224477"/>
                </a:cubicBezTo>
                <a:cubicBezTo>
                  <a:pt x="50388" y="238191"/>
                  <a:pt x="61545" y="249740"/>
                  <a:pt x="75581" y="249740"/>
                </a:cubicBezTo>
                <a:cubicBezTo>
                  <a:pt x="89258" y="249740"/>
                  <a:pt x="100415" y="238191"/>
                  <a:pt x="100415" y="224477"/>
                </a:cubicBezTo>
                <a:cubicBezTo>
                  <a:pt x="100415" y="210402"/>
                  <a:pt x="89258" y="199214"/>
                  <a:pt x="75581" y="199214"/>
                </a:cubicBezTo>
                <a:close/>
                <a:moveTo>
                  <a:pt x="8638" y="175395"/>
                </a:moveTo>
                <a:lnTo>
                  <a:pt x="8638" y="212568"/>
                </a:lnTo>
                <a:cubicBezTo>
                  <a:pt x="8638" y="216537"/>
                  <a:pt x="11877" y="219785"/>
                  <a:pt x="16196" y="219785"/>
                </a:cubicBezTo>
                <a:lnTo>
                  <a:pt x="41750" y="219785"/>
                </a:lnTo>
                <a:cubicBezTo>
                  <a:pt x="43909" y="203184"/>
                  <a:pt x="58306" y="190192"/>
                  <a:pt x="75581" y="190192"/>
                </a:cubicBezTo>
                <a:cubicBezTo>
                  <a:pt x="92857" y="190192"/>
                  <a:pt x="106894" y="203184"/>
                  <a:pt x="109413" y="219785"/>
                </a:cubicBezTo>
                <a:lnTo>
                  <a:pt x="165919" y="219785"/>
                </a:lnTo>
                <a:lnTo>
                  <a:pt x="165919" y="175395"/>
                </a:lnTo>
                <a:lnTo>
                  <a:pt x="8638" y="175395"/>
                </a:lnTo>
                <a:close/>
                <a:moveTo>
                  <a:pt x="199901" y="165100"/>
                </a:moveTo>
                <a:lnTo>
                  <a:pt x="222019" y="165100"/>
                </a:lnTo>
                <a:cubicBezTo>
                  <a:pt x="224873" y="165100"/>
                  <a:pt x="226656" y="166932"/>
                  <a:pt x="226656" y="169863"/>
                </a:cubicBezTo>
                <a:cubicBezTo>
                  <a:pt x="226656" y="172061"/>
                  <a:pt x="224873" y="174259"/>
                  <a:pt x="222019" y="174259"/>
                </a:cubicBezTo>
                <a:lnTo>
                  <a:pt x="199901" y="174259"/>
                </a:lnTo>
                <a:cubicBezTo>
                  <a:pt x="197404" y="174259"/>
                  <a:pt x="195263" y="172061"/>
                  <a:pt x="195263" y="169863"/>
                </a:cubicBezTo>
                <a:cubicBezTo>
                  <a:pt x="195263" y="166932"/>
                  <a:pt x="197404" y="165100"/>
                  <a:pt x="199901" y="165100"/>
                </a:cubicBezTo>
                <a:close/>
                <a:moveTo>
                  <a:pt x="118411" y="92028"/>
                </a:moveTo>
                <a:lnTo>
                  <a:pt x="118411" y="116569"/>
                </a:lnTo>
                <a:lnTo>
                  <a:pt x="127409" y="112960"/>
                </a:lnTo>
                <a:cubicBezTo>
                  <a:pt x="128128" y="112599"/>
                  <a:pt x="129208" y="112599"/>
                  <a:pt x="130288" y="112960"/>
                </a:cubicBezTo>
                <a:lnTo>
                  <a:pt x="139286" y="116569"/>
                </a:lnTo>
                <a:lnTo>
                  <a:pt x="139286" y="92028"/>
                </a:lnTo>
                <a:lnTo>
                  <a:pt x="118411" y="92028"/>
                </a:lnTo>
                <a:close/>
                <a:moveTo>
                  <a:pt x="91777" y="92028"/>
                </a:moveTo>
                <a:lnTo>
                  <a:pt x="91777" y="166373"/>
                </a:lnTo>
                <a:lnTo>
                  <a:pt x="165919" y="166373"/>
                </a:lnTo>
                <a:lnTo>
                  <a:pt x="165919" y="92028"/>
                </a:lnTo>
                <a:lnTo>
                  <a:pt x="148284" y="92028"/>
                </a:lnTo>
                <a:lnTo>
                  <a:pt x="148284" y="123065"/>
                </a:lnTo>
                <a:cubicBezTo>
                  <a:pt x="148284" y="124870"/>
                  <a:pt x="147204" y="125952"/>
                  <a:pt x="146124" y="126674"/>
                </a:cubicBezTo>
                <a:cubicBezTo>
                  <a:pt x="145044" y="127757"/>
                  <a:pt x="143245" y="127757"/>
                  <a:pt x="142165" y="127396"/>
                </a:cubicBezTo>
                <a:lnTo>
                  <a:pt x="128848" y="121983"/>
                </a:lnTo>
                <a:lnTo>
                  <a:pt x="115532" y="127396"/>
                </a:lnTo>
                <a:cubicBezTo>
                  <a:pt x="115172" y="127757"/>
                  <a:pt x="114452" y="127757"/>
                  <a:pt x="114092" y="127757"/>
                </a:cubicBezTo>
                <a:cubicBezTo>
                  <a:pt x="113012" y="127757"/>
                  <a:pt x="112292" y="127396"/>
                  <a:pt x="111573" y="126674"/>
                </a:cubicBezTo>
                <a:cubicBezTo>
                  <a:pt x="110493" y="125952"/>
                  <a:pt x="109413" y="124870"/>
                  <a:pt x="109413" y="123065"/>
                </a:cubicBezTo>
                <a:lnTo>
                  <a:pt x="109413" y="92028"/>
                </a:lnTo>
                <a:lnTo>
                  <a:pt x="91777" y="92028"/>
                </a:lnTo>
                <a:close/>
                <a:moveTo>
                  <a:pt x="35271" y="92028"/>
                </a:moveTo>
                <a:lnTo>
                  <a:pt x="35271" y="116569"/>
                </a:lnTo>
                <a:lnTo>
                  <a:pt x="44269" y="112960"/>
                </a:lnTo>
                <a:cubicBezTo>
                  <a:pt x="44629" y="112960"/>
                  <a:pt x="45349" y="112960"/>
                  <a:pt x="45709" y="112960"/>
                </a:cubicBezTo>
                <a:cubicBezTo>
                  <a:pt x="46428" y="112960"/>
                  <a:pt x="46788" y="112960"/>
                  <a:pt x="47508" y="112960"/>
                </a:cubicBezTo>
                <a:lnTo>
                  <a:pt x="56146" y="116569"/>
                </a:lnTo>
                <a:lnTo>
                  <a:pt x="56146" y="92028"/>
                </a:lnTo>
                <a:lnTo>
                  <a:pt x="35271" y="92028"/>
                </a:lnTo>
                <a:close/>
                <a:moveTo>
                  <a:pt x="8638" y="92028"/>
                </a:moveTo>
                <a:lnTo>
                  <a:pt x="8638" y="166373"/>
                </a:lnTo>
                <a:lnTo>
                  <a:pt x="82780" y="166373"/>
                </a:lnTo>
                <a:lnTo>
                  <a:pt x="82780" y="92028"/>
                </a:lnTo>
                <a:lnTo>
                  <a:pt x="65144" y="92028"/>
                </a:lnTo>
                <a:lnTo>
                  <a:pt x="65144" y="123065"/>
                </a:lnTo>
                <a:cubicBezTo>
                  <a:pt x="65144" y="124870"/>
                  <a:pt x="64064" y="125952"/>
                  <a:pt x="63344" y="126674"/>
                </a:cubicBezTo>
                <a:cubicBezTo>
                  <a:pt x="62265" y="127396"/>
                  <a:pt x="61545" y="127757"/>
                  <a:pt x="60825" y="127757"/>
                </a:cubicBezTo>
                <a:cubicBezTo>
                  <a:pt x="60105" y="127757"/>
                  <a:pt x="59385" y="127757"/>
                  <a:pt x="59025" y="127396"/>
                </a:cubicBezTo>
                <a:lnTo>
                  <a:pt x="45709" y="121983"/>
                </a:lnTo>
                <a:lnTo>
                  <a:pt x="32752" y="127396"/>
                </a:lnTo>
                <a:cubicBezTo>
                  <a:pt x="31312" y="127757"/>
                  <a:pt x="29513" y="127757"/>
                  <a:pt x="28433" y="126674"/>
                </a:cubicBezTo>
                <a:cubicBezTo>
                  <a:pt x="27353" y="125952"/>
                  <a:pt x="26273" y="124870"/>
                  <a:pt x="26273" y="123065"/>
                </a:cubicBezTo>
                <a:lnTo>
                  <a:pt x="26273" y="92028"/>
                </a:lnTo>
                <a:lnTo>
                  <a:pt x="8638" y="92028"/>
                </a:lnTo>
                <a:close/>
                <a:moveTo>
                  <a:pt x="204430" y="62074"/>
                </a:moveTo>
                <a:lnTo>
                  <a:pt x="204430" y="118374"/>
                </a:lnTo>
                <a:cubicBezTo>
                  <a:pt x="204430" y="128479"/>
                  <a:pt x="212708" y="136418"/>
                  <a:pt x="222426" y="136418"/>
                </a:cubicBezTo>
                <a:lnTo>
                  <a:pt x="258417" y="136418"/>
                </a:lnTo>
                <a:lnTo>
                  <a:pt x="233223" y="77592"/>
                </a:lnTo>
                <a:cubicBezTo>
                  <a:pt x="229264" y="68209"/>
                  <a:pt x="220266" y="62074"/>
                  <a:pt x="210189" y="62074"/>
                </a:cubicBezTo>
                <a:lnTo>
                  <a:pt x="204430" y="62074"/>
                </a:lnTo>
                <a:close/>
                <a:moveTo>
                  <a:pt x="174917" y="62074"/>
                </a:moveTo>
                <a:lnTo>
                  <a:pt x="174917" y="219785"/>
                </a:lnTo>
                <a:lnTo>
                  <a:pt x="195792" y="219785"/>
                </a:lnTo>
                <a:cubicBezTo>
                  <a:pt x="197952" y="203184"/>
                  <a:pt x="212348" y="190192"/>
                  <a:pt x="229624" y="190192"/>
                </a:cubicBezTo>
                <a:cubicBezTo>
                  <a:pt x="246900" y="190192"/>
                  <a:pt x="261296" y="203184"/>
                  <a:pt x="263456" y="219785"/>
                </a:cubicBezTo>
                <a:lnTo>
                  <a:pt x="277132" y="219785"/>
                </a:lnTo>
                <a:cubicBezTo>
                  <a:pt x="281091" y="219785"/>
                  <a:pt x="284690" y="216537"/>
                  <a:pt x="284690" y="212568"/>
                </a:cubicBezTo>
                <a:lnTo>
                  <a:pt x="284690" y="199214"/>
                </a:lnTo>
                <a:lnTo>
                  <a:pt x="269214" y="199214"/>
                </a:lnTo>
                <a:cubicBezTo>
                  <a:pt x="267055" y="199214"/>
                  <a:pt x="264895" y="197049"/>
                  <a:pt x="264895" y="194523"/>
                </a:cubicBezTo>
                <a:cubicBezTo>
                  <a:pt x="264895" y="191996"/>
                  <a:pt x="267055" y="190192"/>
                  <a:pt x="269214" y="190192"/>
                </a:cubicBezTo>
                <a:lnTo>
                  <a:pt x="284690" y="190192"/>
                </a:lnTo>
                <a:lnTo>
                  <a:pt x="284690" y="174313"/>
                </a:lnTo>
                <a:lnTo>
                  <a:pt x="269214" y="174313"/>
                </a:lnTo>
                <a:cubicBezTo>
                  <a:pt x="267055" y="174313"/>
                  <a:pt x="264895" y="172147"/>
                  <a:pt x="264895" y="169982"/>
                </a:cubicBezTo>
                <a:cubicBezTo>
                  <a:pt x="264895" y="167095"/>
                  <a:pt x="267055" y="165290"/>
                  <a:pt x="269214" y="165290"/>
                </a:cubicBezTo>
                <a:lnTo>
                  <a:pt x="284690" y="165290"/>
                </a:lnTo>
                <a:lnTo>
                  <a:pt x="284690" y="164929"/>
                </a:lnTo>
                <a:cubicBezTo>
                  <a:pt x="284690" y="154102"/>
                  <a:pt x="275693" y="145441"/>
                  <a:pt x="265255" y="145441"/>
                </a:cubicBezTo>
                <a:lnTo>
                  <a:pt x="222426" y="145441"/>
                </a:lnTo>
                <a:cubicBezTo>
                  <a:pt x="207669" y="145441"/>
                  <a:pt x="195432" y="133531"/>
                  <a:pt x="195432" y="118374"/>
                </a:cubicBezTo>
                <a:lnTo>
                  <a:pt x="195432" y="62074"/>
                </a:lnTo>
                <a:lnTo>
                  <a:pt x="174917" y="62074"/>
                </a:lnTo>
                <a:close/>
                <a:moveTo>
                  <a:pt x="77021" y="8661"/>
                </a:moveTo>
                <a:lnTo>
                  <a:pt x="77021" y="33202"/>
                </a:lnTo>
                <a:lnTo>
                  <a:pt x="85659" y="29593"/>
                </a:lnTo>
                <a:cubicBezTo>
                  <a:pt x="86739" y="29232"/>
                  <a:pt x="87818" y="29232"/>
                  <a:pt x="88898" y="29593"/>
                </a:cubicBezTo>
                <a:lnTo>
                  <a:pt x="97536" y="33202"/>
                </a:lnTo>
                <a:lnTo>
                  <a:pt x="97536" y="8661"/>
                </a:lnTo>
                <a:lnTo>
                  <a:pt x="77021" y="8661"/>
                </a:lnTo>
                <a:close/>
                <a:moveTo>
                  <a:pt x="50388" y="8661"/>
                </a:moveTo>
                <a:lnTo>
                  <a:pt x="50388" y="83006"/>
                </a:lnTo>
                <a:lnTo>
                  <a:pt x="124169" y="83006"/>
                </a:lnTo>
                <a:lnTo>
                  <a:pt x="124169" y="8661"/>
                </a:lnTo>
                <a:lnTo>
                  <a:pt x="106534" y="8661"/>
                </a:lnTo>
                <a:lnTo>
                  <a:pt x="106534" y="40059"/>
                </a:lnTo>
                <a:cubicBezTo>
                  <a:pt x="106534" y="41503"/>
                  <a:pt x="105814" y="42946"/>
                  <a:pt x="104734" y="43307"/>
                </a:cubicBezTo>
                <a:cubicBezTo>
                  <a:pt x="104014" y="44029"/>
                  <a:pt x="102935" y="44390"/>
                  <a:pt x="102215" y="44390"/>
                </a:cubicBezTo>
                <a:cubicBezTo>
                  <a:pt x="101855" y="44390"/>
                  <a:pt x="101135" y="44390"/>
                  <a:pt x="100415" y="44029"/>
                </a:cubicBezTo>
                <a:lnTo>
                  <a:pt x="87458" y="38977"/>
                </a:lnTo>
                <a:lnTo>
                  <a:pt x="74142" y="44029"/>
                </a:lnTo>
                <a:cubicBezTo>
                  <a:pt x="72702" y="44751"/>
                  <a:pt x="71262" y="44390"/>
                  <a:pt x="69823" y="43307"/>
                </a:cubicBezTo>
                <a:cubicBezTo>
                  <a:pt x="68743" y="42946"/>
                  <a:pt x="68023" y="41503"/>
                  <a:pt x="68023" y="40059"/>
                </a:cubicBezTo>
                <a:lnTo>
                  <a:pt x="68023" y="8661"/>
                </a:lnTo>
                <a:lnTo>
                  <a:pt x="50388" y="8661"/>
                </a:lnTo>
                <a:close/>
                <a:moveTo>
                  <a:pt x="45709" y="0"/>
                </a:moveTo>
                <a:lnTo>
                  <a:pt x="128848" y="0"/>
                </a:lnTo>
                <a:cubicBezTo>
                  <a:pt x="131368" y="0"/>
                  <a:pt x="133527" y="1804"/>
                  <a:pt x="133527" y="4331"/>
                </a:cubicBezTo>
                <a:lnTo>
                  <a:pt x="133527" y="83006"/>
                </a:lnTo>
                <a:lnTo>
                  <a:pt x="165919" y="83006"/>
                </a:lnTo>
                <a:lnTo>
                  <a:pt x="165919" y="57743"/>
                </a:lnTo>
                <a:cubicBezTo>
                  <a:pt x="165919" y="55578"/>
                  <a:pt x="167719" y="53051"/>
                  <a:pt x="170238" y="53051"/>
                </a:cubicBezTo>
                <a:lnTo>
                  <a:pt x="210189" y="53051"/>
                </a:lnTo>
                <a:cubicBezTo>
                  <a:pt x="223865" y="53051"/>
                  <a:pt x="236102" y="61352"/>
                  <a:pt x="241501" y="73983"/>
                </a:cubicBezTo>
                <a:lnTo>
                  <a:pt x="268134" y="136779"/>
                </a:lnTo>
                <a:cubicBezTo>
                  <a:pt x="282531" y="138223"/>
                  <a:pt x="293328" y="150493"/>
                  <a:pt x="293328" y="164929"/>
                </a:cubicBezTo>
                <a:lnTo>
                  <a:pt x="293328" y="212568"/>
                </a:lnTo>
                <a:cubicBezTo>
                  <a:pt x="293328" y="221590"/>
                  <a:pt x="286130" y="228808"/>
                  <a:pt x="277132" y="228808"/>
                </a:cubicBezTo>
                <a:lnTo>
                  <a:pt x="263456" y="228808"/>
                </a:lnTo>
                <a:cubicBezTo>
                  <a:pt x="261296" y="245409"/>
                  <a:pt x="246900" y="258401"/>
                  <a:pt x="229624" y="258401"/>
                </a:cubicBezTo>
                <a:cubicBezTo>
                  <a:pt x="212348" y="258401"/>
                  <a:pt x="197952" y="245409"/>
                  <a:pt x="195792" y="228808"/>
                </a:cubicBezTo>
                <a:lnTo>
                  <a:pt x="109413" y="228808"/>
                </a:lnTo>
                <a:cubicBezTo>
                  <a:pt x="106894" y="245409"/>
                  <a:pt x="92857" y="258401"/>
                  <a:pt x="75581" y="258401"/>
                </a:cubicBezTo>
                <a:cubicBezTo>
                  <a:pt x="58306" y="258401"/>
                  <a:pt x="43909" y="245409"/>
                  <a:pt x="41750" y="228808"/>
                </a:cubicBezTo>
                <a:lnTo>
                  <a:pt x="16196" y="228808"/>
                </a:lnTo>
                <a:cubicBezTo>
                  <a:pt x="7198" y="228808"/>
                  <a:pt x="0" y="221590"/>
                  <a:pt x="0" y="212568"/>
                </a:cubicBezTo>
                <a:lnTo>
                  <a:pt x="0" y="170704"/>
                </a:lnTo>
                <a:lnTo>
                  <a:pt x="0" y="87697"/>
                </a:lnTo>
                <a:cubicBezTo>
                  <a:pt x="0" y="85171"/>
                  <a:pt x="1799" y="83006"/>
                  <a:pt x="4319" y="83006"/>
                </a:cubicBezTo>
                <a:lnTo>
                  <a:pt x="41390" y="83006"/>
                </a:lnTo>
                <a:lnTo>
                  <a:pt x="41390" y="4331"/>
                </a:lnTo>
                <a:cubicBezTo>
                  <a:pt x="41390" y="1804"/>
                  <a:pt x="43549" y="0"/>
                  <a:pt x="45709"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pic>
        <p:nvPicPr>
          <p:cNvPr id="53" name="Graphic 52" descr="Magnifying glass with solid fill">
            <a:extLst>
              <a:ext uri="{FF2B5EF4-FFF2-40B4-BE49-F238E27FC236}">
                <a16:creationId xmlns:a16="http://schemas.microsoft.com/office/drawing/2014/main" id="{33C7E71D-A63D-939E-1C11-175C0AA82AF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70162" y="5579759"/>
            <a:ext cx="581573" cy="581573"/>
          </a:xfrm>
          <a:prstGeom prst="rect">
            <a:avLst/>
          </a:prstGeom>
        </p:spPr>
      </p:pic>
      <p:pic>
        <p:nvPicPr>
          <p:cNvPr id="54" name="Graphic 53" descr="Checklist with solid fill">
            <a:extLst>
              <a:ext uri="{FF2B5EF4-FFF2-40B4-BE49-F238E27FC236}">
                <a16:creationId xmlns:a16="http://schemas.microsoft.com/office/drawing/2014/main" id="{05E1A23C-5DF9-C4F5-90EE-0ADF0A66A00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94089" y="5521177"/>
            <a:ext cx="682961" cy="682961"/>
          </a:xfrm>
          <a:prstGeom prst="rect">
            <a:avLst/>
          </a:prstGeom>
        </p:spPr>
      </p:pic>
      <p:sp>
        <p:nvSpPr>
          <p:cNvPr id="55" name="Rectangle 54">
            <a:extLst>
              <a:ext uri="{FF2B5EF4-FFF2-40B4-BE49-F238E27FC236}">
                <a16:creationId xmlns:a16="http://schemas.microsoft.com/office/drawing/2014/main" id="{0DACE58D-99C3-E5BB-73A0-8428B1710B5A}"/>
              </a:ext>
            </a:extLst>
          </p:cNvPr>
          <p:cNvSpPr/>
          <p:nvPr/>
        </p:nvSpPr>
        <p:spPr>
          <a:xfrm>
            <a:off x="863959"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6" name="Rectangle 55">
            <a:extLst>
              <a:ext uri="{FF2B5EF4-FFF2-40B4-BE49-F238E27FC236}">
                <a16:creationId xmlns:a16="http://schemas.microsoft.com/office/drawing/2014/main" id="{6EF299EE-BBBB-9B92-A785-9BBF598BEAAE}"/>
              </a:ext>
            </a:extLst>
          </p:cNvPr>
          <p:cNvSpPr/>
          <p:nvPr/>
        </p:nvSpPr>
        <p:spPr>
          <a:xfrm>
            <a:off x="1248938"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7" name="Rectangle 56">
            <a:extLst>
              <a:ext uri="{FF2B5EF4-FFF2-40B4-BE49-F238E27FC236}">
                <a16:creationId xmlns:a16="http://schemas.microsoft.com/office/drawing/2014/main" id="{176DDB36-3829-C962-9EFA-B3F7F92F8A81}"/>
              </a:ext>
            </a:extLst>
          </p:cNvPr>
          <p:cNvSpPr/>
          <p:nvPr/>
        </p:nvSpPr>
        <p:spPr>
          <a:xfrm>
            <a:off x="1633916"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8" name="Rectangle 57">
            <a:extLst>
              <a:ext uri="{FF2B5EF4-FFF2-40B4-BE49-F238E27FC236}">
                <a16:creationId xmlns:a16="http://schemas.microsoft.com/office/drawing/2014/main" id="{5DC45BDF-BC33-4B2C-F4C2-78E92F688734}"/>
              </a:ext>
            </a:extLst>
          </p:cNvPr>
          <p:cNvSpPr/>
          <p:nvPr/>
        </p:nvSpPr>
        <p:spPr>
          <a:xfrm>
            <a:off x="3947719"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9" name="Rectangle 58">
            <a:extLst>
              <a:ext uri="{FF2B5EF4-FFF2-40B4-BE49-F238E27FC236}">
                <a16:creationId xmlns:a16="http://schemas.microsoft.com/office/drawing/2014/main" id="{FB5ACDE1-A2D5-8CAA-1418-183E3C1DB9A6}"/>
              </a:ext>
            </a:extLst>
          </p:cNvPr>
          <p:cNvSpPr/>
          <p:nvPr/>
        </p:nvSpPr>
        <p:spPr>
          <a:xfrm>
            <a:off x="4332698"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0" name="Rectangle 59">
            <a:extLst>
              <a:ext uri="{FF2B5EF4-FFF2-40B4-BE49-F238E27FC236}">
                <a16:creationId xmlns:a16="http://schemas.microsoft.com/office/drawing/2014/main" id="{7DB6823E-0F51-B10F-30FA-1FE83902BDCD}"/>
              </a:ext>
            </a:extLst>
          </p:cNvPr>
          <p:cNvSpPr/>
          <p:nvPr/>
        </p:nvSpPr>
        <p:spPr>
          <a:xfrm>
            <a:off x="4717676"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 name="TextBox 1">
            <a:extLst>
              <a:ext uri="{FF2B5EF4-FFF2-40B4-BE49-F238E27FC236}">
                <a16:creationId xmlns:a16="http://schemas.microsoft.com/office/drawing/2014/main" id="{3BE79CA2-7A3D-3867-0617-B73F13E72B21}"/>
              </a:ext>
            </a:extLst>
          </p:cNvPr>
          <p:cNvSpPr txBox="1"/>
          <p:nvPr/>
        </p:nvSpPr>
        <p:spPr>
          <a:xfrm>
            <a:off x="10368915" y="6230159"/>
            <a:ext cx="1514475" cy="246221"/>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Retrospective</a:t>
            </a:r>
          </a:p>
        </p:txBody>
      </p:sp>
    </p:spTree>
    <p:extLst>
      <p:ext uri="{BB962C8B-B14F-4D97-AF65-F5344CB8AC3E}">
        <p14:creationId xmlns:p14="http://schemas.microsoft.com/office/powerpoint/2010/main" val="11612649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Dashboard (Template #2)</a:t>
            </a:r>
            <a:br>
              <a:rPr lang="en-US" sz="2400" kern="0" dirty="0"/>
            </a:br>
            <a:r>
              <a:rPr lang="en-US" sz="2400" b="0" kern="0" dirty="0"/>
              <a:t>Project Name: Insert your own text</a:t>
            </a:r>
            <a:br>
              <a:rPr lang="en-US" sz="2400" b="0" kern="0" dirty="0"/>
            </a:br>
            <a:r>
              <a:rPr lang="en-US" sz="2400" b="0" kern="0" dirty="0"/>
              <a:t>Project Manager: Insert your own tex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pSp>
        <p:nvGrpSpPr>
          <p:cNvPr id="5" name="Group 4">
            <a:extLst>
              <a:ext uri="{FF2B5EF4-FFF2-40B4-BE49-F238E27FC236}">
                <a16:creationId xmlns:a16="http://schemas.microsoft.com/office/drawing/2014/main" id="{511B58E3-8C09-4BE8-A4B3-7E7D212FEF42}"/>
              </a:ext>
            </a:extLst>
          </p:cNvPr>
          <p:cNvGrpSpPr/>
          <p:nvPr/>
        </p:nvGrpSpPr>
        <p:grpSpPr>
          <a:xfrm>
            <a:off x="2018904" y="1824249"/>
            <a:ext cx="376852" cy="841593"/>
            <a:chOff x="2018904" y="2596899"/>
            <a:chExt cx="376852" cy="841593"/>
          </a:xfrm>
          <a:effectLst/>
        </p:grpSpPr>
        <p:sp>
          <p:nvSpPr>
            <p:cNvPr id="20" name="Rounded Rectangle 37">
              <a:extLst>
                <a:ext uri="{FF2B5EF4-FFF2-40B4-BE49-F238E27FC236}">
                  <a16:creationId xmlns:a16="http://schemas.microsoft.com/office/drawing/2014/main" id="{8A8CD0DD-0F4F-467E-8880-B5E91DEDB908}"/>
                </a:ext>
              </a:extLst>
            </p:cNvPr>
            <p:cNvSpPr/>
            <p:nvPr/>
          </p:nvSpPr>
          <p:spPr bwMode="auto">
            <a:xfrm>
              <a:off x="2018904" y="2596899"/>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23" name="Oval 22">
              <a:extLst>
                <a:ext uri="{FF2B5EF4-FFF2-40B4-BE49-F238E27FC236}">
                  <a16:creationId xmlns:a16="http://schemas.microsoft.com/office/drawing/2014/main" id="{FF33BA6D-E5D8-438E-991B-1C87146228DD}"/>
                </a:ext>
              </a:extLst>
            </p:cNvPr>
            <p:cNvSpPr/>
            <p:nvPr/>
          </p:nvSpPr>
          <p:spPr bwMode="auto">
            <a:xfrm>
              <a:off x="2127527" y="2710580"/>
              <a:ext cx="161066" cy="161066"/>
            </a:xfrm>
            <a:prstGeom prst="ellipse">
              <a:avLst/>
            </a:prstGeom>
            <a:solidFill>
              <a:srgbClr val="C0000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25" name="Oval 24">
              <a:extLst>
                <a:ext uri="{FF2B5EF4-FFF2-40B4-BE49-F238E27FC236}">
                  <a16:creationId xmlns:a16="http://schemas.microsoft.com/office/drawing/2014/main" id="{12DAA9DE-167A-4BB8-978F-E79525A3320D}"/>
                </a:ext>
              </a:extLst>
            </p:cNvPr>
            <p:cNvSpPr/>
            <p:nvPr/>
          </p:nvSpPr>
          <p:spPr bwMode="auto">
            <a:xfrm>
              <a:off x="2127527" y="2937163"/>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26" name="Oval 25">
              <a:extLst>
                <a:ext uri="{FF2B5EF4-FFF2-40B4-BE49-F238E27FC236}">
                  <a16:creationId xmlns:a16="http://schemas.microsoft.com/office/drawing/2014/main" id="{E1C9B5F9-69EC-490B-B162-EF3C212BE806}"/>
                </a:ext>
              </a:extLst>
            </p:cNvPr>
            <p:cNvSpPr/>
            <p:nvPr/>
          </p:nvSpPr>
          <p:spPr bwMode="auto">
            <a:xfrm>
              <a:off x="2127527" y="3163746"/>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grpSp>
        <p:nvGrpSpPr>
          <p:cNvPr id="6" name="Group 5">
            <a:extLst>
              <a:ext uri="{FF2B5EF4-FFF2-40B4-BE49-F238E27FC236}">
                <a16:creationId xmlns:a16="http://schemas.microsoft.com/office/drawing/2014/main" id="{D2FCCB81-22DE-4B7B-BA3B-DEDD9F9D77AF}"/>
              </a:ext>
            </a:extLst>
          </p:cNvPr>
          <p:cNvGrpSpPr/>
          <p:nvPr/>
        </p:nvGrpSpPr>
        <p:grpSpPr>
          <a:xfrm>
            <a:off x="2018904" y="3087947"/>
            <a:ext cx="376852" cy="841593"/>
            <a:chOff x="2018904" y="3536449"/>
            <a:chExt cx="376852" cy="841593"/>
          </a:xfrm>
        </p:grpSpPr>
        <p:sp>
          <p:nvSpPr>
            <p:cNvPr id="29" name="Rounded Rectangle 43">
              <a:extLst>
                <a:ext uri="{FF2B5EF4-FFF2-40B4-BE49-F238E27FC236}">
                  <a16:creationId xmlns:a16="http://schemas.microsoft.com/office/drawing/2014/main" id="{04B682A1-9665-4E41-B56B-456FB96A6B1C}"/>
                </a:ext>
              </a:extLst>
            </p:cNvPr>
            <p:cNvSpPr/>
            <p:nvPr/>
          </p:nvSpPr>
          <p:spPr bwMode="auto">
            <a:xfrm>
              <a:off x="2018904" y="3536449"/>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31" name="Oval 30">
              <a:extLst>
                <a:ext uri="{FF2B5EF4-FFF2-40B4-BE49-F238E27FC236}">
                  <a16:creationId xmlns:a16="http://schemas.microsoft.com/office/drawing/2014/main" id="{D919269F-1476-4443-904A-A012EE496DA1}"/>
                </a:ext>
              </a:extLst>
            </p:cNvPr>
            <p:cNvSpPr/>
            <p:nvPr/>
          </p:nvSpPr>
          <p:spPr bwMode="auto">
            <a:xfrm>
              <a:off x="2127527" y="3876712"/>
              <a:ext cx="161066" cy="161066"/>
            </a:xfrm>
            <a:prstGeom prst="ellipse">
              <a:avLst/>
            </a:prstGeom>
            <a:solidFill>
              <a:srgbClr val="FFC00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2" name="Oval 31">
              <a:extLst>
                <a:ext uri="{FF2B5EF4-FFF2-40B4-BE49-F238E27FC236}">
                  <a16:creationId xmlns:a16="http://schemas.microsoft.com/office/drawing/2014/main" id="{F0AF5E9B-DC77-4B7D-A1F4-3FC21886C926}"/>
                </a:ext>
              </a:extLst>
            </p:cNvPr>
            <p:cNvSpPr/>
            <p:nvPr/>
          </p:nvSpPr>
          <p:spPr bwMode="auto">
            <a:xfrm>
              <a:off x="2127527" y="4103295"/>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6" name="Oval 75">
              <a:extLst>
                <a:ext uri="{FF2B5EF4-FFF2-40B4-BE49-F238E27FC236}">
                  <a16:creationId xmlns:a16="http://schemas.microsoft.com/office/drawing/2014/main" id="{CCE4A014-8A63-4676-B6CB-6AFEE76783FD}"/>
                </a:ext>
              </a:extLst>
            </p:cNvPr>
            <p:cNvSpPr/>
            <p:nvPr/>
          </p:nvSpPr>
          <p:spPr bwMode="auto">
            <a:xfrm>
              <a:off x="2127527" y="3630347"/>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grpSp>
        <p:nvGrpSpPr>
          <p:cNvPr id="7" name="Group 6">
            <a:extLst>
              <a:ext uri="{FF2B5EF4-FFF2-40B4-BE49-F238E27FC236}">
                <a16:creationId xmlns:a16="http://schemas.microsoft.com/office/drawing/2014/main" id="{CF96A7D9-3F9F-437F-83F6-B19C6DDA5D42}"/>
              </a:ext>
            </a:extLst>
          </p:cNvPr>
          <p:cNvGrpSpPr/>
          <p:nvPr/>
        </p:nvGrpSpPr>
        <p:grpSpPr>
          <a:xfrm>
            <a:off x="2018904" y="4373978"/>
            <a:ext cx="376852" cy="841593"/>
            <a:chOff x="2018904" y="4492603"/>
            <a:chExt cx="376852" cy="841593"/>
          </a:xfrm>
        </p:grpSpPr>
        <p:sp>
          <p:nvSpPr>
            <p:cNvPr id="35" name="Rounded Rectangle 49">
              <a:extLst>
                <a:ext uri="{FF2B5EF4-FFF2-40B4-BE49-F238E27FC236}">
                  <a16:creationId xmlns:a16="http://schemas.microsoft.com/office/drawing/2014/main" id="{C0D0358E-5390-4A77-9158-BD8F7E7BD465}"/>
                </a:ext>
              </a:extLst>
            </p:cNvPr>
            <p:cNvSpPr/>
            <p:nvPr/>
          </p:nvSpPr>
          <p:spPr bwMode="auto">
            <a:xfrm>
              <a:off x="2018904" y="4492603"/>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36" name="Oval 35">
              <a:extLst>
                <a:ext uri="{FF2B5EF4-FFF2-40B4-BE49-F238E27FC236}">
                  <a16:creationId xmlns:a16="http://schemas.microsoft.com/office/drawing/2014/main" id="{7C361824-8AB1-45B9-A14F-68BB780F0256}"/>
                </a:ext>
              </a:extLst>
            </p:cNvPr>
            <p:cNvSpPr/>
            <p:nvPr/>
          </p:nvSpPr>
          <p:spPr bwMode="auto">
            <a:xfrm>
              <a:off x="2127527" y="4606284"/>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7" name="Oval 36">
              <a:extLst>
                <a:ext uri="{FF2B5EF4-FFF2-40B4-BE49-F238E27FC236}">
                  <a16:creationId xmlns:a16="http://schemas.microsoft.com/office/drawing/2014/main" id="{494294D8-0234-44DE-B54B-66D24A0607EF}"/>
                </a:ext>
              </a:extLst>
            </p:cNvPr>
            <p:cNvSpPr/>
            <p:nvPr/>
          </p:nvSpPr>
          <p:spPr bwMode="auto">
            <a:xfrm>
              <a:off x="2127527" y="4832867"/>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8" name="Oval 37">
              <a:extLst>
                <a:ext uri="{FF2B5EF4-FFF2-40B4-BE49-F238E27FC236}">
                  <a16:creationId xmlns:a16="http://schemas.microsoft.com/office/drawing/2014/main" id="{7B472CC2-38A2-4E17-A401-1A109C96AF95}"/>
                </a:ext>
              </a:extLst>
            </p:cNvPr>
            <p:cNvSpPr/>
            <p:nvPr/>
          </p:nvSpPr>
          <p:spPr bwMode="auto">
            <a:xfrm>
              <a:off x="2127527" y="5059450"/>
              <a:ext cx="161066" cy="161066"/>
            </a:xfrm>
            <a:prstGeom prst="ellipse">
              <a:avLst/>
            </a:prstGeom>
            <a:solidFill>
              <a:srgbClr val="92D05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sp>
        <p:nvSpPr>
          <p:cNvPr id="19" name="Rounded Rectangle 36">
            <a:extLst>
              <a:ext uri="{FF2B5EF4-FFF2-40B4-BE49-F238E27FC236}">
                <a16:creationId xmlns:a16="http://schemas.microsoft.com/office/drawing/2014/main" id="{EE8DEC52-05EF-4995-880E-7F6E5431CF2F}"/>
              </a:ext>
            </a:extLst>
          </p:cNvPr>
          <p:cNvSpPr/>
          <p:nvPr/>
        </p:nvSpPr>
        <p:spPr bwMode="auto">
          <a:xfrm>
            <a:off x="593187" y="1668388"/>
            <a:ext cx="1336562" cy="1116078"/>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Time / Deadlines</a:t>
            </a:r>
          </a:p>
        </p:txBody>
      </p:sp>
      <p:sp>
        <p:nvSpPr>
          <p:cNvPr id="18" name="Rounded Rectangle 35">
            <a:extLst>
              <a:ext uri="{FF2B5EF4-FFF2-40B4-BE49-F238E27FC236}">
                <a16:creationId xmlns:a16="http://schemas.microsoft.com/office/drawing/2014/main" id="{3523E29F-746F-488B-9C02-F08E731AFED6}"/>
              </a:ext>
            </a:extLst>
          </p:cNvPr>
          <p:cNvSpPr/>
          <p:nvPr/>
        </p:nvSpPr>
        <p:spPr bwMode="auto">
          <a:xfrm>
            <a:off x="2504380" y="1668388"/>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27" name="Rounded Rectangle 41">
            <a:extLst>
              <a:ext uri="{FF2B5EF4-FFF2-40B4-BE49-F238E27FC236}">
                <a16:creationId xmlns:a16="http://schemas.microsoft.com/office/drawing/2014/main" id="{46F75D06-F49F-4D05-9FF0-24F3DB5CB73D}"/>
              </a:ext>
            </a:extLst>
          </p:cNvPr>
          <p:cNvSpPr/>
          <p:nvPr/>
        </p:nvSpPr>
        <p:spPr bwMode="auto">
          <a:xfrm>
            <a:off x="2504380" y="2932087"/>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28" name="Rounded Rectangle 42">
            <a:extLst>
              <a:ext uri="{FF2B5EF4-FFF2-40B4-BE49-F238E27FC236}">
                <a16:creationId xmlns:a16="http://schemas.microsoft.com/office/drawing/2014/main" id="{5DC11E32-9310-4B73-A2A7-BFC8FC639A5E}"/>
              </a:ext>
            </a:extLst>
          </p:cNvPr>
          <p:cNvSpPr/>
          <p:nvPr/>
        </p:nvSpPr>
        <p:spPr bwMode="auto">
          <a:xfrm>
            <a:off x="593187" y="2932086"/>
            <a:ext cx="1336562" cy="1116078"/>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ost / Budget</a:t>
            </a:r>
          </a:p>
        </p:txBody>
      </p:sp>
      <p:sp>
        <p:nvSpPr>
          <p:cNvPr id="33" name="Rounded Rectangle 47">
            <a:extLst>
              <a:ext uri="{FF2B5EF4-FFF2-40B4-BE49-F238E27FC236}">
                <a16:creationId xmlns:a16="http://schemas.microsoft.com/office/drawing/2014/main" id="{F794F2BF-B8F0-40BF-A1DD-5CA3942AD53C}"/>
              </a:ext>
            </a:extLst>
          </p:cNvPr>
          <p:cNvSpPr/>
          <p:nvPr/>
        </p:nvSpPr>
        <p:spPr bwMode="auto">
          <a:xfrm>
            <a:off x="2504380" y="4218118"/>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34" name="Rounded Rectangle 48">
            <a:extLst>
              <a:ext uri="{FF2B5EF4-FFF2-40B4-BE49-F238E27FC236}">
                <a16:creationId xmlns:a16="http://schemas.microsoft.com/office/drawing/2014/main" id="{78A11830-6C0C-4AC1-9B59-6E8783545D7C}"/>
              </a:ext>
            </a:extLst>
          </p:cNvPr>
          <p:cNvSpPr/>
          <p:nvPr/>
        </p:nvSpPr>
        <p:spPr bwMode="auto">
          <a:xfrm>
            <a:off x="593187" y="4218117"/>
            <a:ext cx="1336562" cy="1116078"/>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Requirement / Quality</a:t>
            </a:r>
          </a:p>
        </p:txBody>
      </p:sp>
      <p:sp>
        <p:nvSpPr>
          <p:cNvPr id="39" name="AutoShape 72">
            <a:extLst>
              <a:ext uri="{FF2B5EF4-FFF2-40B4-BE49-F238E27FC236}">
                <a16:creationId xmlns:a16="http://schemas.microsoft.com/office/drawing/2014/main" id="{DFE9C4F3-025A-4F59-8772-69727339B702}"/>
              </a:ext>
            </a:extLst>
          </p:cNvPr>
          <p:cNvSpPr>
            <a:spLocks noChangeArrowheads="1"/>
          </p:cNvSpPr>
          <p:nvPr/>
        </p:nvSpPr>
        <p:spPr bwMode="auto">
          <a:xfrm>
            <a:off x="619793" y="5468527"/>
            <a:ext cx="3530180" cy="281070"/>
          </a:xfrm>
          <a:prstGeom prst="chevron">
            <a:avLst>
              <a:gd name="adj" fmla="val 33979"/>
            </a:avLst>
          </a:prstGeom>
          <a:solidFill>
            <a:schemeClr val="tx2"/>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Key Past Milestones</a:t>
            </a:r>
          </a:p>
        </p:txBody>
      </p:sp>
      <p:sp>
        <p:nvSpPr>
          <p:cNvPr id="40" name="AutoShape 72">
            <a:extLst>
              <a:ext uri="{FF2B5EF4-FFF2-40B4-BE49-F238E27FC236}">
                <a16:creationId xmlns:a16="http://schemas.microsoft.com/office/drawing/2014/main" id="{C6B5B29E-3534-44E0-AC5F-7279C21A9AA5}"/>
              </a:ext>
            </a:extLst>
          </p:cNvPr>
          <p:cNvSpPr>
            <a:spLocks noChangeArrowheads="1"/>
          </p:cNvSpPr>
          <p:nvPr/>
        </p:nvSpPr>
        <p:spPr bwMode="auto">
          <a:xfrm>
            <a:off x="4318267" y="5468527"/>
            <a:ext cx="3530180" cy="281070"/>
          </a:xfrm>
          <a:prstGeom prst="chevron">
            <a:avLst>
              <a:gd name="adj" fmla="val 33979"/>
            </a:avLst>
          </a:prstGeom>
          <a:solidFill>
            <a:schemeClr val="tx2"/>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Key Current Milestones</a:t>
            </a:r>
          </a:p>
        </p:txBody>
      </p:sp>
      <p:sp>
        <p:nvSpPr>
          <p:cNvPr id="41" name="AutoShape 72">
            <a:extLst>
              <a:ext uri="{FF2B5EF4-FFF2-40B4-BE49-F238E27FC236}">
                <a16:creationId xmlns:a16="http://schemas.microsoft.com/office/drawing/2014/main" id="{049D38CA-5567-49A6-964F-22DAFD60373E}"/>
              </a:ext>
            </a:extLst>
          </p:cNvPr>
          <p:cNvSpPr>
            <a:spLocks noChangeArrowheads="1"/>
          </p:cNvSpPr>
          <p:nvPr/>
        </p:nvSpPr>
        <p:spPr bwMode="auto">
          <a:xfrm>
            <a:off x="8027689" y="5468527"/>
            <a:ext cx="3530180" cy="281070"/>
          </a:xfrm>
          <a:prstGeom prst="chevron">
            <a:avLst>
              <a:gd name="adj" fmla="val 33979"/>
            </a:avLst>
          </a:prstGeom>
          <a:solidFill>
            <a:schemeClr val="tx2"/>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Key Future Milestones</a:t>
            </a:r>
          </a:p>
        </p:txBody>
      </p:sp>
      <p:sp>
        <p:nvSpPr>
          <p:cNvPr id="42" name="Rectangle 41">
            <a:extLst>
              <a:ext uri="{FF2B5EF4-FFF2-40B4-BE49-F238E27FC236}">
                <a16:creationId xmlns:a16="http://schemas.microsoft.com/office/drawing/2014/main" id="{B9C0E551-DA67-40A2-A521-DE24F2E2670E}"/>
              </a:ext>
            </a:extLst>
          </p:cNvPr>
          <p:cNvSpPr/>
          <p:nvPr/>
        </p:nvSpPr>
        <p:spPr bwMode="auto">
          <a:xfrm>
            <a:off x="599328" y="5833700"/>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3" name="Straight Connector 42">
            <a:extLst>
              <a:ext uri="{FF2B5EF4-FFF2-40B4-BE49-F238E27FC236}">
                <a16:creationId xmlns:a16="http://schemas.microsoft.com/office/drawing/2014/main" id="{1553BA78-6971-4156-B147-913085E1B994}"/>
              </a:ext>
            </a:extLst>
          </p:cNvPr>
          <p:cNvCxnSpPr/>
          <p:nvPr/>
        </p:nvCxnSpPr>
        <p:spPr>
          <a:xfrm>
            <a:off x="910178" y="6010124"/>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8A2A253-53CD-4067-A76A-641F337C0CF5}"/>
              </a:ext>
            </a:extLst>
          </p:cNvPr>
          <p:cNvSpPr txBox="1"/>
          <p:nvPr/>
        </p:nvSpPr>
        <p:spPr>
          <a:xfrm>
            <a:off x="787761" y="5803220"/>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45" name="Rectangle 44">
            <a:extLst>
              <a:ext uri="{FF2B5EF4-FFF2-40B4-BE49-F238E27FC236}">
                <a16:creationId xmlns:a16="http://schemas.microsoft.com/office/drawing/2014/main" id="{70F2D2FD-38A2-41DD-A74B-FEB94B22E46F}"/>
              </a:ext>
            </a:extLst>
          </p:cNvPr>
          <p:cNvSpPr/>
          <p:nvPr/>
        </p:nvSpPr>
        <p:spPr bwMode="auto">
          <a:xfrm>
            <a:off x="599328" y="6050137"/>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6" name="Straight Connector 45">
            <a:extLst>
              <a:ext uri="{FF2B5EF4-FFF2-40B4-BE49-F238E27FC236}">
                <a16:creationId xmlns:a16="http://schemas.microsoft.com/office/drawing/2014/main" id="{60C59DC2-9B73-45DF-B824-10A559D8DD17}"/>
              </a:ext>
            </a:extLst>
          </p:cNvPr>
          <p:cNvCxnSpPr/>
          <p:nvPr/>
        </p:nvCxnSpPr>
        <p:spPr>
          <a:xfrm>
            <a:off x="910178" y="6226561"/>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B01AC71-FE07-4238-AD80-2EB8A331D499}"/>
              </a:ext>
            </a:extLst>
          </p:cNvPr>
          <p:cNvSpPr txBox="1"/>
          <p:nvPr/>
        </p:nvSpPr>
        <p:spPr>
          <a:xfrm>
            <a:off x="787761" y="6019657"/>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48" name="Rectangle 47">
            <a:extLst>
              <a:ext uri="{FF2B5EF4-FFF2-40B4-BE49-F238E27FC236}">
                <a16:creationId xmlns:a16="http://schemas.microsoft.com/office/drawing/2014/main" id="{6F413A98-5493-410C-A2A0-BA53FA8225A0}"/>
              </a:ext>
            </a:extLst>
          </p:cNvPr>
          <p:cNvSpPr/>
          <p:nvPr/>
        </p:nvSpPr>
        <p:spPr bwMode="auto">
          <a:xfrm>
            <a:off x="599328" y="6262575"/>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9" name="Straight Connector 48">
            <a:extLst>
              <a:ext uri="{FF2B5EF4-FFF2-40B4-BE49-F238E27FC236}">
                <a16:creationId xmlns:a16="http://schemas.microsoft.com/office/drawing/2014/main" id="{FC275C26-F1C5-42BC-8BC0-7082276597ED}"/>
              </a:ext>
            </a:extLst>
          </p:cNvPr>
          <p:cNvCxnSpPr/>
          <p:nvPr/>
        </p:nvCxnSpPr>
        <p:spPr>
          <a:xfrm>
            <a:off x="910178" y="6438999"/>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087B0B16-46E5-456A-9A05-72BF88F9C005}"/>
              </a:ext>
            </a:extLst>
          </p:cNvPr>
          <p:cNvSpPr txBox="1"/>
          <p:nvPr/>
        </p:nvSpPr>
        <p:spPr>
          <a:xfrm>
            <a:off x="787761" y="6232095"/>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1" name="Rectangle 50">
            <a:extLst>
              <a:ext uri="{FF2B5EF4-FFF2-40B4-BE49-F238E27FC236}">
                <a16:creationId xmlns:a16="http://schemas.microsoft.com/office/drawing/2014/main" id="{72B1157B-277E-4850-A1EF-CE3FED2D3F70}"/>
              </a:ext>
            </a:extLst>
          </p:cNvPr>
          <p:cNvSpPr/>
          <p:nvPr/>
        </p:nvSpPr>
        <p:spPr bwMode="auto">
          <a:xfrm>
            <a:off x="4325266" y="5833700"/>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2" name="Straight Connector 51">
            <a:extLst>
              <a:ext uri="{FF2B5EF4-FFF2-40B4-BE49-F238E27FC236}">
                <a16:creationId xmlns:a16="http://schemas.microsoft.com/office/drawing/2014/main" id="{2CD6E453-A981-4EF7-8732-C91AFB549DF6}"/>
              </a:ext>
            </a:extLst>
          </p:cNvPr>
          <p:cNvCxnSpPr/>
          <p:nvPr/>
        </p:nvCxnSpPr>
        <p:spPr>
          <a:xfrm>
            <a:off x="4636116" y="6010124"/>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038D4FF0-D1DD-4D6F-9BC8-CF8B20E73B62}"/>
              </a:ext>
            </a:extLst>
          </p:cNvPr>
          <p:cNvSpPr txBox="1"/>
          <p:nvPr/>
        </p:nvSpPr>
        <p:spPr>
          <a:xfrm>
            <a:off x="4513699" y="5803220"/>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4" name="Rectangle 53">
            <a:extLst>
              <a:ext uri="{FF2B5EF4-FFF2-40B4-BE49-F238E27FC236}">
                <a16:creationId xmlns:a16="http://schemas.microsoft.com/office/drawing/2014/main" id="{9D306D9C-6CA9-4F7E-9E70-78D4557B3264}"/>
              </a:ext>
            </a:extLst>
          </p:cNvPr>
          <p:cNvSpPr/>
          <p:nvPr/>
        </p:nvSpPr>
        <p:spPr bwMode="auto">
          <a:xfrm>
            <a:off x="4325266" y="6050137"/>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5" name="Straight Connector 54">
            <a:extLst>
              <a:ext uri="{FF2B5EF4-FFF2-40B4-BE49-F238E27FC236}">
                <a16:creationId xmlns:a16="http://schemas.microsoft.com/office/drawing/2014/main" id="{DB305C7B-E273-4ACA-B603-3E498EE4A9B3}"/>
              </a:ext>
            </a:extLst>
          </p:cNvPr>
          <p:cNvCxnSpPr/>
          <p:nvPr/>
        </p:nvCxnSpPr>
        <p:spPr>
          <a:xfrm>
            <a:off x="4636116" y="6226561"/>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D6E8D20-4F94-4ACF-A9DA-EFD5FD98E2B6}"/>
              </a:ext>
            </a:extLst>
          </p:cNvPr>
          <p:cNvSpPr txBox="1"/>
          <p:nvPr/>
        </p:nvSpPr>
        <p:spPr>
          <a:xfrm>
            <a:off x="4513699" y="6019657"/>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7" name="Rectangle 56">
            <a:extLst>
              <a:ext uri="{FF2B5EF4-FFF2-40B4-BE49-F238E27FC236}">
                <a16:creationId xmlns:a16="http://schemas.microsoft.com/office/drawing/2014/main" id="{912C7291-9423-4A59-AD74-F2499DFECD03}"/>
              </a:ext>
            </a:extLst>
          </p:cNvPr>
          <p:cNvSpPr/>
          <p:nvPr/>
        </p:nvSpPr>
        <p:spPr bwMode="auto">
          <a:xfrm>
            <a:off x="4325266" y="6262575"/>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8" name="Straight Connector 57">
            <a:extLst>
              <a:ext uri="{FF2B5EF4-FFF2-40B4-BE49-F238E27FC236}">
                <a16:creationId xmlns:a16="http://schemas.microsoft.com/office/drawing/2014/main" id="{7DE73161-3023-4961-81FE-10CC4ED901C3}"/>
              </a:ext>
            </a:extLst>
          </p:cNvPr>
          <p:cNvCxnSpPr/>
          <p:nvPr/>
        </p:nvCxnSpPr>
        <p:spPr>
          <a:xfrm>
            <a:off x="4636116" y="6438999"/>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EA4B4D46-CB4A-41C3-BB0B-3CD9029D5EE5}"/>
              </a:ext>
            </a:extLst>
          </p:cNvPr>
          <p:cNvSpPr txBox="1"/>
          <p:nvPr/>
        </p:nvSpPr>
        <p:spPr>
          <a:xfrm>
            <a:off x="4513699" y="6232095"/>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0" name="Rectangle 59">
            <a:extLst>
              <a:ext uri="{FF2B5EF4-FFF2-40B4-BE49-F238E27FC236}">
                <a16:creationId xmlns:a16="http://schemas.microsoft.com/office/drawing/2014/main" id="{0EE79B8A-EE48-4877-B16A-D6BB3400F36F}"/>
              </a:ext>
            </a:extLst>
          </p:cNvPr>
          <p:cNvSpPr/>
          <p:nvPr/>
        </p:nvSpPr>
        <p:spPr bwMode="auto">
          <a:xfrm>
            <a:off x="8034852" y="5833700"/>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1" name="Straight Connector 60">
            <a:extLst>
              <a:ext uri="{FF2B5EF4-FFF2-40B4-BE49-F238E27FC236}">
                <a16:creationId xmlns:a16="http://schemas.microsoft.com/office/drawing/2014/main" id="{6942A04C-CE84-4CC0-B25E-CC24D7E184A6}"/>
              </a:ext>
            </a:extLst>
          </p:cNvPr>
          <p:cNvCxnSpPr/>
          <p:nvPr/>
        </p:nvCxnSpPr>
        <p:spPr>
          <a:xfrm>
            <a:off x="8345702" y="6010124"/>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B027AD2-B54C-4776-9A63-7857E59F8BEE}"/>
              </a:ext>
            </a:extLst>
          </p:cNvPr>
          <p:cNvSpPr txBox="1"/>
          <p:nvPr/>
        </p:nvSpPr>
        <p:spPr>
          <a:xfrm>
            <a:off x="8223285" y="5803220"/>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3" name="Rectangle 62">
            <a:extLst>
              <a:ext uri="{FF2B5EF4-FFF2-40B4-BE49-F238E27FC236}">
                <a16:creationId xmlns:a16="http://schemas.microsoft.com/office/drawing/2014/main" id="{8155D3D0-CBBF-4171-A8C5-57E3D5D18562}"/>
              </a:ext>
            </a:extLst>
          </p:cNvPr>
          <p:cNvSpPr/>
          <p:nvPr/>
        </p:nvSpPr>
        <p:spPr bwMode="auto">
          <a:xfrm>
            <a:off x="8034852" y="6050137"/>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4" name="Straight Connector 63">
            <a:extLst>
              <a:ext uri="{FF2B5EF4-FFF2-40B4-BE49-F238E27FC236}">
                <a16:creationId xmlns:a16="http://schemas.microsoft.com/office/drawing/2014/main" id="{6C1B94AE-E03C-4BB6-83C3-DBC289BC2723}"/>
              </a:ext>
            </a:extLst>
          </p:cNvPr>
          <p:cNvCxnSpPr/>
          <p:nvPr/>
        </p:nvCxnSpPr>
        <p:spPr>
          <a:xfrm>
            <a:off x="8345702" y="6226561"/>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31D3982D-A81C-43A0-941C-AD84CD68C2A7}"/>
              </a:ext>
            </a:extLst>
          </p:cNvPr>
          <p:cNvSpPr txBox="1"/>
          <p:nvPr/>
        </p:nvSpPr>
        <p:spPr>
          <a:xfrm>
            <a:off x="8223285" y="6019657"/>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6" name="Rectangle 65">
            <a:extLst>
              <a:ext uri="{FF2B5EF4-FFF2-40B4-BE49-F238E27FC236}">
                <a16:creationId xmlns:a16="http://schemas.microsoft.com/office/drawing/2014/main" id="{83E024B8-7DF6-492A-837B-4C88904979F8}"/>
              </a:ext>
            </a:extLst>
          </p:cNvPr>
          <p:cNvSpPr/>
          <p:nvPr/>
        </p:nvSpPr>
        <p:spPr bwMode="auto">
          <a:xfrm>
            <a:off x="8034852" y="6262575"/>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7" name="Straight Connector 66">
            <a:extLst>
              <a:ext uri="{FF2B5EF4-FFF2-40B4-BE49-F238E27FC236}">
                <a16:creationId xmlns:a16="http://schemas.microsoft.com/office/drawing/2014/main" id="{59DFC091-70DB-449C-8D7B-E295097F8591}"/>
              </a:ext>
            </a:extLst>
          </p:cNvPr>
          <p:cNvCxnSpPr/>
          <p:nvPr/>
        </p:nvCxnSpPr>
        <p:spPr>
          <a:xfrm>
            <a:off x="8345702" y="6438999"/>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AE9452F1-9EB3-49B9-B936-DBFD04E22145}"/>
              </a:ext>
            </a:extLst>
          </p:cNvPr>
          <p:cNvSpPr txBox="1"/>
          <p:nvPr/>
        </p:nvSpPr>
        <p:spPr>
          <a:xfrm>
            <a:off x="8223285" y="6232095"/>
            <a:ext cx="3215991" cy="216851"/>
          </a:xfrm>
          <a:prstGeom prst="rect">
            <a:avLst/>
          </a:prstGeom>
          <a:noFill/>
        </p:spPr>
        <p:txBody>
          <a:bodyPr wrap="square" rtlCol="0">
            <a:spAutoFit/>
          </a:bodyPr>
          <a:lstStyle/>
          <a:p>
            <a:r>
              <a:rPr lang="en-US" sz="1000" dirty="0">
                <a:solidFill>
                  <a:schemeClr val="tx2"/>
                </a:solidFill>
              </a:rPr>
              <a:t>Insert Milestone</a:t>
            </a:r>
          </a:p>
        </p:txBody>
      </p:sp>
      <p:grpSp>
        <p:nvGrpSpPr>
          <p:cNvPr id="69" name="Group 68">
            <a:extLst>
              <a:ext uri="{FF2B5EF4-FFF2-40B4-BE49-F238E27FC236}">
                <a16:creationId xmlns:a16="http://schemas.microsoft.com/office/drawing/2014/main" id="{58551590-A54E-4D8B-B16C-1C8A3CF42B5E}"/>
              </a:ext>
            </a:extLst>
          </p:cNvPr>
          <p:cNvGrpSpPr/>
          <p:nvPr/>
        </p:nvGrpSpPr>
        <p:grpSpPr>
          <a:xfrm>
            <a:off x="10418592" y="664907"/>
            <a:ext cx="1171062" cy="703701"/>
            <a:chOff x="7712314" y="129204"/>
            <a:chExt cx="1171062" cy="703701"/>
          </a:xfrm>
        </p:grpSpPr>
        <p:sp>
          <p:nvSpPr>
            <p:cNvPr id="70" name="Rounded Rectangle 18">
              <a:extLst>
                <a:ext uri="{FF2B5EF4-FFF2-40B4-BE49-F238E27FC236}">
                  <a16:creationId xmlns:a16="http://schemas.microsoft.com/office/drawing/2014/main" id="{BA1D5336-D906-486D-89EB-9AEA28B74CA7}"/>
                </a:ext>
              </a:extLst>
            </p:cNvPr>
            <p:cNvSpPr/>
            <p:nvPr/>
          </p:nvSpPr>
          <p:spPr bwMode="auto">
            <a:xfrm>
              <a:off x="7712314" y="129205"/>
              <a:ext cx="766351" cy="703700"/>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Overall Status</a:t>
              </a:r>
            </a:p>
          </p:txBody>
        </p:sp>
        <p:grpSp>
          <p:nvGrpSpPr>
            <p:cNvPr id="71" name="Group 70">
              <a:extLst>
                <a:ext uri="{FF2B5EF4-FFF2-40B4-BE49-F238E27FC236}">
                  <a16:creationId xmlns:a16="http://schemas.microsoft.com/office/drawing/2014/main" id="{6FD11813-6ABF-4982-9FC9-D3F64AB67E87}"/>
                </a:ext>
              </a:extLst>
            </p:cNvPr>
            <p:cNvGrpSpPr/>
            <p:nvPr/>
          </p:nvGrpSpPr>
          <p:grpSpPr>
            <a:xfrm>
              <a:off x="8568270" y="129204"/>
              <a:ext cx="315106" cy="703700"/>
              <a:chOff x="1447800" y="1066800"/>
              <a:chExt cx="427892" cy="955577"/>
            </a:xfrm>
          </p:grpSpPr>
          <p:sp>
            <p:nvSpPr>
              <p:cNvPr id="72" name="Rounded Rectangle 31">
                <a:extLst>
                  <a:ext uri="{FF2B5EF4-FFF2-40B4-BE49-F238E27FC236}">
                    <a16:creationId xmlns:a16="http://schemas.microsoft.com/office/drawing/2014/main" id="{F80CB5F9-209E-47AB-83BC-AAB15FAC04A5}"/>
                  </a:ext>
                </a:extLst>
              </p:cNvPr>
              <p:cNvSpPr/>
              <p:nvPr/>
            </p:nvSpPr>
            <p:spPr bwMode="auto">
              <a:xfrm>
                <a:off x="1447800" y="1066800"/>
                <a:ext cx="427892" cy="955577"/>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73" name="Oval 72">
                <a:extLst>
                  <a:ext uri="{FF2B5EF4-FFF2-40B4-BE49-F238E27FC236}">
                    <a16:creationId xmlns:a16="http://schemas.microsoft.com/office/drawing/2014/main" id="{06149A90-5DBF-4309-875C-18EA5EDEACBB}"/>
                  </a:ext>
                </a:extLst>
              </p:cNvPr>
              <p:cNvSpPr/>
              <p:nvPr/>
            </p:nvSpPr>
            <p:spPr bwMode="auto">
              <a:xfrm>
                <a:off x="1571135" y="1195877"/>
                <a:ext cx="182880" cy="182880"/>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4" name="Oval 73">
                <a:extLst>
                  <a:ext uri="{FF2B5EF4-FFF2-40B4-BE49-F238E27FC236}">
                    <a16:creationId xmlns:a16="http://schemas.microsoft.com/office/drawing/2014/main" id="{17F1BB3F-9EBB-4DE4-AF2E-5A685640153B}"/>
                  </a:ext>
                </a:extLst>
              </p:cNvPr>
              <p:cNvSpPr/>
              <p:nvPr/>
            </p:nvSpPr>
            <p:spPr bwMode="auto">
              <a:xfrm>
                <a:off x="1571135" y="1453148"/>
                <a:ext cx="182880" cy="182880"/>
              </a:xfrm>
              <a:prstGeom prst="ellipse">
                <a:avLst/>
              </a:prstGeom>
              <a:solidFill>
                <a:srgbClr val="FFC000"/>
              </a:solidFill>
              <a:ln/>
              <a:effectLst>
                <a:glow rad="50800">
                  <a:srgbClr val="FFC000">
                    <a:alpha val="60000"/>
                  </a:srgbClr>
                </a:glow>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5" name="Oval 74">
                <a:extLst>
                  <a:ext uri="{FF2B5EF4-FFF2-40B4-BE49-F238E27FC236}">
                    <a16:creationId xmlns:a16="http://schemas.microsoft.com/office/drawing/2014/main" id="{05EB4B7B-7417-4F70-B8B4-017536BEF027}"/>
                  </a:ext>
                </a:extLst>
              </p:cNvPr>
              <p:cNvSpPr/>
              <p:nvPr/>
            </p:nvSpPr>
            <p:spPr bwMode="auto">
              <a:xfrm>
                <a:off x="1571135" y="1710419"/>
                <a:ext cx="182880" cy="182880"/>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grpSp>
    </p:spTree>
    <p:extLst>
      <p:ext uri="{BB962C8B-B14F-4D97-AF65-F5344CB8AC3E}">
        <p14:creationId xmlns:p14="http://schemas.microsoft.com/office/powerpoint/2010/main" val="26010567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arking Lot</a:t>
            </a:r>
            <a:br>
              <a:rPr lang="en-US" sz="2400" kern="0" dirty="0"/>
            </a:br>
            <a:r>
              <a:rPr lang="en-US" sz="2400" b="0" kern="0" dirty="0"/>
              <a:t>Descrip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aphicFrame>
        <p:nvGraphicFramePr>
          <p:cNvPr id="9" name="Table 1">
            <a:extLst>
              <a:ext uri="{FF2B5EF4-FFF2-40B4-BE49-F238E27FC236}">
                <a16:creationId xmlns:a16="http://schemas.microsoft.com/office/drawing/2014/main" id="{778C61AC-F4FE-4165-B745-ACE0F9BD0A39}"/>
              </a:ext>
            </a:extLst>
          </p:cNvPr>
          <p:cNvGraphicFramePr>
            <a:graphicFrameLocks noGrp="1"/>
          </p:cNvGraphicFramePr>
          <p:nvPr/>
        </p:nvGraphicFramePr>
        <p:xfrm>
          <a:off x="616137" y="1822059"/>
          <a:ext cx="10971025" cy="4670812"/>
        </p:xfrm>
        <a:graphic>
          <a:graphicData uri="http://schemas.openxmlformats.org/drawingml/2006/table">
            <a:tbl>
              <a:tblPr firstRow="1" bandRow="1">
                <a:tableStyleId>{5C22544A-7EE6-4342-B048-85BDC9FD1C3A}</a:tableStyleId>
              </a:tblPr>
              <a:tblGrid>
                <a:gridCol w="2194205">
                  <a:extLst>
                    <a:ext uri="{9D8B030D-6E8A-4147-A177-3AD203B41FA5}">
                      <a16:colId xmlns:a16="http://schemas.microsoft.com/office/drawing/2014/main" val="2812679770"/>
                    </a:ext>
                  </a:extLst>
                </a:gridCol>
                <a:gridCol w="2194205">
                  <a:extLst>
                    <a:ext uri="{9D8B030D-6E8A-4147-A177-3AD203B41FA5}">
                      <a16:colId xmlns:a16="http://schemas.microsoft.com/office/drawing/2014/main" val="2852264056"/>
                    </a:ext>
                  </a:extLst>
                </a:gridCol>
                <a:gridCol w="2194205">
                  <a:extLst>
                    <a:ext uri="{9D8B030D-6E8A-4147-A177-3AD203B41FA5}">
                      <a16:colId xmlns:a16="http://schemas.microsoft.com/office/drawing/2014/main" val="937810905"/>
                    </a:ext>
                  </a:extLst>
                </a:gridCol>
                <a:gridCol w="2194205">
                  <a:extLst>
                    <a:ext uri="{9D8B030D-6E8A-4147-A177-3AD203B41FA5}">
                      <a16:colId xmlns:a16="http://schemas.microsoft.com/office/drawing/2014/main" val="3351594241"/>
                    </a:ext>
                  </a:extLst>
                </a:gridCol>
                <a:gridCol w="2194205">
                  <a:extLst>
                    <a:ext uri="{9D8B030D-6E8A-4147-A177-3AD203B41FA5}">
                      <a16:colId xmlns:a16="http://schemas.microsoft.com/office/drawing/2014/main" val="988125209"/>
                    </a:ext>
                  </a:extLst>
                </a:gridCol>
              </a:tblGrid>
              <a:tr h="398302">
                <a:tc>
                  <a:txBody>
                    <a:bodyPr/>
                    <a:lstStyle/>
                    <a:p>
                      <a:pPr marL="0" marR="0">
                        <a:lnSpc>
                          <a:spcPct val="130000"/>
                        </a:lnSpc>
                        <a:spcBef>
                          <a:spcPts val="400"/>
                        </a:spcBef>
                        <a:spcAft>
                          <a:spcPts val="400"/>
                        </a:spcAft>
                      </a:pPr>
                      <a:r>
                        <a:rPr lang="en-US" sz="1100" b="1" dirty="0">
                          <a:solidFill>
                            <a:srgbClr val="FFFFFF"/>
                          </a:solidFill>
                          <a:effectLst/>
                          <a:latin typeface="Arial" panose="020B0604020202020204" pitchFamily="34" charset="0"/>
                          <a:ea typeface="Arial" panose="020B0604020202020204" pitchFamily="34" charset="0"/>
                          <a:cs typeface="Times New Roman" panose="02020603050405020304" pitchFamily="18" charset="0"/>
                        </a:rPr>
                        <a:t>IDEA/REQUEST </a:t>
                      </a:r>
                      <a:endParaRPr lang="en-US" sz="1100" b="1" dirty="0">
                        <a:solidFill>
                          <a:srgbClr val="404040"/>
                        </a:solidFill>
                        <a:effectLst/>
                        <a:latin typeface="Arial" panose="020B0604020202020204" pitchFamily="34" charset="0"/>
                        <a:ea typeface="Arial" panose="020B0604020202020204" pitchFamily="34" charset="0"/>
                        <a:cs typeface="Times New Roman" panose="02020603050405020304" pitchFamily="18" charset="0"/>
                      </a:endParaRPr>
                    </a:p>
                  </a:txBody>
                  <a:tcPr marL="73025" marR="73025" marT="2730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marL="0" marR="0">
                        <a:lnSpc>
                          <a:spcPct val="130000"/>
                        </a:lnSpc>
                        <a:spcBef>
                          <a:spcPts val="400"/>
                        </a:spcBef>
                        <a:spcAft>
                          <a:spcPts val="400"/>
                        </a:spcAft>
                      </a:pPr>
                      <a:r>
                        <a:rPr lang="en-US" sz="1100" b="1" dirty="0">
                          <a:solidFill>
                            <a:srgbClr val="FFFFFF"/>
                          </a:solidFill>
                          <a:effectLst/>
                          <a:latin typeface="Arial" panose="020B0604020202020204" pitchFamily="34" charset="0"/>
                          <a:ea typeface="Arial" panose="020B0604020202020204" pitchFamily="34" charset="0"/>
                          <a:cs typeface="Times New Roman" panose="02020603050405020304" pitchFamily="18" charset="0"/>
                        </a:rPr>
                        <a:t>DELIVERABLE</a:t>
                      </a:r>
                      <a:endParaRPr lang="en-US" sz="1100" b="1" dirty="0">
                        <a:solidFill>
                          <a:srgbClr val="404040"/>
                        </a:solidFill>
                        <a:effectLst/>
                        <a:latin typeface="Arial" panose="020B0604020202020204" pitchFamily="34" charset="0"/>
                        <a:ea typeface="Arial" panose="020B0604020202020204" pitchFamily="34" charset="0"/>
                        <a:cs typeface="Times New Roman" panose="02020603050405020304" pitchFamily="18" charset="0"/>
                      </a:endParaRPr>
                    </a:p>
                  </a:txBody>
                  <a:tcPr marL="73025" marR="73025" marT="273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marL="0" marR="0">
                        <a:lnSpc>
                          <a:spcPct val="130000"/>
                        </a:lnSpc>
                        <a:spcBef>
                          <a:spcPts val="400"/>
                        </a:spcBef>
                        <a:spcAft>
                          <a:spcPts val="400"/>
                        </a:spcAft>
                      </a:pPr>
                      <a:r>
                        <a:rPr lang="en-US" sz="1100" b="1" dirty="0">
                          <a:solidFill>
                            <a:srgbClr val="FFFFFF"/>
                          </a:solidFill>
                          <a:effectLst/>
                          <a:latin typeface="Arial" panose="020B0604020202020204" pitchFamily="34" charset="0"/>
                          <a:ea typeface="Arial" panose="020B0604020202020204" pitchFamily="34" charset="0"/>
                          <a:cs typeface="Times New Roman" panose="02020603050405020304" pitchFamily="18" charset="0"/>
                        </a:rPr>
                        <a:t>TIMELINE</a:t>
                      </a:r>
                      <a:endParaRPr lang="en-US" sz="1100" b="1" dirty="0">
                        <a:solidFill>
                          <a:srgbClr val="404040"/>
                        </a:solidFill>
                        <a:effectLst/>
                        <a:latin typeface="Arial" panose="020B0604020202020204" pitchFamily="34" charset="0"/>
                        <a:ea typeface="Arial" panose="020B0604020202020204" pitchFamily="34" charset="0"/>
                        <a:cs typeface="Times New Roman" panose="02020603050405020304" pitchFamily="18" charset="0"/>
                      </a:endParaRPr>
                    </a:p>
                  </a:txBody>
                  <a:tcPr marL="73025" marR="73025" marT="273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marL="0" marR="0">
                        <a:lnSpc>
                          <a:spcPct val="130000"/>
                        </a:lnSpc>
                        <a:spcBef>
                          <a:spcPts val="400"/>
                        </a:spcBef>
                        <a:spcAft>
                          <a:spcPts val="400"/>
                        </a:spcAft>
                      </a:pPr>
                      <a:r>
                        <a:rPr lang="en-US" sz="1100" b="1" dirty="0">
                          <a:solidFill>
                            <a:srgbClr val="FFFFFF"/>
                          </a:solidFill>
                          <a:effectLst/>
                          <a:latin typeface="Arial" panose="020B0604020202020204" pitchFamily="34" charset="0"/>
                          <a:ea typeface="Arial" panose="020B0604020202020204" pitchFamily="34" charset="0"/>
                          <a:cs typeface="Times New Roman" panose="02020603050405020304" pitchFamily="18" charset="0"/>
                        </a:rPr>
                        <a:t>CONTACT PERSON</a:t>
                      </a:r>
                      <a:endParaRPr lang="en-US" sz="1100" b="1" dirty="0">
                        <a:solidFill>
                          <a:srgbClr val="404040"/>
                        </a:solidFill>
                        <a:effectLst/>
                        <a:latin typeface="Arial" panose="020B0604020202020204" pitchFamily="34" charset="0"/>
                        <a:ea typeface="Arial" panose="020B0604020202020204" pitchFamily="34" charset="0"/>
                        <a:cs typeface="Times New Roman" panose="02020603050405020304" pitchFamily="18" charset="0"/>
                      </a:endParaRPr>
                    </a:p>
                  </a:txBody>
                  <a:tcPr marL="73025" marR="73025" marT="2730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marL="0" marR="0">
                        <a:lnSpc>
                          <a:spcPct val="130000"/>
                        </a:lnSpc>
                        <a:spcBef>
                          <a:spcPts val="400"/>
                        </a:spcBef>
                        <a:spcAft>
                          <a:spcPts val="400"/>
                        </a:spcAft>
                      </a:pPr>
                      <a:r>
                        <a:rPr lang="en-US" sz="1100" b="1" dirty="0">
                          <a:solidFill>
                            <a:srgbClr val="FFFFFF"/>
                          </a:solidFill>
                          <a:effectLst/>
                          <a:latin typeface="Arial" panose="020B0604020202020204" pitchFamily="34" charset="0"/>
                          <a:ea typeface="Arial" panose="020B0604020202020204" pitchFamily="34" charset="0"/>
                          <a:cs typeface="Times New Roman" panose="02020603050405020304" pitchFamily="18" charset="0"/>
                        </a:rPr>
                        <a:t>KEY ACTION</a:t>
                      </a:r>
                      <a:endParaRPr lang="en-US" sz="1100" b="1" dirty="0">
                        <a:solidFill>
                          <a:srgbClr val="404040"/>
                        </a:solidFill>
                        <a:effectLst/>
                        <a:latin typeface="Arial" panose="020B0604020202020204" pitchFamily="34" charset="0"/>
                        <a:ea typeface="Arial" panose="020B0604020202020204" pitchFamily="34" charset="0"/>
                        <a:cs typeface="Times New Roman" panose="02020603050405020304" pitchFamily="18" charset="0"/>
                      </a:endParaRPr>
                    </a:p>
                  </a:txBody>
                  <a:tcPr marL="73025" marR="73025" marT="2730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2139607081"/>
                  </a:ext>
                </a:extLst>
              </a:tr>
              <a:tr h="427251">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427251">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427251">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427251">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427251">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427251">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427251">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427251">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42013700"/>
                  </a:ext>
                </a:extLst>
              </a:tr>
              <a:tr h="427251">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682238"/>
                  </a:ext>
                </a:extLst>
              </a:tr>
              <a:tr h="427251">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776"/>
                          </a:solidFill>
                          <a:effectLst/>
                          <a:uLnTx/>
                          <a:uFillTx/>
                          <a:latin typeface="Arial"/>
                          <a:ea typeface="+mn-ea"/>
                          <a:cs typeface="+mn-cs"/>
                        </a:rPr>
                        <a:t>Insert your own text</a:t>
                      </a:r>
                    </a:p>
                  </a:txBody>
                  <a:tcP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4227702"/>
                  </a:ext>
                </a:extLst>
              </a:tr>
            </a:tbl>
          </a:graphicData>
        </a:graphic>
      </p:graphicFrame>
      <p:sp>
        <p:nvSpPr>
          <p:cNvPr id="10" name="Rounded Rectangular Callout 15">
            <a:extLst>
              <a:ext uri="{FF2B5EF4-FFF2-40B4-BE49-F238E27FC236}">
                <a16:creationId xmlns:a16="http://schemas.microsoft.com/office/drawing/2014/main" id="{9FBC2C64-C614-4223-AD3B-B1DA7C2D2FFE}"/>
              </a:ext>
            </a:extLst>
          </p:cNvPr>
          <p:cNvSpPr/>
          <p:nvPr/>
        </p:nvSpPr>
        <p:spPr bwMode="auto">
          <a:xfrm>
            <a:off x="2793758" y="3269858"/>
            <a:ext cx="2108130" cy="1066800"/>
          </a:xfrm>
          <a:prstGeom prst="wedgeRoundRectCallout">
            <a:avLst>
              <a:gd name="adj1" fmla="val 15569"/>
              <a:gd name="adj2" fmla="val -156260"/>
              <a:gd name="adj3" fmla="val 16667"/>
            </a:avLst>
          </a:prstGeom>
          <a:solidFill>
            <a:schemeClr val="bg1"/>
          </a:solidFill>
          <a:ln>
            <a:solidFill>
              <a:schemeClr val="tx2">
                <a:lumMod val="60000"/>
                <a:lumOff val="40000"/>
              </a:schemeClr>
            </a:solidFill>
            <a:prstDash val="dash"/>
          </a:ln>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b="1" dirty="0">
                <a:solidFill>
                  <a:schemeClr val="tx2"/>
                </a:solidFill>
              </a:rPr>
              <a:t>What would be the deliverables required to do it?</a:t>
            </a:r>
            <a:endParaRPr lang="en-US" sz="1400" b="1" dirty="0">
              <a:solidFill>
                <a:srgbClr val="0C2870"/>
              </a:solidFill>
              <a:latin typeface="Arial" charset="0"/>
              <a:cs typeface="Times New Roman" pitchFamily="18" charset="0"/>
            </a:endParaRPr>
          </a:p>
        </p:txBody>
      </p:sp>
      <p:sp>
        <p:nvSpPr>
          <p:cNvPr id="11" name="Rounded Rectangular Callout 15">
            <a:extLst>
              <a:ext uri="{FF2B5EF4-FFF2-40B4-BE49-F238E27FC236}">
                <a16:creationId xmlns:a16="http://schemas.microsoft.com/office/drawing/2014/main" id="{D6F493A0-A40D-488D-B24C-4B973C293657}"/>
              </a:ext>
            </a:extLst>
          </p:cNvPr>
          <p:cNvSpPr/>
          <p:nvPr/>
        </p:nvSpPr>
        <p:spPr bwMode="auto">
          <a:xfrm>
            <a:off x="5032192" y="3269858"/>
            <a:ext cx="2010807" cy="1066800"/>
          </a:xfrm>
          <a:prstGeom prst="wedgeRoundRectCallout">
            <a:avLst>
              <a:gd name="adj1" fmla="val -6737"/>
              <a:gd name="adj2" fmla="val -159030"/>
              <a:gd name="adj3" fmla="val 16667"/>
            </a:avLst>
          </a:prstGeom>
          <a:solidFill>
            <a:schemeClr val="bg1"/>
          </a:solidFill>
          <a:ln>
            <a:solidFill>
              <a:schemeClr val="tx2">
                <a:lumMod val="60000"/>
                <a:lumOff val="40000"/>
              </a:schemeClr>
            </a:solidFill>
            <a:prstDash val="dash"/>
          </a:ln>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b="1" dirty="0">
                <a:solidFill>
                  <a:schemeClr val="tx2"/>
                </a:solidFill>
              </a:rPr>
              <a:t>When do you need this done?</a:t>
            </a:r>
            <a:endParaRPr lang="en-US" sz="1400" b="1" dirty="0">
              <a:solidFill>
                <a:srgbClr val="0C2870"/>
              </a:solidFill>
              <a:latin typeface="Arial" charset="0"/>
              <a:cs typeface="Times New Roman" pitchFamily="18" charset="0"/>
            </a:endParaRPr>
          </a:p>
        </p:txBody>
      </p:sp>
      <p:sp>
        <p:nvSpPr>
          <p:cNvPr id="12" name="Rounded Rectangular Callout 15">
            <a:extLst>
              <a:ext uri="{FF2B5EF4-FFF2-40B4-BE49-F238E27FC236}">
                <a16:creationId xmlns:a16="http://schemas.microsoft.com/office/drawing/2014/main" id="{9D9B64C2-CBE6-416D-B1D7-CC8FA33A8E29}"/>
              </a:ext>
            </a:extLst>
          </p:cNvPr>
          <p:cNvSpPr/>
          <p:nvPr/>
        </p:nvSpPr>
        <p:spPr bwMode="auto">
          <a:xfrm>
            <a:off x="7334970" y="3269858"/>
            <a:ext cx="1849142" cy="1066800"/>
          </a:xfrm>
          <a:prstGeom prst="wedgeRoundRectCallout">
            <a:avLst>
              <a:gd name="adj1" fmla="val -9665"/>
              <a:gd name="adj2" fmla="val -156192"/>
              <a:gd name="adj3" fmla="val 16667"/>
            </a:avLst>
          </a:prstGeom>
          <a:solidFill>
            <a:schemeClr val="bg1"/>
          </a:solidFill>
          <a:ln>
            <a:solidFill>
              <a:schemeClr val="tx2">
                <a:lumMod val="60000"/>
                <a:lumOff val="40000"/>
              </a:schemeClr>
            </a:solidFill>
            <a:prstDash val="dash"/>
          </a:ln>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b="1" dirty="0">
                <a:solidFill>
                  <a:schemeClr val="tx2"/>
                </a:solidFill>
              </a:rPr>
              <a:t>Who is accountable?</a:t>
            </a:r>
            <a:endParaRPr lang="en-US" sz="1400" b="1" dirty="0">
              <a:solidFill>
                <a:srgbClr val="0C2870"/>
              </a:solidFill>
              <a:latin typeface="Arial" charset="0"/>
              <a:cs typeface="Times New Roman" pitchFamily="18" charset="0"/>
            </a:endParaRPr>
          </a:p>
        </p:txBody>
      </p:sp>
      <p:sp>
        <p:nvSpPr>
          <p:cNvPr id="14" name="Rounded Rectangular Callout 15">
            <a:extLst>
              <a:ext uri="{FF2B5EF4-FFF2-40B4-BE49-F238E27FC236}">
                <a16:creationId xmlns:a16="http://schemas.microsoft.com/office/drawing/2014/main" id="{B71E6C9B-B7E2-4E04-AB91-D3B1EF3E629E}"/>
              </a:ext>
            </a:extLst>
          </p:cNvPr>
          <p:cNvSpPr/>
          <p:nvPr/>
        </p:nvSpPr>
        <p:spPr bwMode="auto">
          <a:xfrm>
            <a:off x="9378759" y="3269858"/>
            <a:ext cx="1946465" cy="1066800"/>
          </a:xfrm>
          <a:prstGeom prst="wedgeRoundRectCallout">
            <a:avLst>
              <a:gd name="adj1" fmla="val -5148"/>
              <a:gd name="adj2" fmla="val -151650"/>
              <a:gd name="adj3" fmla="val 16667"/>
            </a:avLst>
          </a:prstGeom>
          <a:solidFill>
            <a:schemeClr val="bg1"/>
          </a:solidFill>
          <a:ln>
            <a:solidFill>
              <a:schemeClr val="tx2">
                <a:lumMod val="60000"/>
                <a:lumOff val="40000"/>
              </a:schemeClr>
            </a:solidFill>
            <a:prstDash val="dash"/>
          </a:ln>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b="1" dirty="0">
                <a:solidFill>
                  <a:schemeClr val="tx2"/>
                </a:solidFill>
              </a:rPr>
              <a:t>Key action to be taken to complete the request</a:t>
            </a:r>
            <a:endParaRPr lang="en-US" sz="1400" b="1" dirty="0">
              <a:solidFill>
                <a:srgbClr val="0C2870"/>
              </a:solidFill>
              <a:latin typeface="Arial" charset="0"/>
              <a:cs typeface="Times New Roman" pitchFamily="18" charset="0"/>
            </a:endParaRPr>
          </a:p>
        </p:txBody>
      </p:sp>
      <p:sp>
        <p:nvSpPr>
          <p:cNvPr id="15" name="Rounded Rectangular Callout 15">
            <a:extLst>
              <a:ext uri="{FF2B5EF4-FFF2-40B4-BE49-F238E27FC236}">
                <a16:creationId xmlns:a16="http://schemas.microsoft.com/office/drawing/2014/main" id="{F6831367-016C-4019-88C0-AD821FDD1786}"/>
              </a:ext>
            </a:extLst>
          </p:cNvPr>
          <p:cNvSpPr/>
          <p:nvPr/>
        </p:nvSpPr>
        <p:spPr bwMode="auto">
          <a:xfrm>
            <a:off x="828675" y="3269858"/>
            <a:ext cx="1834779" cy="1066800"/>
          </a:xfrm>
          <a:prstGeom prst="wedgeRoundRectCallout">
            <a:avLst>
              <a:gd name="adj1" fmla="val 16482"/>
              <a:gd name="adj2" fmla="val -161937"/>
              <a:gd name="adj3" fmla="val 16667"/>
            </a:avLst>
          </a:prstGeom>
          <a:solidFill>
            <a:schemeClr val="bg1"/>
          </a:solidFill>
          <a:ln>
            <a:solidFill>
              <a:schemeClr val="tx2">
                <a:lumMod val="60000"/>
                <a:lumOff val="40000"/>
              </a:schemeClr>
            </a:solidFill>
            <a:prstDash val="dash"/>
          </a:ln>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b="1" dirty="0">
                <a:solidFill>
                  <a:schemeClr val="tx2"/>
                </a:solidFill>
              </a:rPr>
              <a:t>What would you like to do?</a:t>
            </a:r>
            <a:endParaRPr lang="en-US" sz="14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18350117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the Agile approach</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28" name="Rectangle: Rounded Corners 27">
            <a:extLst>
              <a:ext uri="{FF2B5EF4-FFF2-40B4-BE49-F238E27FC236}">
                <a16:creationId xmlns:a16="http://schemas.microsoft.com/office/drawing/2014/main" id="{C893B390-DB33-D099-DBE1-597A4D03D8FB}"/>
              </a:ext>
            </a:extLst>
          </p:cNvPr>
          <p:cNvSpPr/>
          <p:nvPr/>
        </p:nvSpPr>
        <p:spPr>
          <a:xfrm>
            <a:off x="597147" y="1783081"/>
            <a:ext cx="11073049" cy="3055694"/>
          </a:xfrm>
          <a:prstGeom prst="roundRect">
            <a:avLst>
              <a:gd name="adj" fmla="val 1343"/>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Chevron 17">
            <a:extLst>
              <a:ext uri="{FF2B5EF4-FFF2-40B4-BE49-F238E27FC236}">
                <a16:creationId xmlns:a16="http://schemas.microsoft.com/office/drawing/2014/main" id="{24B54FEA-2AAA-EF82-1D1E-C21ED0F6B343}"/>
              </a:ext>
            </a:extLst>
          </p:cNvPr>
          <p:cNvSpPr/>
          <p:nvPr/>
        </p:nvSpPr>
        <p:spPr bwMode="auto">
          <a:xfrm>
            <a:off x="665727"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Build a Business Case &amp; Financial Model</a:t>
            </a:r>
            <a:endParaRPr lang="en-US" sz="1300" b="1" dirty="0">
              <a:solidFill>
                <a:schemeClr val="bg1"/>
              </a:solidFill>
              <a:cs typeface="Times New Roman" pitchFamily="18" charset="0"/>
            </a:endParaRPr>
          </a:p>
        </p:txBody>
      </p:sp>
      <p:sp>
        <p:nvSpPr>
          <p:cNvPr id="30" name="Chevron 17">
            <a:extLst>
              <a:ext uri="{FF2B5EF4-FFF2-40B4-BE49-F238E27FC236}">
                <a16:creationId xmlns:a16="http://schemas.microsoft.com/office/drawing/2014/main" id="{DB2C44EB-22E1-AC6D-66B2-F83A856224CF}"/>
              </a:ext>
            </a:extLst>
          </p:cNvPr>
          <p:cNvSpPr/>
          <p:nvPr/>
        </p:nvSpPr>
        <p:spPr bwMode="auto">
          <a:xfrm>
            <a:off x="4356125"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a:t>
            </a:r>
            <a:r>
              <a:rPr lang="en-GB" sz="1300" b="1" dirty="0">
                <a:solidFill>
                  <a:schemeClr val="bg1"/>
                </a:solidFill>
                <a:cs typeface="Times New Roman" pitchFamily="18" charset="0"/>
              </a:rPr>
              <a:t>Initiate the Project</a:t>
            </a:r>
          </a:p>
        </p:txBody>
      </p:sp>
      <p:sp>
        <p:nvSpPr>
          <p:cNvPr id="31" name="Rectangle 30">
            <a:extLst>
              <a:ext uri="{FF2B5EF4-FFF2-40B4-BE49-F238E27FC236}">
                <a16:creationId xmlns:a16="http://schemas.microsoft.com/office/drawing/2014/main" id="{BC5C36B5-E318-3858-D3A1-18315FD36EE7}"/>
              </a:ext>
            </a:extLst>
          </p:cNvPr>
          <p:cNvSpPr/>
          <p:nvPr/>
        </p:nvSpPr>
        <p:spPr>
          <a:xfrm>
            <a:off x="720890" y="2812578"/>
            <a:ext cx="3690953" cy="202619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Project Descriptio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Business opportunity &amp; suggested solutio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Project objectives and key performance indicators</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Project scope, approach and high-level pla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Deliverables, activities &amp; key success factors</a:t>
            </a:r>
          </a:p>
          <a:p>
            <a:pPr marL="169863" indent="-169863">
              <a:spcBef>
                <a:spcPts val="200"/>
              </a:spcBef>
              <a:spcAft>
                <a:spcPts val="200"/>
              </a:spcAft>
              <a:buFont typeface="+mj-lt"/>
              <a:buAutoNum type="arabicPeriod"/>
              <a:defRPr/>
            </a:pPr>
            <a:r>
              <a:rPr lang="en-GB" sz="1100" dirty="0">
                <a:solidFill>
                  <a:srgbClr val="002776"/>
                </a:solidFill>
              </a:rPr>
              <a:t>Project Assessment</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Strategic alignment</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Value (Revenue, Costs, Net present value, ROI, etc.)</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Ease of implementation</a:t>
            </a:r>
          </a:p>
        </p:txBody>
      </p:sp>
      <p:sp>
        <p:nvSpPr>
          <p:cNvPr id="32" name="Rectangle 31">
            <a:extLst>
              <a:ext uri="{FF2B5EF4-FFF2-40B4-BE49-F238E27FC236}">
                <a16:creationId xmlns:a16="http://schemas.microsoft.com/office/drawing/2014/main" id="{8E76BCBB-086B-C823-B6A3-32050A7399D8}"/>
              </a:ext>
            </a:extLst>
          </p:cNvPr>
          <p:cNvSpPr/>
          <p:nvPr/>
        </p:nvSpPr>
        <p:spPr>
          <a:xfrm>
            <a:off x="8046523" y="2812578"/>
            <a:ext cx="3447437"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High-level project plan</a:t>
            </a:r>
          </a:p>
          <a:p>
            <a:pPr marL="169863" indent="-169863">
              <a:spcBef>
                <a:spcPts val="200"/>
              </a:spcBef>
              <a:spcAft>
                <a:spcPts val="200"/>
              </a:spcAft>
              <a:buFont typeface="+mj-lt"/>
              <a:buAutoNum type="arabicPeriod"/>
              <a:defRPr/>
            </a:pPr>
            <a:r>
              <a:rPr lang="en-GB" sz="1100" dirty="0">
                <a:solidFill>
                  <a:srgbClr val="002776"/>
                </a:solidFill>
              </a:rPr>
              <a:t>Detailed project plan</a:t>
            </a:r>
          </a:p>
          <a:p>
            <a:pPr marL="169863" indent="-169863">
              <a:spcBef>
                <a:spcPts val="200"/>
              </a:spcBef>
              <a:spcAft>
                <a:spcPts val="200"/>
              </a:spcAft>
              <a:buFont typeface="+mj-lt"/>
              <a:buAutoNum type="arabicPeriod"/>
              <a:defRPr/>
            </a:pPr>
            <a:r>
              <a:rPr lang="en-GB" sz="1100" dirty="0">
                <a:solidFill>
                  <a:srgbClr val="002776"/>
                </a:solidFill>
              </a:rPr>
              <a:t>Project dashboard</a:t>
            </a:r>
          </a:p>
          <a:p>
            <a:pPr marL="169863" indent="-169863">
              <a:spcBef>
                <a:spcPts val="200"/>
              </a:spcBef>
              <a:spcAft>
                <a:spcPts val="200"/>
              </a:spcAft>
              <a:buFont typeface="+mj-lt"/>
              <a:buAutoNum type="arabicPeriod"/>
              <a:defRPr/>
            </a:pPr>
            <a:r>
              <a:rPr lang="en-GB" sz="1100" dirty="0">
                <a:solidFill>
                  <a:srgbClr val="002776"/>
                </a:solidFill>
              </a:rPr>
              <a:t>Parking lot</a:t>
            </a:r>
          </a:p>
          <a:p>
            <a:pPr marL="169863" indent="-169863">
              <a:spcBef>
                <a:spcPts val="200"/>
              </a:spcBef>
              <a:spcAft>
                <a:spcPts val="200"/>
              </a:spcAft>
              <a:buFont typeface="+mj-lt"/>
              <a:buAutoNum type="arabicPeriod"/>
              <a:defRPr/>
            </a:pPr>
            <a:r>
              <a:rPr lang="en-GB" sz="1100" dirty="0">
                <a:solidFill>
                  <a:srgbClr val="002776"/>
                </a:solidFill>
              </a:rPr>
              <a:t>Punch list</a:t>
            </a:r>
          </a:p>
          <a:p>
            <a:pPr marL="169863" indent="-169863">
              <a:spcBef>
                <a:spcPts val="200"/>
              </a:spcBef>
              <a:spcAft>
                <a:spcPts val="200"/>
              </a:spcAft>
              <a:buFont typeface="+mj-lt"/>
              <a:buAutoNum type="arabicPeriod"/>
              <a:defRPr/>
            </a:pPr>
            <a:r>
              <a:rPr lang="en-GB" sz="1100" dirty="0">
                <a:solidFill>
                  <a:srgbClr val="002776"/>
                </a:solidFill>
              </a:rPr>
              <a:t>Post-project evaluation report</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sp>
        <p:nvSpPr>
          <p:cNvPr id="33" name="Chevron 17">
            <a:extLst>
              <a:ext uri="{FF2B5EF4-FFF2-40B4-BE49-F238E27FC236}">
                <a16:creationId xmlns:a16="http://schemas.microsoft.com/office/drawing/2014/main" id="{2A99C644-C5AF-C50D-58C4-CF8E8D287DEF}"/>
              </a:ext>
            </a:extLst>
          </p:cNvPr>
          <p:cNvSpPr/>
          <p:nvPr/>
        </p:nvSpPr>
        <p:spPr bwMode="auto">
          <a:xfrm>
            <a:off x="8046523"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Define and Implement your Project Plan</a:t>
            </a:r>
          </a:p>
        </p:txBody>
      </p:sp>
      <p:sp>
        <p:nvSpPr>
          <p:cNvPr id="34" name="Rectangle 33">
            <a:extLst>
              <a:ext uri="{FF2B5EF4-FFF2-40B4-BE49-F238E27FC236}">
                <a16:creationId xmlns:a16="http://schemas.microsoft.com/office/drawing/2014/main" id="{91D68227-A79A-B823-4FA2-901CE92DCAE3}"/>
              </a:ext>
            </a:extLst>
          </p:cNvPr>
          <p:cNvSpPr/>
          <p:nvPr/>
        </p:nvSpPr>
        <p:spPr>
          <a:xfrm>
            <a:off x="4411844" y="2812578"/>
            <a:ext cx="3396807"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Project charter</a:t>
            </a:r>
          </a:p>
          <a:p>
            <a:pPr marL="169863" indent="-169863">
              <a:spcBef>
                <a:spcPts val="200"/>
              </a:spcBef>
              <a:spcAft>
                <a:spcPts val="200"/>
              </a:spcAft>
              <a:buFont typeface="+mj-lt"/>
              <a:buAutoNum type="arabicPeriod"/>
              <a:defRPr/>
            </a:pPr>
            <a:r>
              <a:rPr lang="en-GB" sz="1100" dirty="0">
                <a:solidFill>
                  <a:srgbClr val="002776"/>
                </a:solidFill>
              </a:rPr>
              <a:t>Project challenges and key success factors</a:t>
            </a:r>
          </a:p>
          <a:p>
            <a:pPr marL="169863" indent="-169863">
              <a:spcBef>
                <a:spcPts val="200"/>
              </a:spcBef>
              <a:spcAft>
                <a:spcPts val="200"/>
              </a:spcAft>
              <a:buFont typeface="+mj-lt"/>
              <a:buAutoNum type="arabicPeriod"/>
              <a:defRPr/>
            </a:pPr>
            <a:r>
              <a:rPr lang="nb-NO" sz="1100" dirty="0">
                <a:solidFill>
                  <a:srgbClr val="002776"/>
                </a:solidFill>
              </a:rPr>
              <a:t>RACI matrix</a:t>
            </a:r>
          </a:p>
          <a:p>
            <a:pPr marL="169863" indent="-169863">
              <a:spcBef>
                <a:spcPts val="200"/>
              </a:spcBef>
              <a:spcAft>
                <a:spcPts val="200"/>
              </a:spcAft>
              <a:buFont typeface="+mj-lt"/>
              <a:buAutoNum type="arabicPeriod"/>
              <a:defRPr/>
            </a:pPr>
            <a:r>
              <a:rPr lang="nb-NO" sz="1100" dirty="0">
                <a:solidFill>
                  <a:srgbClr val="002776"/>
                </a:solidFill>
              </a:rPr>
              <a:t>Stakeholder analysis</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p:txBody>
      </p:sp>
      <p:pic>
        <p:nvPicPr>
          <p:cNvPr id="35" name="Graphic 34" descr="Bar chart outline">
            <a:extLst>
              <a:ext uri="{FF2B5EF4-FFF2-40B4-BE49-F238E27FC236}">
                <a16:creationId xmlns:a16="http://schemas.microsoft.com/office/drawing/2014/main" id="{D7E34647-A63D-23C7-3428-851A1E4C9E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01284" y="1882268"/>
            <a:ext cx="455456" cy="455456"/>
          </a:xfrm>
          <a:prstGeom prst="rect">
            <a:avLst/>
          </a:prstGeom>
        </p:spPr>
      </p:pic>
      <p:pic>
        <p:nvPicPr>
          <p:cNvPr id="36" name="Graphic 35" descr="Play outline">
            <a:extLst>
              <a:ext uri="{FF2B5EF4-FFF2-40B4-BE49-F238E27FC236}">
                <a16:creationId xmlns:a16="http://schemas.microsoft.com/office/drawing/2014/main" id="{E2920195-4366-D511-690A-AA25CEDAFC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81647" y="1863930"/>
            <a:ext cx="457200" cy="457200"/>
          </a:xfrm>
          <a:prstGeom prst="rect">
            <a:avLst/>
          </a:prstGeom>
        </p:spPr>
      </p:pic>
      <p:pic>
        <p:nvPicPr>
          <p:cNvPr id="37" name="Graphic 36" descr="Checklist outline">
            <a:extLst>
              <a:ext uri="{FF2B5EF4-FFF2-40B4-BE49-F238E27FC236}">
                <a16:creationId xmlns:a16="http://schemas.microsoft.com/office/drawing/2014/main" id="{0C6C6B4F-C86F-A953-FCCB-880CE0DECE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20148" y="1882268"/>
            <a:ext cx="457200" cy="457200"/>
          </a:xfrm>
          <a:prstGeom prst="rect">
            <a:avLst/>
          </a:prstGeom>
        </p:spPr>
      </p:pic>
      <p:sp>
        <p:nvSpPr>
          <p:cNvPr id="38" name="TextBox 37">
            <a:extLst>
              <a:ext uri="{FF2B5EF4-FFF2-40B4-BE49-F238E27FC236}">
                <a16:creationId xmlns:a16="http://schemas.microsoft.com/office/drawing/2014/main" id="{112AA82F-E27A-66FE-93DD-C7FE67D5EB04}"/>
              </a:ext>
            </a:extLst>
          </p:cNvPr>
          <p:cNvSpPr txBox="1"/>
          <p:nvPr/>
        </p:nvSpPr>
        <p:spPr>
          <a:xfrm>
            <a:off x="4487751" y="1512544"/>
            <a:ext cx="3291840" cy="307777"/>
          </a:xfrm>
          <a:prstGeom prst="rect">
            <a:avLst/>
          </a:prstGeom>
          <a:noFill/>
        </p:spPr>
        <p:txBody>
          <a:bodyPr wrap="square" rtlCol="0">
            <a:spAutoFit/>
          </a:bodyPr>
          <a:lstStyle/>
          <a:p>
            <a:pPr algn="ctr"/>
            <a:r>
              <a:rPr lang="en-US" sz="1400" b="1" dirty="0"/>
              <a:t>Traditional Approach</a:t>
            </a:r>
          </a:p>
        </p:txBody>
      </p:sp>
      <p:sp>
        <p:nvSpPr>
          <p:cNvPr id="39" name="Rectangle: Rounded Corners 38">
            <a:extLst>
              <a:ext uri="{FF2B5EF4-FFF2-40B4-BE49-F238E27FC236}">
                <a16:creationId xmlns:a16="http://schemas.microsoft.com/office/drawing/2014/main" id="{8508FACD-47EE-2EC0-A1AA-2D1E2299FA7B}"/>
              </a:ext>
            </a:extLst>
          </p:cNvPr>
          <p:cNvSpPr/>
          <p:nvPr/>
        </p:nvSpPr>
        <p:spPr>
          <a:xfrm>
            <a:off x="597147" y="5338152"/>
            <a:ext cx="11073049" cy="1200442"/>
          </a:xfrm>
          <a:prstGeom prst="roundRect">
            <a:avLst>
              <a:gd name="adj" fmla="val 3961"/>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0C97F124-1014-CBC8-D263-AC70BC0A28BE}"/>
              </a:ext>
            </a:extLst>
          </p:cNvPr>
          <p:cNvSpPr txBox="1"/>
          <p:nvPr/>
        </p:nvSpPr>
        <p:spPr>
          <a:xfrm>
            <a:off x="4487751" y="5021895"/>
            <a:ext cx="3291840" cy="307777"/>
          </a:xfrm>
          <a:prstGeom prst="rect">
            <a:avLst/>
          </a:prstGeom>
          <a:noFill/>
        </p:spPr>
        <p:txBody>
          <a:bodyPr wrap="square" rtlCol="0">
            <a:spAutoFit/>
          </a:bodyPr>
          <a:lstStyle/>
          <a:p>
            <a:pPr algn="ctr"/>
            <a:r>
              <a:rPr lang="en-US" sz="1400" b="1" dirty="0"/>
              <a:t>Agile Approach</a:t>
            </a:r>
          </a:p>
        </p:txBody>
      </p:sp>
      <p:sp>
        <p:nvSpPr>
          <p:cNvPr id="41" name="Right Arrow 20">
            <a:extLst>
              <a:ext uri="{FF2B5EF4-FFF2-40B4-BE49-F238E27FC236}">
                <a16:creationId xmlns:a16="http://schemas.microsoft.com/office/drawing/2014/main" id="{2709E945-4268-62B5-C74C-65682BA07C9E}"/>
              </a:ext>
            </a:extLst>
          </p:cNvPr>
          <p:cNvSpPr/>
          <p:nvPr/>
        </p:nvSpPr>
        <p:spPr>
          <a:xfrm>
            <a:off x="2343505" y="5588779"/>
            <a:ext cx="1336554" cy="593070"/>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2" name="Right Arrow 27">
            <a:extLst>
              <a:ext uri="{FF2B5EF4-FFF2-40B4-BE49-F238E27FC236}">
                <a16:creationId xmlns:a16="http://schemas.microsoft.com/office/drawing/2014/main" id="{A331F2F2-4ABE-663C-CCE0-26689944956A}"/>
              </a:ext>
            </a:extLst>
          </p:cNvPr>
          <p:cNvSpPr/>
          <p:nvPr/>
        </p:nvSpPr>
        <p:spPr>
          <a:xfrm>
            <a:off x="5520928" y="5588779"/>
            <a:ext cx="2419190" cy="593070"/>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3" name="TextBox 42">
            <a:extLst>
              <a:ext uri="{FF2B5EF4-FFF2-40B4-BE49-F238E27FC236}">
                <a16:creationId xmlns:a16="http://schemas.microsoft.com/office/drawing/2014/main" id="{101D710C-1C64-6A07-5B69-D88E7DDD2B01}"/>
              </a:ext>
            </a:extLst>
          </p:cNvPr>
          <p:cNvSpPr txBox="1"/>
          <p:nvPr/>
        </p:nvSpPr>
        <p:spPr>
          <a:xfrm>
            <a:off x="766157" y="6268879"/>
            <a:ext cx="1200970" cy="246221"/>
          </a:xfrm>
          <a:prstGeom prst="rect">
            <a:avLst/>
          </a:prstGeom>
          <a:noFill/>
        </p:spPr>
        <p:txBody>
          <a:bodyPr wrap="none" rtlCol="0" anchor="b" anchorCtr="0">
            <a:spAutoFit/>
          </a:bodyPr>
          <a:lstStyle/>
          <a:p>
            <a:pPr algn="ctr"/>
            <a:r>
              <a:rPr lang="en-US" sz="1000" b="1" dirty="0">
                <a:solidFill>
                  <a:schemeClr val="bg1"/>
                </a:solidFill>
                <a:ea typeface="League Spartan" charset="0"/>
                <a:cs typeface="Poppins" pitchFamily="2" charset="77"/>
              </a:rPr>
              <a:t>Product Backlog</a:t>
            </a:r>
          </a:p>
        </p:txBody>
      </p:sp>
      <p:sp>
        <p:nvSpPr>
          <p:cNvPr id="44" name="TextBox 43">
            <a:extLst>
              <a:ext uri="{FF2B5EF4-FFF2-40B4-BE49-F238E27FC236}">
                <a16:creationId xmlns:a16="http://schemas.microsoft.com/office/drawing/2014/main" id="{EF55FE3F-940D-7028-5070-9C50AA1F030B}"/>
              </a:ext>
            </a:extLst>
          </p:cNvPr>
          <p:cNvSpPr txBox="1"/>
          <p:nvPr/>
        </p:nvSpPr>
        <p:spPr>
          <a:xfrm>
            <a:off x="3981660" y="6268879"/>
            <a:ext cx="1087157" cy="246221"/>
          </a:xfrm>
          <a:prstGeom prst="rect">
            <a:avLst/>
          </a:prstGeom>
          <a:noFill/>
        </p:spPr>
        <p:txBody>
          <a:bodyPr wrap="none" rtlCol="0" anchor="b" anchorCtr="0">
            <a:spAutoFit/>
          </a:bodyPr>
          <a:lstStyle/>
          <a:p>
            <a:pPr algn="ctr"/>
            <a:r>
              <a:rPr lang="en-US" sz="1000" b="1" dirty="0">
                <a:solidFill>
                  <a:schemeClr val="bg1"/>
                </a:solidFill>
                <a:ea typeface="League Spartan" charset="0"/>
                <a:cs typeface="Poppins" pitchFamily="2" charset="77"/>
              </a:rPr>
              <a:t>Sprint Backlog</a:t>
            </a:r>
          </a:p>
        </p:txBody>
      </p:sp>
      <p:sp>
        <p:nvSpPr>
          <p:cNvPr id="45" name="TextBox 44">
            <a:extLst>
              <a:ext uri="{FF2B5EF4-FFF2-40B4-BE49-F238E27FC236}">
                <a16:creationId xmlns:a16="http://schemas.microsoft.com/office/drawing/2014/main" id="{E413F668-2A0A-DF83-225C-555732E20D71}"/>
              </a:ext>
            </a:extLst>
          </p:cNvPr>
          <p:cNvSpPr txBox="1"/>
          <p:nvPr/>
        </p:nvSpPr>
        <p:spPr>
          <a:xfrm>
            <a:off x="6072891" y="6268879"/>
            <a:ext cx="1200970" cy="246221"/>
          </a:xfrm>
          <a:prstGeom prst="rect">
            <a:avLst/>
          </a:prstGeom>
          <a:noFill/>
        </p:spPr>
        <p:txBody>
          <a:bodyPr wrap="none" rtlCol="0" anchor="b" anchorCtr="0">
            <a:spAutoFit/>
          </a:bodyPr>
          <a:lstStyle/>
          <a:p>
            <a:pPr algn="ctr"/>
            <a:r>
              <a:rPr lang="en-US" sz="1000" b="1" dirty="0">
                <a:solidFill>
                  <a:schemeClr val="bg1"/>
                </a:solidFill>
                <a:ea typeface="League Spartan" charset="0"/>
                <a:cs typeface="Poppins" pitchFamily="2" charset="77"/>
              </a:rPr>
              <a:t>Sprint Execution</a:t>
            </a:r>
          </a:p>
        </p:txBody>
      </p:sp>
      <p:sp>
        <p:nvSpPr>
          <p:cNvPr id="46" name="TextBox 45">
            <a:extLst>
              <a:ext uri="{FF2B5EF4-FFF2-40B4-BE49-F238E27FC236}">
                <a16:creationId xmlns:a16="http://schemas.microsoft.com/office/drawing/2014/main" id="{4AC66820-CB24-E6A8-96D7-5017E48DF5CE}"/>
              </a:ext>
            </a:extLst>
          </p:cNvPr>
          <p:cNvSpPr txBox="1"/>
          <p:nvPr/>
        </p:nvSpPr>
        <p:spPr>
          <a:xfrm>
            <a:off x="8553456" y="6152054"/>
            <a:ext cx="2103114" cy="400110"/>
          </a:xfrm>
          <a:prstGeom prst="rect">
            <a:avLst/>
          </a:prstGeom>
          <a:noFill/>
        </p:spPr>
        <p:txBody>
          <a:bodyPr wrap="square" rtlCol="0" anchor="t" anchorCtr="0">
            <a:spAutoFit/>
          </a:bodyPr>
          <a:lstStyle/>
          <a:p>
            <a:pPr algn="ctr"/>
            <a:r>
              <a:rPr lang="en-US" sz="1000" b="1" dirty="0">
                <a:solidFill>
                  <a:schemeClr val="bg1"/>
                </a:solidFill>
                <a:ea typeface="League Spartan" charset="0"/>
                <a:cs typeface="Poppins" pitchFamily="2" charset="77"/>
              </a:rPr>
              <a:t>Potentially Shippable Product Increment</a:t>
            </a:r>
          </a:p>
        </p:txBody>
      </p:sp>
      <p:sp>
        <p:nvSpPr>
          <p:cNvPr id="47" name="TextBox 46">
            <a:extLst>
              <a:ext uri="{FF2B5EF4-FFF2-40B4-BE49-F238E27FC236}">
                <a16:creationId xmlns:a16="http://schemas.microsoft.com/office/drawing/2014/main" id="{67810271-AC1C-F1F9-E497-949000B40E86}"/>
              </a:ext>
            </a:extLst>
          </p:cNvPr>
          <p:cNvSpPr txBox="1"/>
          <p:nvPr/>
        </p:nvSpPr>
        <p:spPr>
          <a:xfrm>
            <a:off x="2392642" y="6301264"/>
            <a:ext cx="1130438" cy="246221"/>
          </a:xfrm>
          <a:prstGeom prst="rect">
            <a:avLst/>
          </a:prstGeom>
          <a:noFill/>
        </p:spPr>
        <p:txBody>
          <a:bodyPr wrap="none" rtlCol="0" anchor="b" anchorCtr="0">
            <a:spAutoFit/>
          </a:bodyPr>
          <a:lstStyle/>
          <a:p>
            <a:pPr algn="ctr"/>
            <a:r>
              <a:rPr lang="en-US" sz="1000" b="1" dirty="0">
                <a:solidFill>
                  <a:schemeClr val="bg1"/>
                </a:solidFill>
                <a:ea typeface="League Spartan" charset="0"/>
                <a:cs typeface="Poppins" pitchFamily="2" charset="77"/>
              </a:rPr>
              <a:t>Sprint Planning</a:t>
            </a:r>
          </a:p>
        </p:txBody>
      </p:sp>
      <p:sp>
        <p:nvSpPr>
          <p:cNvPr id="48" name="TextBox 47">
            <a:extLst>
              <a:ext uri="{FF2B5EF4-FFF2-40B4-BE49-F238E27FC236}">
                <a16:creationId xmlns:a16="http://schemas.microsoft.com/office/drawing/2014/main" id="{9AD704BE-BFDF-776E-2785-79CC0B3AB31C}"/>
              </a:ext>
            </a:extLst>
          </p:cNvPr>
          <p:cNvSpPr txBox="1"/>
          <p:nvPr/>
        </p:nvSpPr>
        <p:spPr>
          <a:xfrm>
            <a:off x="7961625" y="6184439"/>
            <a:ext cx="795117" cy="400110"/>
          </a:xfrm>
          <a:prstGeom prst="rect">
            <a:avLst/>
          </a:prstGeom>
          <a:noFill/>
        </p:spPr>
        <p:txBody>
          <a:bodyPr wrap="square" rtlCol="0" anchor="t" anchorCtr="0">
            <a:spAutoFit/>
          </a:bodyPr>
          <a:lstStyle/>
          <a:p>
            <a:pPr algn="ctr"/>
            <a:r>
              <a:rPr lang="en-US" sz="1000" b="1" dirty="0">
                <a:solidFill>
                  <a:schemeClr val="bg1"/>
                </a:solidFill>
                <a:ea typeface="League Spartan" charset="0"/>
                <a:cs typeface="Poppins" pitchFamily="2" charset="77"/>
              </a:rPr>
              <a:t>Sprint Review</a:t>
            </a:r>
          </a:p>
        </p:txBody>
      </p:sp>
      <p:sp>
        <p:nvSpPr>
          <p:cNvPr id="49" name="Rectangle 48">
            <a:extLst>
              <a:ext uri="{FF2B5EF4-FFF2-40B4-BE49-F238E27FC236}">
                <a16:creationId xmlns:a16="http://schemas.microsoft.com/office/drawing/2014/main" id="{B37F23AB-D1E5-8F54-E0B7-997395727990}"/>
              </a:ext>
            </a:extLst>
          </p:cNvPr>
          <p:cNvSpPr/>
          <p:nvPr/>
        </p:nvSpPr>
        <p:spPr>
          <a:xfrm>
            <a:off x="863959"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0" name="Rectangle 49">
            <a:extLst>
              <a:ext uri="{FF2B5EF4-FFF2-40B4-BE49-F238E27FC236}">
                <a16:creationId xmlns:a16="http://schemas.microsoft.com/office/drawing/2014/main" id="{EE48BFC4-5243-C6D5-64AC-4538BBAFEB18}"/>
              </a:ext>
            </a:extLst>
          </p:cNvPr>
          <p:cNvSpPr/>
          <p:nvPr/>
        </p:nvSpPr>
        <p:spPr>
          <a:xfrm>
            <a:off x="1248938"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1" name="Rectangle 50">
            <a:extLst>
              <a:ext uri="{FF2B5EF4-FFF2-40B4-BE49-F238E27FC236}">
                <a16:creationId xmlns:a16="http://schemas.microsoft.com/office/drawing/2014/main" id="{D9A99CBA-B34C-FFED-10E6-61F1EB9A48A1}"/>
              </a:ext>
            </a:extLst>
          </p:cNvPr>
          <p:cNvSpPr/>
          <p:nvPr/>
        </p:nvSpPr>
        <p:spPr>
          <a:xfrm>
            <a:off x="1633916"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2" name="Freeform 948">
            <a:extLst>
              <a:ext uri="{FF2B5EF4-FFF2-40B4-BE49-F238E27FC236}">
                <a16:creationId xmlns:a16="http://schemas.microsoft.com/office/drawing/2014/main" id="{26A0C8AE-2C3D-E8BD-8F3A-86223A856185}"/>
              </a:ext>
            </a:extLst>
          </p:cNvPr>
          <p:cNvSpPr>
            <a:spLocks noChangeAspect="1" noChangeArrowheads="1"/>
          </p:cNvSpPr>
          <p:nvPr/>
        </p:nvSpPr>
        <p:spPr bwMode="auto">
          <a:xfrm>
            <a:off x="9173090" y="5406454"/>
            <a:ext cx="855900" cy="754006"/>
          </a:xfrm>
          <a:custGeom>
            <a:avLst/>
            <a:gdLst>
              <a:gd name="T0" fmla="*/ 27610722 w 293328"/>
              <a:gd name="T1" fmla="*/ 27453834 h 258401"/>
              <a:gd name="T2" fmla="*/ 9154902 w 293328"/>
              <a:gd name="T3" fmla="*/ 26352054 h 258401"/>
              <a:gd name="T4" fmla="*/ 8582692 w 293328"/>
              <a:gd name="T5" fmla="*/ 26925015 h 258401"/>
              <a:gd name="T6" fmla="*/ 24560222 w 293328"/>
              <a:gd name="T7" fmla="*/ 27001841 h 258401"/>
              <a:gd name="T8" fmla="*/ 27587035 w 293328"/>
              <a:gd name="T9" fmla="*/ 23963042 h 258401"/>
              <a:gd name="T10" fmla="*/ 9080349 w 293328"/>
              <a:gd name="T11" fmla="*/ 30040687 h 258401"/>
              <a:gd name="T12" fmla="*/ 1038012 w 293328"/>
              <a:gd name="T13" fmla="*/ 21097906 h 258401"/>
              <a:gd name="T14" fmla="*/ 5015691 w 293328"/>
              <a:gd name="T15" fmla="*/ 26437412 h 258401"/>
              <a:gd name="T16" fmla="*/ 19933601 w 293328"/>
              <a:gd name="T17" fmla="*/ 26437412 h 258401"/>
              <a:gd name="T18" fmla="*/ 24016198 w 293328"/>
              <a:gd name="T19" fmla="*/ 19859556 h 258401"/>
              <a:gd name="T20" fmla="*/ 26673362 w 293328"/>
              <a:gd name="T21" fmla="*/ 20961094 h 258401"/>
              <a:gd name="T22" fmla="*/ 24016198 w 293328"/>
              <a:gd name="T23" fmla="*/ 19859556 h 258401"/>
              <a:gd name="T24" fmla="*/ 15307077 w 293328"/>
              <a:gd name="T25" fmla="*/ 13587724 h 258401"/>
              <a:gd name="T26" fmla="*/ 16733736 w 293328"/>
              <a:gd name="T27" fmla="*/ 11069930 h 258401"/>
              <a:gd name="T28" fmla="*/ 11026240 w 293328"/>
              <a:gd name="T29" fmla="*/ 20012605 h 258401"/>
              <a:gd name="T30" fmla="*/ 17814730 w 293328"/>
              <a:gd name="T31" fmla="*/ 11069930 h 258401"/>
              <a:gd name="T32" fmla="*/ 17079772 w 293328"/>
              <a:gd name="T33" fmla="*/ 15324063 h 258401"/>
              <a:gd name="T34" fmla="*/ 13706857 w 293328"/>
              <a:gd name="T35" fmla="*/ 15367655 h 258401"/>
              <a:gd name="T36" fmla="*/ 13144847 w 293328"/>
              <a:gd name="T37" fmla="*/ 11069930 h 258401"/>
              <a:gd name="T38" fmla="*/ 4237276 w 293328"/>
              <a:gd name="T39" fmla="*/ 14021773 h 258401"/>
              <a:gd name="T40" fmla="*/ 5707359 w 293328"/>
              <a:gd name="T41" fmla="*/ 13587724 h 258401"/>
              <a:gd name="T42" fmla="*/ 4237276 w 293328"/>
              <a:gd name="T43" fmla="*/ 11069930 h 258401"/>
              <a:gd name="T44" fmla="*/ 9945373 w 293328"/>
              <a:gd name="T45" fmla="*/ 20012605 h 258401"/>
              <a:gd name="T46" fmla="*/ 7826377 w 293328"/>
              <a:gd name="T47" fmla="*/ 14803100 h 258401"/>
              <a:gd name="T48" fmla="*/ 7091399 w 293328"/>
              <a:gd name="T49" fmla="*/ 15324063 h 258401"/>
              <a:gd name="T50" fmla="*/ 3415964 w 293328"/>
              <a:gd name="T51" fmla="*/ 15237161 h 258401"/>
              <a:gd name="T52" fmla="*/ 1038012 w 293328"/>
              <a:gd name="T53" fmla="*/ 11069930 h 258401"/>
              <a:gd name="T54" fmla="*/ 26722298 w 293328"/>
              <a:gd name="T55" fmla="*/ 16409461 h 258401"/>
              <a:gd name="T56" fmla="*/ 25252179 w 293328"/>
              <a:gd name="T57" fmla="*/ 7466708 h 258401"/>
              <a:gd name="T58" fmla="*/ 21014519 w 293328"/>
              <a:gd name="T59" fmla="*/ 26437412 h 258401"/>
              <a:gd name="T60" fmla="*/ 31651633 w 293328"/>
              <a:gd name="T61" fmla="*/ 26437412 h 258401"/>
              <a:gd name="T62" fmla="*/ 34202613 w 293328"/>
              <a:gd name="T63" fmla="*/ 23963042 h 258401"/>
              <a:gd name="T64" fmla="*/ 32343327 w 293328"/>
              <a:gd name="T65" fmla="*/ 22877815 h 258401"/>
              <a:gd name="T66" fmla="*/ 32343327 w 293328"/>
              <a:gd name="T67" fmla="*/ 20967830 h 258401"/>
              <a:gd name="T68" fmla="*/ 34202613 w 293328"/>
              <a:gd name="T69" fmla="*/ 19882456 h 258401"/>
              <a:gd name="T70" fmla="*/ 26722298 w 293328"/>
              <a:gd name="T71" fmla="*/ 17494806 h 258401"/>
              <a:gd name="T72" fmla="*/ 21014519 w 293328"/>
              <a:gd name="T73" fmla="*/ 7466708 h 258401"/>
              <a:gd name="T74" fmla="*/ 10290941 w 293328"/>
              <a:gd name="T75" fmla="*/ 3559590 h 258401"/>
              <a:gd name="T76" fmla="*/ 11718072 w 293328"/>
              <a:gd name="T77" fmla="*/ 1041754 h 258401"/>
              <a:gd name="T78" fmla="*/ 6053678 w 293328"/>
              <a:gd name="T79" fmla="*/ 9984609 h 258401"/>
              <a:gd name="T80" fmla="*/ 12799067 w 293328"/>
              <a:gd name="T81" fmla="*/ 1041754 h 258401"/>
              <a:gd name="T82" fmla="*/ 12280200 w 293328"/>
              <a:gd name="T83" fmla="*/ 5339544 h 258401"/>
              <a:gd name="T84" fmla="*/ 8907366 w 293328"/>
              <a:gd name="T85" fmla="*/ 5296325 h 258401"/>
              <a:gd name="T86" fmla="*/ 8172406 w 293328"/>
              <a:gd name="T87" fmla="*/ 1041754 h 258401"/>
              <a:gd name="T88" fmla="*/ 15479727 w 293328"/>
              <a:gd name="T89" fmla="*/ 0 h 258401"/>
              <a:gd name="T90" fmla="*/ 19933601 w 293328"/>
              <a:gd name="T91" fmla="*/ 9984609 h 258401"/>
              <a:gd name="T92" fmla="*/ 25252179 w 293328"/>
              <a:gd name="T93" fmla="*/ 6381406 h 258401"/>
              <a:gd name="T94" fmla="*/ 35240414 w 293328"/>
              <a:gd name="T95" fmla="*/ 19838874 h 258401"/>
              <a:gd name="T96" fmla="*/ 31651633 w 293328"/>
              <a:gd name="T97" fmla="*/ 27522882 h 258401"/>
              <a:gd name="T98" fmla="*/ 13144847 w 293328"/>
              <a:gd name="T99" fmla="*/ 27522882 h 258401"/>
              <a:gd name="T100" fmla="*/ 1945877 w 293328"/>
              <a:gd name="T101" fmla="*/ 27522882 h 258401"/>
              <a:gd name="T102" fmla="*/ 0 w 293328"/>
              <a:gd name="T103" fmla="*/ 10549040 h 258401"/>
              <a:gd name="T104" fmla="*/ 4972696 w 293328"/>
              <a:gd name="T105" fmla="*/ 520909 h 2584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3328" h="258401">
                <a:moveTo>
                  <a:pt x="229821" y="219075"/>
                </a:moveTo>
                <a:cubicBezTo>
                  <a:pt x="232386" y="219075"/>
                  <a:pt x="234584" y="220907"/>
                  <a:pt x="234584" y="223838"/>
                </a:cubicBezTo>
                <a:cubicBezTo>
                  <a:pt x="234584" y="226402"/>
                  <a:pt x="232386" y="228234"/>
                  <a:pt x="229821" y="228234"/>
                </a:cubicBezTo>
                <a:cubicBezTo>
                  <a:pt x="227257" y="228234"/>
                  <a:pt x="225425" y="226402"/>
                  <a:pt x="225425" y="223838"/>
                </a:cubicBezTo>
                <a:cubicBezTo>
                  <a:pt x="225425" y="220907"/>
                  <a:pt x="227257" y="219075"/>
                  <a:pt x="229821" y="219075"/>
                </a:cubicBezTo>
                <a:close/>
                <a:moveTo>
                  <a:pt x="76200" y="219075"/>
                </a:moveTo>
                <a:cubicBezTo>
                  <a:pt x="78398" y="219075"/>
                  <a:pt x="80597" y="220907"/>
                  <a:pt x="80597" y="223838"/>
                </a:cubicBezTo>
                <a:cubicBezTo>
                  <a:pt x="80597" y="226402"/>
                  <a:pt x="78398" y="228234"/>
                  <a:pt x="76200" y="228234"/>
                </a:cubicBezTo>
                <a:cubicBezTo>
                  <a:pt x="73636" y="228234"/>
                  <a:pt x="71438" y="226402"/>
                  <a:pt x="71438" y="223838"/>
                </a:cubicBezTo>
                <a:cubicBezTo>
                  <a:pt x="71438" y="220907"/>
                  <a:pt x="73636" y="219075"/>
                  <a:pt x="76200" y="219075"/>
                </a:cubicBezTo>
                <a:close/>
                <a:moveTo>
                  <a:pt x="229624" y="199214"/>
                </a:moveTo>
                <a:cubicBezTo>
                  <a:pt x="215947" y="199214"/>
                  <a:pt x="204430" y="210402"/>
                  <a:pt x="204430" y="224477"/>
                </a:cubicBezTo>
                <a:cubicBezTo>
                  <a:pt x="204430" y="238191"/>
                  <a:pt x="215947" y="249740"/>
                  <a:pt x="229624" y="249740"/>
                </a:cubicBezTo>
                <a:cubicBezTo>
                  <a:pt x="243660" y="249740"/>
                  <a:pt x="254818" y="238191"/>
                  <a:pt x="254818" y="224477"/>
                </a:cubicBezTo>
                <a:cubicBezTo>
                  <a:pt x="254818" y="210402"/>
                  <a:pt x="243660" y="199214"/>
                  <a:pt x="229624" y="199214"/>
                </a:cubicBezTo>
                <a:close/>
                <a:moveTo>
                  <a:pt x="75581" y="199214"/>
                </a:moveTo>
                <a:cubicBezTo>
                  <a:pt x="61545" y="199214"/>
                  <a:pt x="50388" y="210402"/>
                  <a:pt x="50388" y="224477"/>
                </a:cubicBezTo>
                <a:cubicBezTo>
                  <a:pt x="50388" y="238191"/>
                  <a:pt x="61545" y="249740"/>
                  <a:pt x="75581" y="249740"/>
                </a:cubicBezTo>
                <a:cubicBezTo>
                  <a:pt x="89258" y="249740"/>
                  <a:pt x="100415" y="238191"/>
                  <a:pt x="100415" y="224477"/>
                </a:cubicBezTo>
                <a:cubicBezTo>
                  <a:pt x="100415" y="210402"/>
                  <a:pt x="89258" y="199214"/>
                  <a:pt x="75581" y="199214"/>
                </a:cubicBezTo>
                <a:close/>
                <a:moveTo>
                  <a:pt x="8638" y="175395"/>
                </a:moveTo>
                <a:lnTo>
                  <a:pt x="8638" y="212568"/>
                </a:lnTo>
                <a:cubicBezTo>
                  <a:pt x="8638" y="216537"/>
                  <a:pt x="11877" y="219785"/>
                  <a:pt x="16196" y="219785"/>
                </a:cubicBezTo>
                <a:lnTo>
                  <a:pt x="41750" y="219785"/>
                </a:lnTo>
                <a:cubicBezTo>
                  <a:pt x="43909" y="203184"/>
                  <a:pt x="58306" y="190192"/>
                  <a:pt x="75581" y="190192"/>
                </a:cubicBezTo>
                <a:cubicBezTo>
                  <a:pt x="92857" y="190192"/>
                  <a:pt x="106894" y="203184"/>
                  <a:pt x="109413" y="219785"/>
                </a:cubicBezTo>
                <a:lnTo>
                  <a:pt x="165919" y="219785"/>
                </a:lnTo>
                <a:lnTo>
                  <a:pt x="165919" y="175395"/>
                </a:lnTo>
                <a:lnTo>
                  <a:pt x="8638" y="175395"/>
                </a:lnTo>
                <a:close/>
                <a:moveTo>
                  <a:pt x="199901" y="165100"/>
                </a:moveTo>
                <a:lnTo>
                  <a:pt x="222019" y="165100"/>
                </a:lnTo>
                <a:cubicBezTo>
                  <a:pt x="224873" y="165100"/>
                  <a:pt x="226656" y="166932"/>
                  <a:pt x="226656" y="169863"/>
                </a:cubicBezTo>
                <a:cubicBezTo>
                  <a:pt x="226656" y="172061"/>
                  <a:pt x="224873" y="174259"/>
                  <a:pt x="222019" y="174259"/>
                </a:cubicBezTo>
                <a:lnTo>
                  <a:pt x="199901" y="174259"/>
                </a:lnTo>
                <a:cubicBezTo>
                  <a:pt x="197404" y="174259"/>
                  <a:pt x="195263" y="172061"/>
                  <a:pt x="195263" y="169863"/>
                </a:cubicBezTo>
                <a:cubicBezTo>
                  <a:pt x="195263" y="166932"/>
                  <a:pt x="197404" y="165100"/>
                  <a:pt x="199901" y="165100"/>
                </a:cubicBezTo>
                <a:close/>
                <a:moveTo>
                  <a:pt x="118411" y="92028"/>
                </a:moveTo>
                <a:lnTo>
                  <a:pt x="118411" y="116569"/>
                </a:lnTo>
                <a:lnTo>
                  <a:pt x="127409" y="112960"/>
                </a:lnTo>
                <a:cubicBezTo>
                  <a:pt x="128128" y="112599"/>
                  <a:pt x="129208" y="112599"/>
                  <a:pt x="130288" y="112960"/>
                </a:cubicBezTo>
                <a:lnTo>
                  <a:pt x="139286" y="116569"/>
                </a:lnTo>
                <a:lnTo>
                  <a:pt x="139286" y="92028"/>
                </a:lnTo>
                <a:lnTo>
                  <a:pt x="118411" y="92028"/>
                </a:lnTo>
                <a:close/>
                <a:moveTo>
                  <a:pt x="91777" y="92028"/>
                </a:moveTo>
                <a:lnTo>
                  <a:pt x="91777" y="166373"/>
                </a:lnTo>
                <a:lnTo>
                  <a:pt x="165919" y="166373"/>
                </a:lnTo>
                <a:lnTo>
                  <a:pt x="165919" y="92028"/>
                </a:lnTo>
                <a:lnTo>
                  <a:pt x="148284" y="92028"/>
                </a:lnTo>
                <a:lnTo>
                  <a:pt x="148284" y="123065"/>
                </a:lnTo>
                <a:cubicBezTo>
                  <a:pt x="148284" y="124870"/>
                  <a:pt x="147204" y="125952"/>
                  <a:pt x="146124" y="126674"/>
                </a:cubicBezTo>
                <a:cubicBezTo>
                  <a:pt x="145044" y="127757"/>
                  <a:pt x="143245" y="127757"/>
                  <a:pt x="142165" y="127396"/>
                </a:cubicBezTo>
                <a:lnTo>
                  <a:pt x="128848" y="121983"/>
                </a:lnTo>
                <a:lnTo>
                  <a:pt x="115532" y="127396"/>
                </a:lnTo>
                <a:cubicBezTo>
                  <a:pt x="115172" y="127757"/>
                  <a:pt x="114452" y="127757"/>
                  <a:pt x="114092" y="127757"/>
                </a:cubicBezTo>
                <a:cubicBezTo>
                  <a:pt x="113012" y="127757"/>
                  <a:pt x="112292" y="127396"/>
                  <a:pt x="111573" y="126674"/>
                </a:cubicBezTo>
                <a:cubicBezTo>
                  <a:pt x="110493" y="125952"/>
                  <a:pt x="109413" y="124870"/>
                  <a:pt x="109413" y="123065"/>
                </a:cubicBezTo>
                <a:lnTo>
                  <a:pt x="109413" y="92028"/>
                </a:lnTo>
                <a:lnTo>
                  <a:pt x="91777" y="92028"/>
                </a:lnTo>
                <a:close/>
                <a:moveTo>
                  <a:pt x="35271" y="92028"/>
                </a:moveTo>
                <a:lnTo>
                  <a:pt x="35271" y="116569"/>
                </a:lnTo>
                <a:lnTo>
                  <a:pt x="44269" y="112960"/>
                </a:lnTo>
                <a:cubicBezTo>
                  <a:pt x="44629" y="112960"/>
                  <a:pt x="45349" y="112960"/>
                  <a:pt x="45709" y="112960"/>
                </a:cubicBezTo>
                <a:cubicBezTo>
                  <a:pt x="46428" y="112960"/>
                  <a:pt x="46788" y="112960"/>
                  <a:pt x="47508" y="112960"/>
                </a:cubicBezTo>
                <a:lnTo>
                  <a:pt x="56146" y="116569"/>
                </a:lnTo>
                <a:lnTo>
                  <a:pt x="56146" y="92028"/>
                </a:lnTo>
                <a:lnTo>
                  <a:pt x="35271" y="92028"/>
                </a:lnTo>
                <a:close/>
                <a:moveTo>
                  <a:pt x="8638" y="92028"/>
                </a:moveTo>
                <a:lnTo>
                  <a:pt x="8638" y="166373"/>
                </a:lnTo>
                <a:lnTo>
                  <a:pt x="82780" y="166373"/>
                </a:lnTo>
                <a:lnTo>
                  <a:pt x="82780" y="92028"/>
                </a:lnTo>
                <a:lnTo>
                  <a:pt x="65144" y="92028"/>
                </a:lnTo>
                <a:lnTo>
                  <a:pt x="65144" y="123065"/>
                </a:lnTo>
                <a:cubicBezTo>
                  <a:pt x="65144" y="124870"/>
                  <a:pt x="64064" y="125952"/>
                  <a:pt x="63344" y="126674"/>
                </a:cubicBezTo>
                <a:cubicBezTo>
                  <a:pt x="62265" y="127396"/>
                  <a:pt x="61545" y="127757"/>
                  <a:pt x="60825" y="127757"/>
                </a:cubicBezTo>
                <a:cubicBezTo>
                  <a:pt x="60105" y="127757"/>
                  <a:pt x="59385" y="127757"/>
                  <a:pt x="59025" y="127396"/>
                </a:cubicBezTo>
                <a:lnTo>
                  <a:pt x="45709" y="121983"/>
                </a:lnTo>
                <a:lnTo>
                  <a:pt x="32752" y="127396"/>
                </a:lnTo>
                <a:cubicBezTo>
                  <a:pt x="31312" y="127757"/>
                  <a:pt x="29513" y="127757"/>
                  <a:pt x="28433" y="126674"/>
                </a:cubicBezTo>
                <a:cubicBezTo>
                  <a:pt x="27353" y="125952"/>
                  <a:pt x="26273" y="124870"/>
                  <a:pt x="26273" y="123065"/>
                </a:cubicBezTo>
                <a:lnTo>
                  <a:pt x="26273" y="92028"/>
                </a:lnTo>
                <a:lnTo>
                  <a:pt x="8638" y="92028"/>
                </a:lnTo>
                <a:close/>
                <a:moveTo>
                  <a:pt x="204430" y="62074"/>
                </a:moveTo>
                <a:lnTo>
                  <a:pt x="204430" y="118374"/>
                </a:lnTo>
                <a:cubicBezTo>
                  <a:pt x="204430" y="128479"/>
                  <a:pt x="212708" y="136418"/>
                  <a:pt x="222426" y="136418"/>
                </a:cubicBezTo>
                <a:lnTo>
                  <a:pt x="258417" y="136418"/>
                </a:lnTo>
                <a:lnTo>
                  <a:pt x="233223" y="77592"/>
                </a:lnTo>
                <a:cubicBezTo>
                  <a:pt x="229264" y="68209"/>
                  <a:pt x="220266" y="62074"/>
                  <a:pt x="210189" y="62074"/>
                </a:cubicBezTo>
                <a:lnTo>
                  <a:pt x="204430" y="62074"/>
                </a:lnTo>
                <a:close/>
                <a:moveTo>
                  <a:pt x="174917" y="62074"/>
                </a:moveTo>
                <a:lnTo>
                  <a:pt x="174917" y="219785"/>
                </a:lnTo>
                <a:lnTo>
                  <a:pt x="195792" y="219785"/>
                </a:lnTo>
                <a:cubicBezTo>
                  <a:pt x="197952" y="203184"/>
                  <a:pt x="212348" y="190192"/>
                  <a:pt x="229624" y="190192"/>
                </a:cubicBezTo>
                <a:cubicBezTo>
                  <a:pt x="246900" y="190192"/>
                  <a:pt x="261296" y="203184"/>
                  <a:pt x="263456" y="219785"/>
                </a:cubicBezTo>
                <a:lnTo>
                  <a:pt x="277132" y="219785"/>
                </a:lnTo>
                <a:cubicBezTo>
                  <a:pt x="281091" y="219785"/>
                  <a:pt x="284690" y="216537"/>
                  <a:pt x="284690" y="212568"/>
                </a:cubicBezTo>
                <a:lnTo>
                  <a:pt x="284690" y="199214"/>
                </a:lnTo>
                <a:lnTo>
                  <a:pt x="269214" y="199214"/>
                </a:lnTo>
                <a:cubicBezTo>
                  <a:pt x="267055" y="199214"/>
                  <a:pt x="264895" y="197049"/>
                  <a:pt x="264895" y="194523"/>
                </a:cubicBezTo>
                <a:cubicBezTo>
                  <a:pt x="264895" y="191996"/>
                  <a:pt x="267055" y="190192"/>
                  <a:pt x="269214" y="190192"/>
                </a:cubicBezTo>
                <a:lnTo>
                  <a:pt x="284690" y="190192"/>
                </a:lnTo>
                <a:lnTo>
                  <a:pt x="284690" y="174313"/>
                </a:lnTo>
                <a:lnTo>
                  <a:pt x="269214" y="174313"/>
                </a:lnTo>
                <a:cubicBezTo>
                  <a:pt x="267055" y="174313"/>
                  <a:pt x="264895" y="172147"/>
                  <a:pt x="264895" y="169982"/>
                </a:cubicBezTo>
                <a:cubicBezTo>
                  <a:pt x="264895" y="167095"/>
                  <a:pt x="267055" y="165290"/>
                  <a:pt x="269214" y="165290"/>
                </a:cubicBezTo>
                <a:lnTo>
                  <a:pt x="284690" y="165290"/>
                </a:lnTo>
                <a:lnTo>
                  <a:pt x="284690" y="164929"/>
                </a:lnTo>
                <a:cubicBezTo>
                  <a:pt x="284690" y="154102"/>
                  <a:pt x="275693" y="145441"/>
                  <a:pt x="265255" y="145441"/>
                </a:cubicBezTo>
                <a:lnTo>
                  <a:pt x="222426" y="145441"/>
                </a:lnTo>
                <a:cubicBezTo>
                  <a:pt x="207669" y="145441"/>
                  <a:pt x="195432" y="133531"/>
                  <a:pt x="195432" y="118374"/>
                </a:cubicBezTo>
                <a:lnTo>
                  <a:pt x="195432" y="62074"/>
                </a:lnTo>
                <a:lnTo>
                  <a:pt x="174917" y="62074"/>
                </a:lnTo>
                <a:close/>
                <a:moveTo>
                  <a:pt x="77021" y="8661"/>
                </a:moveTo>
                <a:lnTo>
                  <a:pt x="77021" y="33202"/>
                </a:lnTo>
                <a:lnTo>
                  <a:pt x="85659" y="29593"/>
                </a:lnTo>
                <a:cubicBezTo>
                  <a:pt x="86739" y="29232"/>
                  <a:pt x="87818" y="29232"/>
                  <a:pt x="88898" y="29593"/>
                </a:cubicBezTo>
                <a:lnTo>
                  <a:pt x="97536" y="33202"/>
                </a:lnTo>
                <a:lnTo>
                  <a:pt x="97536" y="8661"/>
                </a:lnTo>
                <a:lnTo>
                  <a:pt x="77021" y="8661"/>
                </a:lnTo>
                <a:close/>
                <a:moveTo>
                  <a:pt x="50388" y="8661"/>
                </a:moveTo>
                <a:lnTo>
                  <a:pt x="50388" y="83006"/>
                </a:lnTo>
                <a:lnTo>
                  <a:pt x="124169" y="83006"/>
                </a:lnTo>
                <a:lnTo>
                  <a:pt x="124169" y="8661"/>
                </a:lnTo>
                <a:lnTo>
                  <a:pt x="106534" y="8661"/>
                </a:lnTo>
                <a:lnTo>
                  <a:pt x="106534" y="40059"/>
                </a:lnTo>
                <a:cubicBezTo>
                  <a:pt x="106534" y="41503"/>
                  <a:pt x="105814" y="42946"/>
                  <a:pt x="104734" y="43307"/>
                </a:cubicBezTo>
                <a:cubicBezTo>
                  <a:pt x="104014" y="44029"/>
                  <a:pt x="102935" y="44390"/>
                  <a:pt x="102215" y="44390"/>
                </a:cubicBezTo>
                <a:cubicBezTo>
                  <a:pt x="101855" y="44390"/>
                  <a:pt x="101135" y="44390"/>
                  <a:pt x="100415" y="44029"/>
                </a:cubicBezTo>
                <a:lnTo>
                  <a:pt x="87458" y="38977"/>
                </a:lnTo>
                <a:lnTo>
                  <a:pt x="74142" y="44029"/>
                </a:lnTo>
                <a:cubicBezTo>
                  <a:pt x="72702" y="44751"/>
                  <a:pt x="71262" y="44390"/>
                  <a:pt x="69823" y="43307"/>
                </a:cubicBezTo>
                <a:cubicBezTo>
                  <a:pt x="68743" y="42946"/>
                  <a:pt x="68023" y="41503"/>
                  <a:pt x="68023" y="40059"/>
                </a:cubicBezTo>
                <a:lnTo>
                  <a:pt x="68023" y="8661"/>
                </a:lnTo>
                <a:lnTo>
                  <a:pt x="50388" y="8661"/>
                </a:lnTo>
                <a:close/>
                <a:moveTo>
                  <a:pt x="45709" y="0"/>
                </a:moveTo>
                <a:lnTo>
                  <a:pt x="128848" y="0"/>
                </a:lnTo>
                <a:cubicBezTo>
                  <a:pt x="131368" y="0"/>
                  <a:pt x="133527" y="1804"/>
                  <a:pt x="133527" y="4331"/>
                </a:cubicBezTo>
                <a:lnTo>
                  <a:pt x="133527" y="83006"/>
                </a:lnTo>
                <a:lnTo>
                  <a:pt x="165919" y="83006"/>
                </a:lnTo>
                <a:lnTo>
                  <a:pt x="165919" y="57743"/>
                </a:lnTo>
                <a:cubicBezTo>
                  <a:pt x="165919" y="55578"/>
                  <a:pt x="167719" y="53051"/>
                  <a:pt x="170238" y="53051"/>
                </a:cubicBezTo>
                <a:lnTo>
                  <a:pt x="210189" y="53051"/>
                </a:lnTo>
                <a:cubicBezTo>
                  <a:pt x="223865" y="53051"/>
                  <a:pt x="236102" y="61352"/>
                  <a:pt x="241501" y="73983"/>
                </a:cubicBezTo>
                <a:lnTo>
                  <a:pt x="268134" y="136779"/>
                </a:lnTo>
                <a:cubicBezTo>
                  <a:pt x="282531" y="138223"/>
                  <a:pt x="293328" y="150493"/>
                  <a:pt x="293328" y="164929"/>
                </a:cubicBezTo>
                <a:lnTo>
                  <a:pt x="293328" y="212568"/>
                </a:lnTo>
                <a:cubicBezTo>
                  <a:pt x="293328" y="221590"/>
                  <a:pt x="286130" y="228808"/>
                  <a:pt x="277132" y="228808"/>
                </a:cubicBezTo>
                <a:lnTo>
                  <a:pt x="263456" y="228808"/>
                </a:lnTo>
                <a:cubicBezTo>
                  <a:pt x="261296" y="245409"/>
                  <a:pt x="246900" y="258401"/>
                  <a:pt x="229624" y="258401"/>
                </a:cubicBezTo>
                <a:cubicBezTo>
                  <a:pt x="212348" y="258401"/>
                  <a:pt x="197952" y="245409"/>
                  <a:pt x="195792" y="228808"/>
                </a:cubicBezTo>
                <a:lnTo>
                  <a:pt x="109413" y="228808"/>
                </a:lnTo>
                <a:cubicBezTo>
                  <a:pt x="106894" y="245409"/>
                  <a:pt x="92857" y="258401"/>
                  <a:pt x="75581" y="258401"/>
                </a:cubicBezTo>
                <a:cubicBezTo>
                  <a:pt x="58306" y="258401"/>
                  <a:pt x="43909" y="245409"/>
                  <a:pt x="41750" y="228808"/>
                </a:cubicBezTo>
                <a:lnTo>
                  <a:pt x="16196" y="228808"/>
                </a:lnTo>
                <a:cubicBezTo>
                  <a:pt x="7198" y="228808"/>
                  <a:pt x="0" y="221590"/>
                  <a:pt x="0" y="212568"/>
                </a:cubicBezTo>
                <a:lnTo>
                  <a:pt x="0" y="170704"/>
                </a:lnTo>
                <a:lnTo>
                  <a:pt x="0" y="87697"/>
                </a:lnTo>
                <a:cubicBezTo>
                  <a:pt x="0" y="85171"/>
                  <a:pt x="1799" y="83006"/>
                  <a:pt x="4319" y="83006"/>
                </a:cubicBezTo>
                <a:lnTo>
                  <a:pt x="41390" y="83006"/>
                </a:lnTo>
                <a:lnTo>
                  <a:pt x="41390" y="4331"/>
                </a:lnTo>
                <a:cubicBezTo>
                  <a:pt x="41390" y="1804"/>
                  <a:pt x="43549" y="0"/>
                  <a:pt x="45709"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pic>
        <p:nvPicPr>
          <p:cNvPr id="53" name="Graphic 52" descr="Magnifying glass with solid fill">
            <a:extLst>
              <a:ext uri="{FF2B5EF4-FFF2-40B4-BE49-F238E27FC236}">
                <a16:creationId xmlns:a16="http://schemas.microsoft.com/office/drawing/2014/main" id="{33C7E71D-A63D-939E-1C11-175C0AA82AF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70162" y="5579759"/>
            <a:ext cx="581573" cy="581573"/>
          </a:xfrm>
          <a:prstGeom prst="rect">
            <a:avLst/>
          </a:prstGeom>
        </p:spPr>
      </p:pic>
      <p:pic>
        <p:nvPicPr>
          <p:cNvPr id="54" name="Graphic 53" descr="Checklist with solid fill">
            <a:extLst>
              <a:ext uri="{FF2B5EF4-FFF2-40B4-BE49-F238E27FC236}">
                <a16:creationId xmlns:a16="http://schemas.microsoft.com/office/drawing/2014/main" id="{05E1A23C-5DF9-C4F5-90EE-0ADF0A66A00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94089" y="5521177"/>
            <a:ext cx="682961" cy="682961"/>
          </a:xfrm>
          <a:prstGeom prst="rect">
            <a:avLst/>
          </a:prstGeom>
        </p:spPr>
      </p:pic>
      <p:sp>
        <p:nvSpPr>
          <p:cNvPr id="55" name="Rectangle 54">
            <a:extLst>
              <a:ext uri="{FF2B5EF4-FFF2-40B4-BE49-F238E27FC236}">
                <a16:creationId xmlns:a16="http://schemas.microsoft.com/office/drawing/2014/main" id="{0DACE58D-99C3-E5BB-73A0-8428B1710B5A}"/>
              </a:ext>
            </a:extLst>
          </p:cNvPr>
          <p:cNvSpPr/>
          <p:nvPr/>
        </p:nvSpPr>
        <p:spPr>
          <a:xfrm>
            <a:off x="863959"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solidFill>
            </a:endParaRPr>
          </a:p>
        </p:txBody>
      </p:sp>
      <p:sp>
        <p:nvSpPr>
          <p:cNvPr id="56" name="Rectangle 55">
            <a:extLst>
              <a:ext uri="{FF2B5EF4-FFF2-40B4-BE49-F238E27FC236}">
                <a16:creationId xmlns:a16="http://schemas.microsoft.com/office/drawing/2014/main" id="{6EF299EE-BBBB-9B92-A785-9BBF598BEAAE}"/>
              </a:ext>
            </a:extLst>
          </p:cNvPr>
          <p:cNvSpPr/>
          <p:nvPr/>
        </p:nvSpPr>
        <p:spPr>
          <a:xfrm>
            <a:off x="1248938"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solidFill>
            </a:endParaRPr>
          </a:p>
        </p:txBody>
      </p:sp>
      <p:sp>
        <p:nvSpPr>
          <p:cNvPr id="57" name="Rectangle 56">
            <a:extLst>
              <a:ext uri="{FF2B5EF4-FFF2-40B4-BE49-F238E27FC236}">
                <a16:creationId xmlns:a16="http://schemas.microsoft.com/office/drawing/2014/main" id="{176DDB36-3829-C962-9EFA-B3F7F92F8A81}"/>
              </a:ext>
            </a:extLst>
          </p:cNvPr>
          <p:cNvSpPr/>
          <p:nvPr/>
        </p:nvSpPr>
        <p:spPr>
          <a:xfrm>
            <a:off x="1633916"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solidFill>
            </a:endParaRPr>
          </a:p>
        </p:txBody>
      </p:sp>
      <p:sp>
        <p:nvSpPr>
          <p:cNvPr id="58" name="Rectangle 57">
            <a:extLst>
              <a:ext uri="{FF2B5EF4-FFF2-40B4-BE49-F238E27FC236}">
                <a16:creationId xmlns:a16="http://schemas.microsoft.com/office/drawing/2014/main" id="{5DC45BDF-BC33-4B2C-F4C2-78E92F688734}"/>
              </a:ext>
            </a:extLst>
          </p:cNvPr>
          <p:cNvSpPr/>
          <p:nvPr/>
        </p:nvSpPr>
        <p:spPr>
          <a:xfrm>
            <a:off x="3947719"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9" name="Rectangle 58">
            <a:extLst>
              <a:ext uri="{FF2B5EF4-FFF2-40B4-BE49-F238E27FC236}">
                <a16:creationId xmlns:a16="http://schemas.microsoft.com/office/drawing/2014/main" id="{FB5ACDE1-A2D5-8CAA-1418-183E3C1DB9A6}"/>
              </a:ext>
            </a:extLst>
          </p:cNvPr>
          <p:cNvSpPr/>
          <p:nvPr/>
        </p:nvSpPr>
        <p:spPr>
          <a:xfrm>
            <a:off x="4332698"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0" name="Rectangle 59">
            <a:extLst>
              <a:ext uri="{FF2B5EF4-FFF2-40B4-BE49-F238E27FC236}">
                <a16:creationId xmlns:a16="http://schemas.microsoft.com/office/drawing/2014/main" id="{7DB6823E-0F51-B10F-30FA-1FE83902BDCD}"/>
              </a:ext>
            </a:extLst>
          </p:cNvPr>
          <p:cNvSpPr/>
          <p:nvPr/>
        </p:nvSpPr>
        <p:spPr>
          <a:xfrm>
            <a:off x="4717676"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 name="TextBox 1">
            <a:extLst>
              <a:ext uri="{FF2B5EF4-FFF2-40B4-BE49-F238E27FC236}">
                <a16:creationId xmlns:a16="http://schemas.microsoft.com/office/drawing/2014/main" id="{3BE79CA2-7A3D-3867-0617-B73F13E72B21}"/>
              </a:ext>
            </a:extLst>
          </p:cNvPr>
          <p:cNvSpPr txBox="1"/>
          <p:nvPr/>
        </p:nvSpPr>
        <p:spPr>
          <a:xfrm>
            <a:off x="10368915" y="6230159"/>
            <a:ext cx="1514475" cy="246221"/>
          </a:xfrm>
          <a:prstGeom prst="rect">
            <a:avLst/>
          </a:prstGeom>
          <a:noFill/>
        </p:spPr>
        <p:txBody>
          <a:bodyPr wrap="square" rtlCol="0" anchor="t" anchorCtr="0">
            <a:spAutoFit/>
          </a:bodyPr>
          <a:lstStyle/>
          <a:p>
            <a:pPr algn="ctr"/>
            <a:r>
              <a:rPr lang="en-US" sz="1000" b="1" dirty="0">
                <a:solidFill>
                  <a:schemeClr val="bg1"/>
                </a:solidFill>
                <a:ea typeface="League Spartan" charset="0"/>
                <a:cs typeface="Poppins" pitchFamily="2" charset="77"/>
              </a:rPr>
              <a:t>Retrospective</a:t>
            </a:r>
          </a:p>
        </p:txBody>
      </p:sp>
    </p:spTree>
    <p:extLst>
      <p:ext uri="{BB962C8B-B14F-4D97-AF65-F5344CB8AC3E}">
        <p14:creationId xmlns:p14="http://schemas.microsoft.com/office/powerpoint/2010/main" val="15616302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at is Agil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5" name="Rounded Rectangle 52">
            <a:extLst>
              <a:ext uri="{FF2B5EF4-FFF2-40B4-BE49-F238E27FC236}">
                <a16:creationId xmlns:a16="http://schemas.microsoft.com/office/drawing/2014/main" id="{247F6326-D332-2A04-4630-2BDFDC25630B}"/>
              </a:ext>
            </a:extLst>
          </p:cNvPr>
          <p:cNvSpPr/>
          <p:nvPr/>
        </p:nvSpPr>
        <p:spPr>
          <a:xfrm>
            <a:off x="4340993" y="1727405"/>
            <a:ext cx="3222044" cy="4634348"/>
          </a:xfrm>
          <a:prstGeom prst="roundRect">
            <a:avLst>
              <a:gd name="adj" fmla="val 6426"/>
            </a:avLst>
          </a:prstGeom>
          <a:solidFill>
            <a:schemeClr val="accent1">
              <a:lumMod val="20000"/>
              <a:lumOff val="80000"/>
              <a:alpha val="1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Chevron 36">
            <a:extLst>
              <a:ext uri="{FF2B5EF4-FFF2-40B4-BE49-F238E27FC236}">
                <a16:creationId xmlns:a16="http://schemas.microsoft.com/office/drawing/2014/main" id="{EE633E52-16D9-D230-7A93-FAEA37942BE1}"/>
              </a:ext>
            </a:extLst>
          </p:cNvPr>
          <p:cNvSpPr/>
          <p:nvPr/>
        </p:nvSpPr>
        <p:spPr>
          <a:xfrm rot="5400000">
            <a:off x="3185100" y="2659675"/>
            <a:ext cx="942810" cy="35246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9" name="Chevron 37">
            <a:extLst>
              <a:ext uri="{FF2B5EF4-FFF2-40B4-BE49-F238E27FC236}">
                <a16:creationId xmlns:a16="http://schemas.microsoft.com/office/drawing/2014/main" id="{B3B4CDCE-BD19-4E32-4DFE-F54A612019D0}"/>
              </a:ext>
            </a:extLst>
          </p:cNvPr>
          <p:cNvSpPr/>
          <p:nvPr/>
        </p:nvSpPr>
        <p:spPr>
          <a:xfrm rot="16200000">
            <a:off x="3170015" y="4932234"/>
            <a:ext cx="942810" cy="35246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0" name="TextBox 29">
            <a:extLst>
              <a:ext uri="{FF2B5EF4-FFF2-40B4-BE49-F238E27FC236}">
                <a16:creationId xmlns:a16="http://schemas.microsoft.com/office/drawing/2014/main" id="{66C76843-6B6E-B80E-E71A-E12956293EB4}"/>
              </a:ext>
            </a:extLst>
          </p:cNvPr>
          <p:cNvSpPr txBox="1"/>
          <p:nvPr/>
        </p:nvSpPr>
        <p:spPr>
          <a:xfrm>
            <a:off x="5206124" y="5608366"/>
            <a:ext cx="1644929" cy="307777"/>
          </a:xfrm>
          <a:prstGeom prst="rect">
            <a:avLst/>
          </a:prstGeom>
          <a:noFill/>
        </p:spPr>
        <p:txBody>
          <a:bodyPr wrap="square" rtlCol="0">
            <a:spAutoFit/>
          </a:bodyPr>
          <a:lstStyle/>
          <a:p>
            <a:r>
              <a:rPr lang="en-US" sz="1400" dirty="0"/>
              <a:t>Agile is a </a:t>
            </a:r>
            <a:r>
              <a:rPr lang="en-US" sz="1400" b="1" dirty="0"/>
              <a:t>Mindset</a:t>
            </a:r>
          </a:p>
        </p:txBody>
      </p:sp>
      <p:sp>
        <p:nvSpPr>
          <p:cNvPr id="31" name="TextBox 30">
            <a:extLst>
              <a:ext uri="{FF2B5EF4-FFF2-40B4-BE49-F238E27FC236}">
                <a16:creationId xmlns:a16="http://schemas.microsoft.com/office/drawing/2014/main" id="{3CBEF3CF-A68C-7068-3324-3E428E4F80AE}"/>
              </a:ext>
            </a:extLst>
          </p:cNvPr>
          <p:cNvSpPr txBox="1"/>
          <p:nvPr/>
        </p:nvSpPr>
        <p:spPr>
          <a:xfrm>
            <a:off x="4944609" y="4468627"/>
            <a:ext cx="2187573" cy="307777"/>
          </a:xfrm>
          <a:prstGeom prst="rect">
            <a:avLst/>
          </a:prstGeom>
          <a:noFill/>
        </p:spPr>
        <p:txBody>
          <a:bodyPr wrap="square" rtlCol="0">
            <a:spAutoFit/>
          </a:bodyPr>
          <a:lstStyle/>
          <a:p>
            <a:pPr algn="ctr"/>
            <a:r>
              <a:rPr lang="en-US" sz="1400" dirty="0"/>
              <a:t>Described by </a:t>
            </a:r>
            <a:r>
              <a:rPr lang="en-US" sz="1400" b="1" dirty="0"/>
              <a:t>4 values</a:t>
            </a:r>
          </a:p>
        </p:txBody>
      </p:sp>
      <p:sp>
        <p:nvSpPr>
          <p:cNvPr id="32" name="TextBox 31">
            <a:extLst>
              <a:ext uri="{FF2B5EF4-FFF2-40B4-BE49-F238E27FC236}">
                <a16:creationId xmlns:a16="http://schemas.microsoft.com/office/drawing/2014/main" id="{EC6B6928-7A91-4CA2-AE5C-793718FB4C27}"/>
              </a:ext>
            </a:extLst>
          </p:cNvPr>
          <p:cNvSpPr txBox="1"/>
          <p:nvPr/>
        </p:nvSpPr>
        <p:spPr>
          <a:xfrm>
            <a:off x="4678354" y="3365563"/>
            <a:ext cx="2512803" cy="307777"/>
          </a:xfrm>
          <a:prstGeom prst="rect">
            <a:avLst/>
          </a:prstGeom>
          <a:noFill/>
        </p:spPr>
        <p:txBody>
          <a:bodyPr wrap="square" rtlCol="0">
            <a:spAutoFit/>
          </a:bodyPr>
          <a:lstStyle/>
          <a:p>
            <a:pPr algn="ctr"/>
            <a:r>
              <a:rPr lang="en-US" sz="1400" dirty="0"/>
              <a:t>Defined by </a:t>
            </a:r>
            <a:r>
              <a:rPr lang="en-US" sz="1400" b="1" dirty="0"/>
              <a:t>12 principles</a:t>
            </a:r>
          </a:p>
        </p:txBody>
      </p:sp>
      <p:sp>
        <p:nvSpPr>
          <p:cNvPr id="33" name="TextBox 32">
            <a:extLst>
              <a:ext uri="{FF2B5EF4-FFF2-40B4-BE49-F238E27FC236}">
                <a16:creationId xmlns:a16="http://schemas.microsoft.com/office/drawing/2014/main" id="{94677AFF-9434-40DB-86AC-3614970E9D79}"/>
              </a:ext>
            </a:extLst>
          </p:cNvPr>
          <p:cNvSpPr txBox="1"/>
          <p:nvPr/>
        </p:nvSpPr>
        <p:spPr>
          <a:xfrm>
            <a:off x="4678354" y="1957279"/>
            <a:ext cx="2561435" cy="738664"/>
          </a:xfrm>
          <a:prstGeom prst="rect">
            <a:avLst/>
          </a:prstGeom>
          <a:noFill/>
        </p:spPr>
        <p:txBody>
          <a:bodyPr wrap="square" rtlCol="0">
            <a:spAutoFit/>
          </a:bodyPr>
          <a:lstStyle/>
          <a:p>
            <a:pPr algn="ctr"/>
            <a:r>
              <a:rPr lang="en-US" sz="1400" dirty="0"/>
              <a:t>Agile comes to life through an </a:t>
            </a:r>
            <a:r>
              <a:rPr lang="en-US" sz="1400" b="1" dirty="0"/>
              <a:t>unlimited number of practices</a:t>
            </a:r>
          </a:p>
        </p:txBody>
      </p:sp>
      <p:sp>
        <p:nvSpPr>
          <p:cNvPr id="34" name="TextBox 33">
            <a:extLst>
              <a:ext uri="{FF2B5EF4-FFF2-40B4-BE49-F238E27FC236}">
                <a16:creationId xmlns:a16="http://schemas.microsoft.com/office/drawing/2014/main" id="{0DCFB50A-E109-B77A-45ED-F6680FF9D67E}"/>
              </a:ext>
            </a:extLst>
          </p:cNvPr>
          <p:cNvSpPr txBox="1"/>
          <p:nvPr/>
        </p:nvSpPr>
        <p:spPr>
          <a:xfrm>
            <a:off x="3345404" y="1747701"/>
            <a:ext cx="637525" cy="401138"/>
          </a:xfrm>
          <a:prstGeom prst="rect">
            <a:avLst/>
          </a:prstGeom>
          <a:noFill/>
        </p:spPr>
        <p:txBody>
          <a:bodyPr wrap="none" rtlCol="0">
            <a:spAutoFit/>
          </a:bodyPr>
          <a:lstStyle/>
          <a:p>
            <a:pPr algn="ctr"/>
            <a:r>
              <a:rPr lang="en-US" sz="1100" b="1" dirty="0"/>
              <a:t>DOING </a:t>
            </a:r>
          </a:p>
          <a:p>
            <a:pPr algn="ctr"/>
            <a:r>
              <a:rPr lang="en-US" sz="1100" b="1" dirty="0"/>
              <a:t>AGILE</a:t>
            </a:r>
          </a:p>
        </p:txBody>
      </p:sp>
      <p:sp>
        <p:nvSpPr>
          <p:cNvPr id="35" name="TextBox 34">
            <a:extLst>
              <a:ext uri="{FF2B5EF4-FFF2-40B4-BE49-F238E27FC236}">
                <a16:creationId xmlns:a16="http://schemas.microsoft.com/office/drawing/2014/main" id="{2D5AED87-A715-7E3A-7AEF-CC76CCF307AA}"/>
              </a:ext>
            </a:extLst>
          </p:cNvPr>
          <p:cNvSpPr txBox="1"/>
          <p:nvPr/>
        </p:nvSpPr>
        <p:spPr>
          <a:xfrm>
            <a:off x="3345782" y="5817476"/>
            <a:ext cx="588277" cy="401138"/>
          </a:xfrm>
          <a:prstGeom prst="rect">
            <a:avLst/>
          </a:prstGeom>
          <a:noFill/>
        </p:spPr>
        <p:txBody>
          <a:bodyPr wrap="none" rtlCol="0">
            <a:spAutoFit/>
          </a:bodyPr>
          <a:lstStyle/>
          <a:p>
            <a:pPr algn="ctr"/>
            <a:r>
              <a:rPr lang="en-US" sz="1100" b="1" dirty="0"/>
              <a:t>BEING</a:t>
            </a:r>
          </a:p>
          <a:p>
            <a:pPr algn="ctr"/>
            <a:r>
              <a:rPr lang="en-US" sz="1100" b="1" dirty="0"/>
              <a:t>AGILE</a:t>
            </a:r>
          </a:p>
        </p:txBody>
      </p:sp>
      <p:cxnSp>
        <p:nvCxnSpPr>
          <p:cNvPr id="124" name="Straight Connector 123">
            <a:extLst>
              <a:ext uri="{FF2B5EF4-FFF2-40B4-BE49-F238E27FC236}">
                <a16:creationId xmlns:a16="http://schemas.microsoft.com/office/drawing/2014/main" id="{08426622-A373-3F3F-C096-86A9A1D7EF54}"/>
              </a:ext>
            </a:extLst>
          </p:cNvPr>
          <p:cNvCxnSpPr/>
          <p:nvPr/>
        </p:nvCxnSpPr>
        <p:spPr>
          <a:xfrm>
            <a:off x="2938845" y="5267872"/>
            <a:ext cx="6336000" cy="0"/>
          </a:xfrm>
          <a:prstGeom prst="line">
            <a:avLst/>
          </a:prstGeom>
          <a:ln w="127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pic>
        <p:nvPicPr>
          <p:cNvPr id="132" name="Graphic 131" descr="Head with gears with solid fill">
            <a:extLst>
              <a:ext uri="{FF2B5EF4-FFF2-40B4-BE49-F238E27FC236}">
                <a16:creationId xmlns:a16="http://schemas.microsoft.com/office/drawing/2014/main" id="{B3AFCCF9-8ECF-6192-F21F-B9CA84689B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23306" y="5475708"/>
            <a:ext cx="683536" cy="683536"/>
          </a:xfrm>
          <a:prstGeom prst="rect">
            <a:avLst/>
          </a:prstGeom>
        </p:spPr>
      </p:pic>
      <p:pic>
        <p:nvPicPr>
          <p:cNvPr id="134" name="Graphic 133" descr="Heart with solid fill">
            <a:extLst>
              <a:ext uri="{FF2B5EF4-FFF2-40B4-BE49-F238E27FC236}">
                <a16:creationId xmlns:a16="http://schemas.microsoft.com/office/drawing/2014/main" id="{551EECB0-62A8-4D47-CAA7-8C77C37676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76812" y="4373578"/>
            <a:ext cx="342900" cy="342900"/>
          </a:xfrm>
          <a:prstGeom prst="rect">
            <a:avLst/>
          </a:prstGeom>
        </p:spPr>
      </p:pic>
      <p:pic>
        <p:nvPicPr>
          <p:cNvPr id="135" name="Graphic 134" descr="Heart with solid fill">
            <a:extLst>
              <a:ext uri="{FF2B5EF4-FFF2-40B4-BE49-F238E27FC236}">
                <a16:creationId xmlns:a16="http://schemas.microsoft.com/office/drawing/2014/main" id="{FFEB4FBB-9ADE-A3A6-E511-5C645A51E5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19623" y="4373578"/>
            <a:ext cx="342900" cy="342900"/>
          </a:xfrm>
          <a:prstGeom prst="rect">
            <a:avLst/>
          </a:prstGeom>
        </p:spPr>
      </p:pic>
      <p:pic>
        <p:nvPicPr>
          <p:cNvPr id="136" name="Graphic 135" descr="Heart with solid fill">
            <a:extLst>
              <a:ext uri="{FF2B5EF4-FFF2-40B4-BE49-F238E27FC236}">
                <a16:creationId xmlns:a16="http://schemas.microsoft.com/office/drawing/2014/main" id="{70F73AA4-AF95-8626-2D9A-4EAEA179B4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19623" y="4745597"/>
            <a:ext cx="342900" cy="342900"/>
          </a:xfrm>
          <a:prstGeom prst="rect">
            <a:avLst/>
          </a:prstGeom>
        </p:spPr>
      </p:pic>
      <p:pic>
        <p:nvPicPr>
          <p:cNvPr id="137" name="Graphic 136" descr="Heart with solid fill">
            <a:extLst>
              <a:ext uri="{FF2B5EF4-FFF2-40B4-BE49-F238E27FC236}">
                <a16:creationId xmlns:a16="http://schemas.microsoft.com/office/drawing/2014/main" id="{0FC206F8-E59B-C20C-355A-1AB8FCE980E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76723" y="4745597"/>
            <a:ext cx="342900" cy="342900"/>
          </a:xfrm>
          <a:prstGeom prst="rect">
            <a:avLst/>
          </a:prstGeom>
        </p:spPr>
      </p:pic>
      <p:pic>
        <p:nvPicPr>
          <p:cNvPr id="144" name="Graphic 143" descr="List with solid fill">
            <a:extLst>
              <a:ext uri="{FF2B5EF4-FFF2-40B4-BE49-F238E27FC236}">
                <a16:creationId xmlns:a16="http://schemas.microsoft.com/office/drawing/2014/main" id="{AC8AF552-53EF-4808-4B8B-B1074E7FC9C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05937" y="3251013"/>
            <a:ext cx="514350" cy="514350"/>
          </a:xfrm>
          <a:prstGeom prst="rect">
            <a:avLst/>
          </a:prstGeom>
        </p:spPr>
      </p:pic>
      <p:pic>
        <p:nvPicPr>
          <p:cNvPr id="145" name="Graphic 144" descr="List with solid fill">
            <a:extLst>
              <a:ext uri="{FF2B5EF4-FFF2-40B4-BE49-F238E27FC236}">
                <a16:creationId xmlns:a16="http://schemas.microsoft.com/office/drawing/2014/main" id="{5B394156-B1F1-0C6D-2C8C-5AE628D78D4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86391" y="3251013"/>
            <a:ext cx="514350" cy="514350"/>
          </a:xfrm>
          <a:prstGeom prst="rect">
            <a:avLst/>
          </a:prstGeom>
        </p:spPr>
      </p:pic>
      <p:pic>
        <p:nvPicPr>
          <p:cNvPr id="146" name="Graphic 145" descr="List with solid fill">
            <a:extLst>
              <a:ext uri="{FF2B5EF4-FFF2-40B4-BE49-F238E27FC236}">
                <a16:creationId xmlns:a16="http://schemas.microsoft.com/office/drawing/2014/main" id="{636C60F5-3C49-3CD3-AE4D-339073AD9E3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666845" y="3251013"/>
            <a:ext cx="514350" cy="514350"/>
          </a:xfrm>
          <a:prstGeom prst="rect">
            <a:avLst/>
          </a:prstGeom>
        </p:spPr>
      </p:pic>
      <p:pic>
        <p:nvPicPr>
          <p:cNvPr id="157" name="Graphic 156" descr="Badge Tick1 with solid fill">
            <a:extLst>
              <a:ext uri="{FF2B5EF4-FFF2-40B4-BE49-F238E27FC236}">
                <a16:creationId xmlns:a16="http://schemas.microsoft.com/office/drawing/2014/main" id="{E886C788-1AA3-33C6-2851-B616CAFE68C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023950" y="1953982"/>
            <a:ext cx="275866" cy="275866"/>
          </a:xfrm>
          <a:prstGeom prst="rect">
            <a:avLst/>
          </a:prstGeom>
        </p:spPr>
      </p:pic>
      <p:pic>
        <p:nvPicPr>
          <p:cNvPr id="160" name="Graphic 159" descr="Badge Tick1 with solid fill">
            <a:extLst>
              <a:ext uri="{FF2B5EF4-FFF2-40B4-BE49-F238E27FC236}">
                <a16:creationId xmlns:a16="http://schemas.microsoft.com/office/drawing/2014/main" id="{07196107-98F1-E9B2-2016-5F5E1904669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73457" y="1953982"/>
            <a:ext cx="275866" cy="275866"/>
          </a:xfrm>
          <a:prstGeom prst="rect">
            <a:avLst/>
          </a:prstGeom>
        </p:spPr>
      </p:pic>
      <p:pic>
        <p:nvPicPr>
          <p:cNvPr id="161" name="Graphic 160" descr="Badge Tick1 with solid fill">
            <a:extLst>
              <a:ext uri="{FF2B5EF4-FFF2-40B4-BE49-F238E27FC236}">
                <a16:creationId xmlns:a16="http://schemas.microsoft.com/office/drawing/2014/main" id="{4827320C-001E-C37D-4FDD-9F492B58DA3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22963" y="1953982"/>
            <a:ext cx="275866" cy="275866"/>
          </a:xfrm>
          <a:prstGeom prst="rect">
            <a:avLst/>
          </a:prstGeom>
        </p:spPr>
      </p:pic>
      <p:pic>
        <p:nvPicPr>
          <p:cNvPr id="162" name="Graphic 161" descr="Badge Tick1 with solid fill">
            <a:extLst>
              <a:ext uri="{FF2B5EF4-FFF2-40B4-BE49-F238E27FC236}">
                <a16:creationId xmlns:a16="http://schemas.microsoft.com/office/drawing/2014/main" id="{BA50C98B-868E-6F5A-6A59-1307835B730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023950" y="2225039"/>
            <a:ext cx="275866" cy="275866"/>
          </a:xfrm>
          <a:prstGeom prst="rect">
            <a:avLst/>
          </a:prstGeom>
        </p:spPr>
      </p:pic>
      <p:pic>
        <p:nvPicPr>
          <p:cNvPr id="163" name="Graphic 162" descr="Badge Tick1 with solid fill">
            <a:extLst>
              <a:ext uri="{FF2B5EF4-FFF2-40B4-BE49-F238E27FC236}">
                <a16:creationId xmlns:a16="http://schemas.microsoft.com/office/drawing/2014/main" id="{8E7E9F15-A75C-4DD8-C724-ADF5CDB5D56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73457" y="2225039"/>
            <a:ext cx="275866" cy="275866"/>
          </a:xfrm>
          <a:prstGeom prst="rect">
            <a:avLst/>
          </a:prstGeom>
        </p:spPr>
      </p:pic>
      <p:pic>
        <p:nvPicPr>
          <p:cNvPr id="164" name="Graphic 163" descr="Badge Tick1 with solid fill">
            <a:extLst>
              <a:ext uri="{FF2B5EF4-FFF2-40B4-BE49-F238E27FC236}">
                <a16:creationId xmlns:a16="http://schemas.microsoft.com/office/drawing/2014/main" id="{D52779BE-BD9E-7E05-FAE4-25FE3147318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22963" y="2225039"/>
            <a:ext cx="275866" cy="275866"/>
          </a:xfrm>
          <a:prstGeom prst="rect">
            <a:avLst/>
          </a:prstGeom>
        </p:spPr>
      </p:pic>
      <p:pic>
        <p:nvPicPr>
          <p:cNvPr id="165" name="Graphic 164" descr="Badge Tick1 with solid fill">
            <a:extLst>
              <a:ext uri="{FF2B5EF4-FFF2-40B4-BE49-F238E27FC236}">
                <a16:creationId xmlns:a16="http://schemas.microsoft.com/office/drawing/2014/main" id="{6B9DF92A-54B0-337F-ED3F-CD3BF3F4D4F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023950" y="2479126"/>
            <a:ext cx="275866" cy="275866"/>
          </a:xfrm>
          <a:prstGeom prst="rect">
            <a:avLst/>
          </a:prstGeom>
        </p:spPr>
      </p:pic>
      <p:pic>
        <p:nvPicPr>
          <p:cNvPr id="166" name="Graphic 165" descr="Badge Tick1 with solid fill">
            <a:extLst>
              <a:ext uri="{FF2B5EF4-FFF2-40B4-BE49-F238E27FC236}">
                <a16:creationId xmlns:a16="http://schemas.microsoft.com/office/drawing/2014/main" id="{4FF83A15-F1A8-B04D-2FEF-04CBE57CDC6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73457" y="2479126"/>
            <a:ext cx="275866" cy="275866"/>
          </a:xfrm>
          <a:prstGeom prst="rect">
            <a:avLst/>
          </a:prstGeom>
        </p:spPr>
      </p:pic>
      <p:pic>
        <p:nvPicPr>
          <p:cNvPr id="167" name="Graphic 166" descr="Badge Tick1 with solid fill">
            <a:extLst>
              <a:ext uri="{FF2B5EF4-FFF2-40B4-BE49-F238E27FC236}">
                <a16:creationId xmlns:a16="http://schemas.microsoft.com/office/drawing/2014/main" id="{6EA9D0A7-8BC8-5AD6-A467-4B96653BD72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22963" y="2479126"/>
            <a:ext cx="275866" cy="275866"/>
          </a:xfrm>
          <a:prstGeom prst="rect">
            <a:avLst/>
          </a:prstGeom>
        </p:spPr>
      </p:pic>
      <p:pic>
        <p:nvPicPr>
          <p:cNvPr id="168" name="Graphic 167" descr="Badge Tick1 with solid fill">
            <a:extLst>
              <a:ext uri="{FF2B5EF4-FFF2-40B4-BE49-F238E27FC236}">
                <a16:creationId xmlns:a16="http://schemas.microsoft.com/office/drawing/2014/main" id="{476D65E5-BAB4-26F2-82A9-865C6EB6680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86300" y="1953982"/>
            <a:ext cx="275866" cy="275866"/>
          </a:xfrm>
          <a:prstGeom prst="rect">
            <a:avLst/>
          </a:prstGeom>
        </p:spPr>
      </p:pic>
      <p:pic>
        <p:nvPicPr>
          <p:cNvPr id="169" name="Graphic 168" descr="Badge Tick1 with solid fill">
            <a:extLst>
              <a:ext uri="{FF2B5EF4-FFF2-40B4-BE49-F238E27FC236}">
                <a16:creationId xmlns:a16="http://schemas.microsoft.com/office/drawing/2014/main" id="{B8F0D193-8E91-79B5-AF00-6A042082A02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86300" y="2225039"/>
            <a:ext cx="275866" cy="275866"/>
          </a:xfrm>
          <a:prstGeom prst="rect">
            <a:avLst/>
          </a:prstGeom>
        </p:spPr>
      </p:pic>
      <p:pic>
        <p:nvPicPr>
          <p:cNvPr id="170" name="Graphic 169" descr="Badge Tick1 with solid fill">
            <a:extLst>
              <a:ext uri="{FF2B5EF4-FFF2-40B4-BE49-F238E27FC236}">
                <a16:creationId xmlns:a16="http://schemas.microsoft.com/office/drawing/2014/main" id="{09BE2A18-19E9-6568-12E3-21F6D02C069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86300" y="2479126"/>
            <a:ext cx="275866" cy="275866"/>
          </a:xfrm>
          <a:prstGeom prst="rect">
            <a:avLst/>
          </a:prstGeom>
        </p:spPr>
      </p:pic>
      <p:cxnSp>
        <p:nvCxnSpPr>
          <p:cNvPr id="173" name="Straight Connector 172">
            <a:extLst>
              <a:ext uri="{FF2B5EF4-FFF2-40B4-BE49-F238E27FC236}">
                <a16:creationId xmlns:a16="http://schemas.microsoft.com/office/drawing/2014/main" id="{D1D848F4-B621-0DD0-C36E-54560105F30A}"/>
              </a:ext>
            </a:extLst>
          </p:cNvPr>
          <p:cNvCxnSpPr/>
          <p:nvPr/>
        </p:nvCxnSpPr>
        <p:spPr>
          <a:xfrm>
            <a:off x="2938845" y="4124872"/>
            <a:ext cx="6336000" cy="0"/>
          </a:xfrm>
          <a:prstGeom prst="line">
            <a:avLst/>
          </a:prstGeom>
          <a:ln w="127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AEF8603-7D8B-D0D8-0BB9-9BDA0599A523}"/>
              </a:ext>
            </a:extLst>
          </p:cNvPr>
          <p:cNvCxnSpPr/>
          <p:nvPr/>
        </p:nvCxnSpPr>
        <p:spPr>
          <a:xfrm>
            <a:off x="2938845" y="2934247"/>
            <a:ext cx="6336000" cy="0"/>
          </a:xfrm>
          <a:prstGeom prst="line">
            <a:avLst/>
          </a:prstGeom>
          <a:ln w="127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93395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roblem</a:t>
            </a:r>
            <a:br>
              <a:rPr lang="en-US" sz="2400" dirty="0"/>
            </a:br>
            <a:r>
              <a:rPr lang="en-GB" b="0" dirty="0"/>
              <a:t>Projects are the lifeblood or organizations, but many projects fall short of expectations</a:t>
            </a:r>
            <a:endParaRPr lang="en-US" sz="2400" b="0" kern="0" dirty="0"/>
          </a:p>
        </p:txBody>
      </p:sp>
      <p:sp>
        <p:nvSpPr>
          <p:cNvPr id="60" name="Slide Number Placeholder 2">
            <a:extLst>
              <a:ext uri="{FF2B5EF4-FFF2-40B4-BE49-F238E27FC236}">
                <a16:creationId xmlns:a16="http://schemas.microsoft.com/office/drawing/2014/main" id="{3AF2310B-6B19-D70C-7ABD-78D9F88199B7}"/>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61" name="TextBox 60">
            <a:extLst>
              <a:ext uri="{FF2B5EF4-FFF2-40B4-BE49-F238E27FC236}">
                <a16:creationId xmlns:a16="http://schemas.microsoft.com/office/drawing/2014/main" id="{B9D03F71-77E6-BF1F-EAF3-F547C5059954}"/>
              </a:ext>
            </a:extLst>
          </p:cNvPr>
          <p:cNvSpPr txBox="1"/>
          <p:nvPr/>
        </p:nvSpPr>
        <p:spPr>
          <a:xfrm>
            <a:off x="514350" y="1633105"/>
            <a:ext cx="11169650" cy="4632037"/>
          </a:xfrm>
          <a:prstGeom prst="rect">
            <a:avLst/>
          </a:prstGeom>
          <a:noFill/>
        </p:spPr>
        <p:txBody>
          <a:bodyPr wrap="square" rtlCol="0">
            <a:spAutoFit/>
          </a:bodyPr>
          <a:lstStyle/>
          <a:p>
            <a:pPr>
              <a:spcBef>
                <a:spcPts val="300"/>
              </a:spcBef>
              <a:spcAft>
                <a:spcPts val="300"/>
              </a:spcAft>
            </a:pPr>
            <a:r>
              <a:rPr lang="en-GB" sz="1600" b="0" i="0" dirty="0">
                <a:solidFill>
                  <a:srgbClr val="002060"/>
                </a:solidFill>
                <a:effectLst/>
                <a:latin typeface="+mj-lt"/>
                <a:cs typeface="Calibri" panose="020F0502020204030204" pitchFamily="34" charset="0"/>
              </a:rPr>
              <a:t>Many of us have been there. You start off really excited about a project. And then in the middle of the journey, things start to fall apart. Deadlines are missed, deliverables don’t live up to expectations, and key stakeholders start to be dissatisfied.</a:t>
            </a:r>
          </a:p>
          <a:p>
            <a:pPr>
              <a:spcBef>
                <a:spcPts val="300"/>
              </a:spcBef>
              <a:spcAft>
                <a:spcPts val="300"/>
              </a:spcAft>
            </a:pPr>
            <a:endParaRPr lang="en-GB" sz="1600" dirty="0">
              <a:solidFill>
                <a:srgbClr val="002060"/>
              </a:solidFill>
              <a:latin typeface="+mj-lt"/>
              <a:cs typeface="Calibri" panose="020F0502020204030204" pitchFamily="34" charset="0"/>
            </a:endParaRPr>
          </a:p>
          <a:p>
            <a:pPr>
              <a:spcBef>
                <a:spcPts val="300"/>
              </a:spcBef>
              <a:spcAft>
                <a:spcPts val="300"/>
              </a:spcAft>
            </a:pPr>
            <a:r>
              <a:rPr lang="en-GB" sz="1600" dirty="0">
                <a:solidFill>
                  <a:srgbClr val="002060"/>
                </a:solidFill>
                <a:latin typeface="+mj-lt"/>
                <a:cs typeface="Calibri" panose="020F0502020204030204" pitchFamily="34" charset="0"/>
              </a:rPr>
              <a:t>By some estimates, Projects </a:t>
            </a:r>
            <a:r>
              <a:rPr lang="en-GB" sz="1600" b="0" i="0" dirty="0">
                <a:solidFill>
                  <a:srgbClr val="002060"/>
                </a:solidFill>
                <a:effectLst/>
                <a:latin typeface="+mj-lt"/>
                <a:cs typeface="Calibri" panose="020F0502020204030204" pitchFamily="34" charset="0"/>
              </a:rPr>
              <a:t>fail well over half the time.</a:t>
            </a:r>
          </a:p>
          <a:p>
            <a:pPr>
              <a:spcBef>
                <a:spcPts val="300"/>
              </a:spcBef>
              <a:spcAft>
                <a:spcPts val="300"/>
              </a:spcAft>
            </a:pPr>
            <a:endParaRPr lang="en-GB" sz="1600" b="0" i="0" dirty="0">
              <a:solidFill>
                <a:srgbClr val="002060"/>
              </a:solidFill>
              <a:effectLst/>
              <a:latin typeface="+mj-lt"/>
              <a:cs typeface="Calibri" panose="020F0502020204030204" pitchFamily="34" charset="0"/>
            </a:endParaRPr>
          </a:p>
          <a:p>
            <a:pPr>
              <a:spcBef>
                <a:spcPts val="300"/>
              </a:spcBef>
              <a:spcAft>
                <a:spcPts val="300"/>
              </a:spcAft>
            </a:pPr>
            <a:r>
              <a:rPr lang="en-GB" sz="1600" b="0" i="0" dirty="0">
                <a:solidFill>
                  <a:srgbClr val="002060"/>
                </a:solidFill>
                <a:effectLst/>
                <a:latin typeface="+mj-lt"/>
                <a:cs typeface="Calibri" panose="020F0502020204030204" pitchFamily="34" charset="0"/>
              </a:rPr>
              <a:t>But why do so many projects with such great potential end up as failures? Based on our experience working for tier-1 management consulting firms over the past 2 decades, we realized that many projects fall short of expectations because of:</a:t>
            </a:r>
          </a:p>
          <a:p>
            <a:pPr marL="285750" indent="-193675">
              <a:spcBef>
                <a:spcPts val="300"/>
              </a:spcBef>
              <a:spcAft>
                <a:spcPts val="300"/>
              </a:spcAft>
              <a:buFont typeface="Arial" panose="020B0604020202020204" pitchFamily="34" charset="0"/>
              <a:buChar char="•"/>
            </a:pPr>
            <a:r>
              <a:rPr lang="en-AU" sz="1600" dirty="0">
                <a:solidFill>
                  <a:srgbClr val="002060"/>
                </a:solidFill>
                <a:latin typeface="+mj-lt"/>
                <a:cs typeface="Calibri" panose="020F0502020204030204" pitchFamily="34" charset="0"/>
              </a:rPr>
              <a:t>Poor project management</a:t>
            </a:r>
          </a:p>
          <a:p>
            <a:pPr marL="285750" indent="-193675">
              <a:spcBef>
                <a:spcPts val="300"/>
              </a:spcBef>
              <a:spcAft>
                <a:spcPts val="300"/>
              </a:spcAft>
              <a:buFont typeface="Arial" panose="020B0604020202020204" pitchFamily="34" charset="0"/>
              <a:buChar char="•"/>
            </a:pPr>
            <a:r>
              <a:rPr lang="en-AU" sz="1600" dirty="0">
                <a:solidFill>
                  <a:srgbClr val="002060"/>
                </a:solidFill>
                <a:latin typeface="+mj-lt"/>
                <a:cs typeface="Calibri" panose="020F0502020204030204" pitchFamily="34" charset="0"/>
              </a:rPr>
              <a:t>Poor change management</a:t>
            </a:r>
          </a:p>
          <a:p>
            <a:pPr marL="285750" indent="-193675">
              <a:spcBef>
                <a:spcPts val="300"/>
              </a:spcBef>
              <a:spcAft>
                <a:spcPts val="300"/>
              </a:spcAft>
              <a:buFont typeface="Arial" panose="020B0604020202020204" pitchFamily="34" charset="0"/>
              <a:buChar char="•"/>
            </a:pPr>
            <a:r>
              <a:rPr lang="en-AU" sz="1600" dirty="0">
                <a:solidFill>
                  <a:srgbClr val="002060"/>
                </a:solidFill>
                <a:latin typeface="+mj-lt"/>
                <a:cs typeface="Calibri" panose="020F0502020204030204" pitchFamily="34" charset="0"/>
              </a:rPr>
              <a:t>Poor sponsorship</a:t>
            </a:r>
          </a:p>
          <a:p>
            <a:pPr marL="285750" indent="-193675">
              <a:spcBef>
                <a:spcPts val="300"/>
              </a:spcBef>
              <a:spcAft>
                <a:spcPts val="300"/>
              </a:spcAft>
              <a:buFont typeface="Arial" panose="020B0604020202020204" pitchFamily="34" charset="0"/>
              <a:buChar char="•"/>
            </a:pPr>
            <a:r>
              <a:rPr lang="en-AU" sz="1600" dirty="0">
                <a:solidFill>
                  <a:srgbClr val="002060"/>
                </a:solidFill>
                <a:latin typeface="+mj-lt"/>
                <a:cs typeface="Calibri" panose="020F0502020204030204" pitchFamily="34" charset="0"/>
              </a:rPr>
              <a:t>Unclear project objectives</a:t>
            </a:r>
          </a:p>
          <a:p>
            <a:pPr marL="285750" indent="-193675">
              <a:spcBef>
                <a:spcPts val="300"/>
              </a:spcBef>
              <a:spcAft>
                <a:spcPts val="300"/>
              </a:spcAft>
              <a:buFont typeface="Arial" panose="020B0604020202020204" pitchFamily="34" charset="0"/>
              <a:buChar char="•"/>
            </a:pPr>
            <a:r>
              <a:rPr lang="en-AU" sz="1600" dirty="0">
                <a:solidFill>
                  <a:srgbClr val="002060"/>
                </a:solidFill>
                <a:latin typeface="+mj-lt"/>
                <a:cs typeface="Calibri" panose="020F0502020204030204" pitchFamily="34" charset="0"/>
              </a:rPr>
              <a:t>Lack of project visibility</a:t>
            </a:r>
          </a:p>
          <a:p>
            <a:pPr marL="285750" indent="-193675">
              <a:spcBef>
                <a:spcPts val="300"/>
              </a:spcBef>
              <a:spcAft>
                <a:spcPts val="300"/>
              </a:spcAft>
              <a:buFont typeface="Arial" panose="020B0604020202020204" pitchFamily="34" charset="0"/>
              <a:buChar char="•"/>
            </a:pPr>
            <a:r>
              <a:rPr lang="en-AU" sz="1600" dirty="0">
                <a:solidFill>
                  <a:srgbClr val="002060"/>
                </a:solidFill>
                <a:latin typeface="+mj-lt"/>
                <a:cs typeface="Calibri" panose="020F0502020204030204" pitchFamily="34" charset="0"/>
              </a:rPr>
              <a:t>Unrealistic expectations</a:t>
            </a:r>
          </a:p>
          <a:p>
            <a:pPr marL="285750" indent="-193675">
              <a:spcBef>
                <a:spcPts val="300"/>
              </a:spcBef>
              <a:spcAft>
                <a:spcPts val="300"/>
              </a:spcAft>
              <a:buFont typeface="Arial" panose="020B0604020202020204" pitchFamily="34" charset="0"/>
              <a:buChar char="•"/>
            </a:pPr>
            <a:r>
              <a:rPr lang="en-AU" sz="1600" dirty="0">
                <a:solidFill>
                  <a:srgbClr val="002060"/>
                </a:solidFill>
                <a:latin typeface="+mj-lt"/>
                <a:cs typeface="Calibri" panose="020F0502020204030204" pitchFamily="34" charset="0"/>
              </a:rPr>
              <a:t>Communication gaps</a:t>
            </a:r>
          </a:p>
        </p:txBody>
      </p:sp>
    </p:spTree>
    <p:extLst>
      <p:ext uri="{BB962C8B-B14F-4D97-AF65-F5344CB8AC3E}">
        <p14:creationId xmlns:p14="http://schemas.microsoft.com/office/powerpoint/2010/main" val="623082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Scrum methodology</a:t>
            </a:r>
            <a:endParaRPr lang="en-US" sz="2400" b="0" kern="0" dirty="0"/>
          </a:p>
        </p:txBody>
      </p:sp>
      <p:sp>
        <p:nvSpPr>
          <p:cNvPr id="37" name="Right Arrow 20">
            <a:extLst>
              <a:ext uri="{FF2B5EF4-FFF2-40B4-BE49-F238E27FC236}">
                <a16:creationId xmlns:a16="http://schemas.microsoft.com/office/drawing/2014/main" id="{F7B2B109-8769-541C-0ADD-D6CA5A094C9C}"/>
              </a:ext>
            </a:extLst>
          </p:cNvPr>
          <p:cNvSpPr/>
          <p:nvPr/>
        </p:nvSpPr>
        <p:spPr>
          <a:xfrm>
            <a:off x="2343505" y="5098838"/>
            <a:ext cx="1336554" cy="682961"/>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2" name="Right Arrow 27">
            <a:extLst>
              <a:ext uri="{FF2B5EF4-FFF2-40B4-BE49-F238E27FC236}">
                <a16:creationId xmlns:a16="http://schemas.microsoft.com/office/drawing/2014/main" id="{2DF16F1A-61E8-50C0-D0F7-96C4000F65E6}"/>
              </a:ext>
            </a:extLst>
          </p:cNvPr>
          <p:cNvSpPr/>
          <p:nvPr/>
        </p:nvSpPr>
        <p:spPr>
          <a:xfrm>
            <a:off x="5520928" y="5098838"/>
            <a:ext cx="2419190" cy="682961"/>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4" name="Circular Arrow 29">
            <a:extLst>
              <a:ext uri="{FF2B5EF4-FFF2-40B4-BE49-F238E27FC236}">
                <a16:creationId xmlns:a16="http://schemas.microsoft.com/office/drawing/2014/main" id="{D745BF6B-3068-B058-35D1-9BA70938FC6E}"/>
              </a:ext>
            </a:extLst>
          </p:cNvPr>
          <p:cNvSpPr/>
          <p:nvPr/>
        </p:nvSpPr>
        <p:spPr>
          <a:xfrm flipH="1">
            <a:off x="5472412" y="3436274"/>
            <a:ext cx="2312437" cy="2314417"/>
          </a:xfrm>
          <a:prstGeom prst="circularArrow">
            <a:avLst>
              <a:gd name="adj1" fmla="val 14005"/>
              <a:gd name="adj2" fmla="val 1142319"/>
              <a:gd name="adj3" fmla="val 772832"/>
              <a:gd name="adj4" fmla="val 6321353"/>
              <a:gd name="adj5" fmla="val 125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45" name="Circular Arrow 30">
            <a:extLst>
              <a:ext uri="{FF2B5EF4-FFF2-40B4-BE49-F238E27FC236}">
                <a16:creationId xmlns:a16="http://schemas.microsoft.com/office/drawing/2014/main" id="{141A511E-48B2-9D51-871B-EC3DC1FB9C82}"/>
              </a:ext>
            </a:extLst>
          </p:cNvPr>
          <p:cNvSpPr/>
          <p:nvPr/>
        </p:nvSpPr>
        <p:spPr>
          <a:xfrm>
            <a:off x="5669447" y="2640802"/>
            <a:ext cx="1350282" cy="1351439"/>
          </a:xfrm>
          <a:prstGeom prst="circularArrow">
            <a:avLst>
              <a:gd name="adj1" fmla="val 12363"/>
              <a:gd name="adj2" fmla="val 1142319"/>
              <a:gd name="adj3" fmla="val 19549816"/>
              <a:gd name="adj4" fmla="val 6934449"/>
              <a:gd name="adj5" fmla="val 125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46" name="TextBox 45">
            <a:extLst>
              <a:ext uri="{FF2B5EF4-FFF2-40B4-BE49-F238E27FC236}">
                <a16:creationId xmlns:a16="http://schemas.microsoft.com/office/drawing/2014/main" id="{B86B01F6-8614-8DC0-B471-69B9CE334325}"/>
              </a:ext>
            </a:extLst>
          </p:cNvPr>
          <p:cNvSpPr txBox="1"/>
          <p:nvPr/>
        </p:nvSpPr>
        <p:spPr>
          <a:xfrm>
            <a:off x="507274" y="5803984"/>
            <a:ext cx="1718740" cy="253916"/>
          </a:xfrm>
          <a:prstGeom prst="rect">
            <a:avLst/>
          </a:prstGeom>
          <a:noFill/>
        </p:spPr>
        <p:txBody>
          <a:bodyPr wrap="none" rtlCol="0" anchor="b" anchorCtr="0">
            <a:spAutoFit/>
          </a:bodyPr>
          <a:lstStyle/>
          <a:p>
            <a:pPr algn="ctr"/>
            <a:r>
              <a:rPr lang="en-US" sz="1050" b="1" dirty="0">
                <a:solidFill>
                  <a:schemeClr val="tx2"/>
                </a:solidFill>
                <a:ea typeface="League Spartan" charset="0"/>
                <a:cs typeface="Poppins" pitchFamily="2" charset="77"/>
              </a:rPr>
              <a:t>1. PRODUCT BACKLOG</a:t>
            </a:r>
          </a:p>
        </p:txBody>
      </p:sp>
      <p:sp>
        <p:nvSpPr>
          <p:cNvPr id="47" name="TextBox 46">
            <a:extLst>
              <a:ext uri="{FF2B5EF4-FFF2-40B4-BE49-F238E27FC236}">
                <a16:creationId xmlns:a16="http://schemas.microsoft.com/office/drawing/2014/main" id="{E7B7972D-FE2D-5A67-B2BE-9BA0323B4F43}"/>
              </a:ext>
            </a:extLst>
          </p:cNvPr>
          <p:cNvSpPr txBox="1"/>
          <p:nvPr/>
        </p:nvSpPr>
        <p:spPr>
          <a:xfrm>
            <a:off x="3821012" y="5803984"/>
            <a:ext cx="1545616" cy="253916"/>
          </a:xfrm>
          <a:prstGeom prst="rect">
            <a:avLst/>
          </a:prstGeom>
          <a:noFill/>
        </p:spPr>
        <p:txBody>
          <a:bodyPr wrap="none" rtlCol="0" anchor="b" anchorCtr="0">
            <a:spAutoFit/>
          </a:bodyPr>
          <a:lstStyle/>
          <a:p>
            <a:pPr algn="ctr"/>
            <a:r>
              <a:rPr lang="en-US" sz="1050" b="1" dirty="0">
                <a:solidFill>
                  <a:schemeClr val="tx2"/>
                </a:solidFill>
                <a:ea typeface="League Spartan" charset="0"/>
                <a:cs typeface="Poppins" pitchFamily="2" charset="77"/>
              </a:rPr>
              <a:t>3. SPRINT BACKLOG</a:t>
            </a:r>
          </a:p>
        </p:txBody>
      </p:sp>
      <p:sp>
        <p:nvSpPr>
          <p:cNvPr id="48" name="TextBox 47">
            <a:extLst>
              <a:ext uri="{FF2B5EF4-FFF2-40B4-BE49-F238E27FC236}">
                <a16:creationId xmlns:a16="http://schemas.microsoft.com/office/drawing/2014/main" id="{DD93AE25-2ED5-64DC-E7DE-8FFB1ADF1533}"/>
              </a:ext>
            </a:extLst>
          </p:cNvPr>
          <p:cNvSpPr txBox="1"/>
          <p:nvPr/>
        </p:nvSpPr>
        <p:spPr>
          <a:xfrm>
            <a:off x="5848471" y="5803984"/>
            <a:ext cx="1649812" cy="253916"/>
          </a:xfrm>
          <a:prstGeom prst="rect">
            <a:avLst/>
          </a:prstGeom>
          <a:noFill/>
        </p:spPr>
        <p:txBody>
          <a:bodyPr wrap="none" rtlCol="0" anchor="b" anchorCtr="0">
            <a:spAutoFit/>
          </a:bodyPr>
          <a:lstStyle/>
          <a:p>
            <a:pPr algn="ctr"/>
            <a:r>
              <a:rPr lang="en-US" sz="1050" b="1" dirty="0">
                <a:solidFill>
                  <a:schemeClr val="tx2"/>
                </a:solidFill>
                <a:ea typeface="League Spartan" charset="0"/>
                <a:cs typeface="Poppins" pitchFamily="2" charset="77"/>
              </a:rPr>
              <a:t>4. SPRINT EXECUTION</a:t>
            </a:r>
          </a:p>
        </p:txBody>
      </p:sp>
      <p:sp>
        <p:nvSpPr>
          <p:cNvPr id="49" name="TextBox 48">
            <a:extLst>
              <a:ext uri="{FF2B5EF4-FFF2-40B4-BE49-F238E27FC236}">
                <a16:creationId xmlns:a16="http://schemas.microsoft.com/office/drawing/2014/main" id="{AE19FAC5-8EB6-F647-DB0F-D2766E1251EC}"/>
              </a:ext>
            </a:extLst>
          </p:cNvPr>
          <p:cNvSpPr txBox="1"/>
          <p:nvPr/>
        </p:nvSpPr>
        <p:spPr>
          <a:xfrm>
            <a:off x="8622036" y="5763434"/>
            <a:ext cx="2103114" cy="430887"/>
          </a:xfrm>
          <a:prstGeom prst="rect">
            <a:avLst/>
          </a:prstGeom>
          <a:noFill/>
        </p:spPr>
        <p:txBody>
          <a:bodyPr wrap="square" rtlCol="0" anchor="t" anchorCtr="0">
            <a:spAutoFit/>
          </a:bodyPr>
          <a:lstStyle/>
          <a:p>
            <a:pPr algn="ctr"/>
            <a:r>
              <a:rPr lang="en-US" sz="1050" b="1" dirty="0">
                <a:solidFill>
                  <a:schemeClr val="tx2"/>
                </a:solidFill>
                <a:ea typeface="League Spartan" charset="0"/>
                <a:cs typeface="Poppins" pitchFamily="2" charset="77"/>
              </a:rPr>
              <a:t>6. POTENTIALLY SHIPPABLE PRODUCT INCREMENT</a:t>
            </a:r>
          </a:p>
        </p:txBody>
      </p:sp>
      <p:sp>
        <p:nvSpPr>
          <p:cNvPr id="50" name="TextBox 49">
            <a:extLst>
              <a:ext uri="{FF2B5EF4-FFF2-40B4-BE49-F238E27FC236}">
                <a16:creationId xmlns:a16="http://schemas.microsoft.com/office/drawing/2014/main" id="{6EE3D263-D1B1-86FE-2CC6-C8DA6B2CEDF7}"/>
              </a:ext>
            </a:extLst>
          </p:cNvPr>
          <p:cNvSpPr txBox="1"/>
          <p:nvPr/>
        </p:nvSpPr>
        <p:spPr>
          <a:xfrm>
            <a:off x="6199668" y="4258899"/>
            <a:ext cx="857927" cy="477054"/>
          </a:xfrm>
          <a:prstGeom prst="rect">
            <a:avLst/>
          </a:prstGeom>
          <a:noFill/>
        </p:spPr>
        <p:txBody>
          <a:bodyPr wrap="none" rtlCol="0" anchor="b" anchorCtr="0">
            <a:spAutoFit/>
          </a:bodyPr>
          <a:lstStyle/>
          <a:p>
            <a:pPr algn="ctr"/>
            <a:r>
              <a:rPr lang="en-US" sz="1200" b="1" dirty="0">
                <a:solidFill>
                  <a:schemeClr val="tx2"/>
                </a:solidFill>
                <a:ea typeface="League Spartan" charset="0"/>
                <a:cs typeface="Poppins" pitchFamily="2" charset="77"/>
              </a:rPr>
              <a:t>SPRINT</a:t>
            </a:r>
            <a:r>
              <a:rPr lang="en-US" sz="1400" b="1" dirty="0">
                <a:solidFill>
                  <a:schemeClr val="tx2"/>
                </a:solidFill>
                <a:ea typeface="League Spartan" charset="0"/>
                <a:cs typeface="Poppins" pitchFamily="2" charset="77"/>
              </a:rPr>
              <a:t> </a:t>
            </a:r>
          </a:p>
          <a:p>
            <a:pPr algn="ctr"/>
            <a:r>
              <a:rPr lang="en-US" sz="1100" dirty="0">
                <a:ea typeface="Lato Light" panose="020F0502020204030203" pitchFamily="34" charset="0"/>
              </a:rPr>
              <a:t>1-4 Weeks</a:t>
            </a:r>
          </a:p>
        </p:txBody>
      </p:sp>
      <p:sp>
        <p:nvSpPr>
          <p:cNvPr id="51" name="TextBox 50">
            <a:extLst>
              <a:ext uri="{FF2B5EF4-FFF2-40B4-BE49-F238E27FC236}">
                <a16:creationId xmlns:a16="http://schemas.microsoft.com/office/drawing/2014/main" id="{61BC6372-0D87-87BF-32B6-E416B01B744B}"/>
              </a:ext>
            </a:extLst>
          </p:cNvPr>
          <p:cNvSpPr txBox="1"/>
          <p:nvPr/>
        </p:nvSpPr>
        <p:spPr>
          <a:xfrm>
            <a:off x="7039325" y="2906691"/>
            <a:ext cx="1000595" cy="446276"/>
          </a:xfrm>
          <a:prstGeom prst="rect">
            <a:avLst/>
          </a:prstGeom>
          <a:noFill/>
        </p:spPr>
        <p:txBody>
          <a:bodyPr wrap="none" rtlCol="0" anchor="b" anchorCtr="0">
            <a:spAutoFit/>
          </a:bodyPr>
          <a:lstStyle/>
          <a:p>
            <a:pPr algn="ctr"/>
            <a:r>
              <a:rPr lang="en-US" sz="1200" b="1" dirty="0">
                <a:solidFill>
                  <a:schemeClr val="tx2"/>
                </a:solidFill>
                <a:ea typeface="League Spartan" charset="0"/>
                <a:cs typeface="Poppins" pitchFamily="2" charset="77"/>
              </a:rPr>
              <a:t>STANDUP</a:t>
            </a:r>
          </a:p>
          <a:p>
            <a:pPr algn="ctr"/>
            <a:r>
              <a:rPr lang="en-US" sz="1100" dirty="0">
                <a:solidFill>
                  <a:schemeClr val="tx1"/>
                </a:solidFill>
                <a:latin typeface="+mn-lt"/>
                <a:ea typeface="Lato Light" panose="020F0502020204030203" pitchFamily="34" charset="0"/>
                <a:cs typeface="Mukta ExtraLight" panose="020B0000000000000000" pitchFamily="34" charset="77"/>
              </a:rPr>
              <a:t>15 min, Daily</a:t>
            </a:r>
            <a:endParaRPr lang="en-US" sz="1600" b="1" dirty="0">
              <a:solidFill>
                <a:schemeClr val="tx2"/>
              </a:solidFill>
              <a:ea typeface="League Spartan" charset="0"/>
              <a:cs typeface="Poppins" pitchFamily="2" charset="77"/>
            </a:endParaRPr>
          </a:p>
        </p:txBody>
      </p:sp>
      <p:sp>
        <p:nvSpPr>
          <p:cNvPr id="56" name="TextBox 55">
            <a:extLst>
              <a:ext uri="{FF2B5EF4-FFF2-40B4-BE49-F238E27FC236}">
                <a16:creationId xmlns:a16="http://schemas.microsoft.com/office/drawing/2014/main" id="{1CCACC58-6354-CB22-C3FC-F79E585C88EC}"/>
              </a:ext>
            </a:extLst>
          </p:cNvPr>
          <p:cNvSpPr txBox="1"/>
          <p:nvPr/>
        </p:nvSpPr>
        <p:spPr>
          <a:xfrm>
            <a:off x="2173833" y="5846460"/>
            <a:ext cx="1568058" cy="392415"/>
          </a:xfrm>
          <a:prstGeom prst="rect">
            <a:avLst/>
          </a:prstGeom>
          <a:noFill/>
        </p:spPr>
        <p:txBody>
          <a:bodyPr wrap="none" rtlCol="0" anchor="b" anchorCtr="0">
            <a:spAutoFit/>
          </a:bodyPr>
          <a:lstStyle/>
          <a:p>
            <a:pPr algn="ctr"/>
            <a:r>
              <a:rPr lang="en-US" sz="1050" b="1" dirty="0">
                <a:solidFill>
                  <a:schemeClr val="tx2"/>
                </a:solidFill>
                <a:ea typeface="League Spartan" charset="0"/>
                <a:cs typeface="Poppins" pitchFamily="2" charset="77"/>
              </a:rPr>
              <a:t>2. SPRINT PLANNING</a:t>
            </a:r>
          </a:p>
          <a:p>
            <a:pPr algn="ctr"/>
            <a:r>
              <a:rPr lang="en-US" sz="900" dirty="0">
                <a:ea typeface="Lato Light" panose="020F0502020204030203" pitchFamily="34" charset="0"/>
              </a:rPr>
              <a:t>1 day</a:t>
            </a:r>
          </a:p>
        </p:txBody>
      </p:sp>
      <p:sp>
        <p:nvSpPr>
          <p:cNvPr id="58" name="TextBox 57">
            <a:extLst>
              <a:ext uri="{FF2B5EF4-FFF2-40B4-BE49-F238E27FC236}">
                <a16:creationId xmlns:a16="http://schemas.microsoft.com/office/drawing/2014/main" id="{47905F45-7470-53AC-BC17-75201AA6B2B1}"/>
              </a:ext>
            </a:extLst>
          </p:cNvPr>
          <p:cNvSpPr txBox="1"/>
          <p:nvPr/>
        </p:nvSpPr>
        <p:spPr>
          <a:xfrm>
            <a:off x="7784849" y="5772959"/>
            <a:ext cx="971893" cy="415498"/>
          </a:xfrm>
          <a:prstGeom prst="rect">
            <a:avLst/>
          </a:prstGeom>
          <a:noFill/>
        </p:spPr>
        <p:txBody>
          <a:bodyPr wrap="square" rtlCol="0" anchor="t" anchorCtr="0">
            <a:spAutoFit/>
          </a:bodyPr>
          <a:lstStyle/>
          <a:p>
            <a:pPr algn="ctr"/>
            <a:r>
              <a:rPr lang="en-US" sz="1050" b="1" dirty="0">
                <a:solidFill>
                  <a:schemeClr val="tx2"/>
                </a:solidFill>
                <a:ea typeface="League Spartan" charset="0"/>
                <a:cs typeface="Poppins" pitchFamily="2" charset="77"/>
              </a:rPr>
              <a:t>5. SPRINT REVIEW</a:t>
            </a:r>
          </a:p>
        </p:txBody>
      </p:sp>
      <p:sp>
        <p:nvSpPr>
          <p:cNvPr id="2" name="Rectangle 1">
            <a:extLst>
              <a:ext uri="{FF2B5EF4-FFF2-40B4-BE49-F238E27FC236}">
                <a16:creationId xmlns:a16="http://schemas.microsoft.com/office/drawing/2014/main" id="{B46426B1-8963-973F-4F03-C83B3A8C1066}"/>
              </a:ext>
            </a:extLst>
          </p:cNvPr>
          <p:cNvSpPr/>
          <p:nvPr/>
        </p:nvSpPr>
        <p:spPr>
          <a:xfrm>
            <a:off x="645955" y="2607291"/>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7" name="Rectangle 26">
            <a:extLst>
              <a:ext uri="{FF2B5EF4-FFF2-40B4-BE49-F238E27FC236}">
                <a16:creationId xmlns:a16="http://schemas.microsoft.com/office/drawing/2014/main" id="{D7BC9ADB-D48D-65BF-EC80-2C125CED8782}"/>
              </a:ext>
            </a:extLst>
          </p:cNvPr>
          <p:cNvSpPr/>
          <p:nvPr/>
        </p:nvSpPr>
        <p:spPr>
          <a:xfrm>
            <a:off x="645955" y="2987350"/>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9" name="Rectangle 58">
            <a:extLst>
              <a:ext uri="{FF2B5EF4-FFF2-40B4-BE49-F238E27FC236}">
                <a16:creationId xmlns:a16="http://schemas.microsoft.com/office/drawing/2014/main" id="{4AC20426-A45B-D1AC-BDF8-94EC7E3F844B}"/>
              </a:ext>
            </a:extLst>
          </p:cNvPr>
          <p:cNvSpPr/>
          <p:nvPr/>
        </p:nvSpPr>
        <p:spPr>
          <a:xfrm>
            <a:off x="645955" y="3367409"/>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3" name="Rectangle 62">
            <a:extLst>
              <a:ext uri="{FF2B5EF4-FFF2-40B4-BE49-F238E27FC236}">
                <a16:creationId xmlns:a16="http://schemas.microsoft.com/office/drawing/2014/main" id="{E3B58E93-71EE-EB4C-5290-70F4BDA8F0F2}"/>
              </a:ext>
            </a:extLst>
          </p:cNvPr>
          <p:cNvSpPr/>
          <p:nvPr/>
        </p:nvSpPr>
        <p:spPr>
          <a:xfrm>
            <a:off x="645955" y="3747468"/>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7" name="Rectangle 66">
            <a:extLst>
              <a:ext uri="{FF2B5EF4-FFF2-40B4-BE49-F238E27FC236}">
                <a16:creationId xmlns:a16="http://schemas.microsoft.com/office/drawing/2014/main" id="{D1DC1319-96D0-5ACD-6CEC-6F7C1E562EE1}"/>
              </a:ext>
            </a:extLst>
          </p:cNvPr>
          <p:cNvSpPr/>
          <p:nvPr/>
        </p:nvSpPr>
        <p:spPr>
          <a:xfrm>
            <a:off x="645955" y="4127527"/>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1" name="Rectangle 70">
            <a:extLst>
              <a:ext uri="{FF2B5EF4-FFF2-40B4-BE49-F238E27FC236}">
                <a16:creationId xmlns:a16="http://schemas.microsoft.com/office/drawing/2014/main" id="{B2D1A642-C2A7-24E2-BB26-9684A7926155}"/>
              </a:ext>
            </a:extLst>
          </p:cNvPr>
          <p:cNvSpPr/>
          <p:nvPr/>
        </p:nvSpPr>
        <p:spPr>
          <a:xfrm>
            <a:off x="645955" y="4507586"/>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5" name="Rectangle 74">
            <a:extLst>
              <a:ext uri="{FF2B5EF4-FFF2-40B4-BE49-F238E27FC236}">
                <a16:creationId xmlns:a16="http://schemas.microsoft.com/office/drawing/2014/main" id="{91DFCC82-11CD-D32C-4697-CE8A3A6C0FFB}"/>
              </a:ext>
            </a:extLst>
          </p:cNvPr>
          <p:cNvSpPr/>
          <p:nvPr/>
        </p:nvSpPr>
        <p:spPr>
          <a:xfrm>
            <a:off x="645955" y="4887645"/>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9" name="Rectangle 78">
            <a:extLst>
              <a:ext uri="{FF2B5EF4-FFF2-40B4-BE49-F238E27FC236}">
                <a16:creationId xmlns:a16="http://schemas.microsoft.com/office/drawing/2014/main" id="{AE11171D-923D-93F6-F764-E4A2C9F2F187}"/>
              </a:ext>
            </a:extLst>
          </p:cNvPr>
          <p:cNvSpPr/>
          <p:nvPr/>
        </p:nvSpPr>
        <p:spPr>
          <a:xfrm>
            <a:off x="645955" y="5267701"/>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4" name="Rectangle 103">
            <a:extLst>
              <a:ext uri="{FF2B5EF4-FFF2-40B4-BE49-F238E27FC236}">
                <a16:creationId xmlns:a16="http://schemas.microsoft.com/office/drawing/2014/main" id="{D00D28C8-9559-0692-953F-D3D7624291B6}"/>
              </a:ext>
            </a:extLst>
          </p:cNvPr>
          <p:cNvSpPr/>
          <p:nvPr/>
        </p:nvSpPr>
        <p:spPr>
          <a:xfrm>
            <a:off x="1138785" y="2607291"/>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5" name="Rectangle 104">
            <a:extLst>
              <a:ext uri="{FF2B5EF4-FFF2-40B4-BE49-F238E27FC236}">
                <a16:creationId xmlns:a16="http://schemas.microsoft.com/office/drawing/2014/main" id="{557AF819-0F5E-62AE-9472-E67A55413FE5}"/>
              </a:ext>
            </a:extLst>
          </p:cNvPr>
          <p:cNvSpPr/>
          <p:nvPr/>
        </p:nvSpPr>
        <p:spPr>
          <a:xfrm>
            <a:off x="1138785" y="2987350"/>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6" name="Rectangle 105">
            <a:extLst>
              <a:ext uri="{FF2B5EF4-FFF2-40B4-BE49-F238E27FC236}">
                <a16:creationId xmlns:a16="http://schemas.microsoft.com/office/drawing/2014/main" id="{735FEF36-F9DF-29B0-CCCF-77D0C4C76177}"/>
              </a:ext>
            </a:extLst>
          </p:cNvPr>
          <p:cNvSpPr/>
          <p:nvPr/>
        </p:nvSpPr>
        <p:spPr>
          <a:xfrm>
            <a:off x="1138785" y="3367409"/>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7" name="Rectangle 106">
            <a:extLst>
              <a:ext uri="{FF2B5EF4-FFF2-40B4-BE49-F238E27FC236}">
                <a16:creationId xmlns:a16="http://schemas.microsoft.com/office/drawing/2014/main" id="{FA199576-710B-D9A5-BD8A-72C33AFD26DE}"/>
              </a:ext>
            </a:extLst>
          </p:cNvPr>
          <p:cNvSpPr/>
          <p:nvPr/>
        </p:nvSpPr>
        <p:spPr>
          <a:xfrm>
            <a:off x="1138785" y="3747468"/>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8" name="Rectangle 107">
            <a:extLst>
              <a:ext uri="{FF2B5EF4-FFF2-40B4-BE49-F238E27FC236}">
                <a16:creationId xmlns:a16="http://schemas.microsoft.com/office/drawing/2014/main" id="{252BB4D5-0018-1943-F373-482C9F26927F}"/>
              </a:ext>
            </a:extLst>
          </p:cNvPr>
          <p:cNvSpPr/>
          <p:nvPr/>
        </p:nvSpPr>
        <p:spPr>
          <a:xfrm>
            <a:off x="1138785" y="4127527"/>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9" name="Rectangle 108">
            <a:extLst>
              <a:ext uri="{FF2B5EF4-FFF2-40B4-BE49-F238E27FC236}">
                <a16:creationId xmlns:a16="http://schemas.microsoft.com/office/drawing/2014/main" id="{8E23D51D-4B64-5677-6423-33EDDB4039AC}"/>
              </a:ext>
            </a:extLst>
          </p:cNvPr>
          <p:cNvSpPr/>
          <p:nvPr/>
        </p:nvSpPr>
        <p:spPr>
          <a:xfrm>
            <a:off x="1138785" y="4507586"/>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0" name="Rectangle 109">
            <a:extLst>
              <a:ext uri="{FF2B5EF4-FFF2-40B4-BE49-F238E27FC236}">
                <a16:creationId xmlns:a16="http://schemas.microsoft.com/office/drawing/2014/main" id="{57646926-B280-D2A3-8EF0-49177FA5553F}"/>
              </a:ext>
            </a:extLst>
          </p:cNvPr>
          <p:cNvSpPr/>
          <p:nvPr/>
        </p:nvSpPr>
        <p:spPr>
          <a:xfrm>
            <a:off x="1138785" y="4887645"/>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1" name="Rectangle 110">
            <a:extLst>
              <a:ext uri="{FF2B5EF4-FFF2-40B4-BE49-F238E27FC236}">
                <a16:creationId xmlns:a16="http://schemas.microsoft.com/office/drawing/2014/main" id="{5E98760B-C7ED-A250-0C27-1B3E54D802F3}"/>
              </a:ext>
            </a:extLst>
          </p:cNvPr>
          <p:cNvSpPr/>
          <p:nvPr/>
        </p:nvSpPr>
        <p:spPr>
          <a:xfrm>
            <a:off x="1138785" y="5267701"/>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2" name="Rectangle 111">
            <a:extLst>
              <a:ext uri="{FF2B5EF4-FFF2-40B4-BE49-F238E27FC236}">
                <a16:creationId xmlns:a16="http://schemas.microsoft.com/office/drawing/2014/main" id="{0D51C19C-8B94-B004-D04E-68B324AD805C}"/>
              </a:ext>
            </a:extLst>
          </p:cNvPr>
          <p:cNvSpPr/>
          <p:nvPr/>
        </p:nvSpPr>
        <p:spPr>
          <a:xfrm>
            <a:off x="1633082" y="2607291"/>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3" name="Rectangle 112">
            <a:extLst>
              <a:ext uri="{FF2B5EF4-FFF2-40B4-BE49-F238E27FC236}">
                <a16:creationId xmlns:a16="http://schemas.microsoft.com/office/drawing/2014/main" id="{BC32598F-FD65-2128-31FB-0747D652672A}"/>
              </a:ext>
            </a:extLst>
          </p:cNvPr>
          <p:cNvSpPr/>
          <p:nvPr/>
        </p:nvSpPr>
        <p:spPr>
          <a:xfrm>
            <a:off x="1633082" y="2987350"/>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4" name="Rectangle 113">
            <a:extLst>
              <a:ext uri="{FF2B5EF4-FFF2-40B4-BE49-F238E27FC236}">
                <a16:creationId xmlns:a16="http://schemas.microsoft.com/office/drawing/2014/main" id="{E9A02FDB-D7CB-F1A6-0325-851DB72885A7}"/>
              </a:ext>
            </a:extLst>
          </p:cNvPr>
          <p:cNvSpPr/>
          <p:nvPr/>
        </p:nvSpPr>
        <p:spPr>
          <a:xfrm>
            <a:off x="1633082" y="3367409"/>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5" name="Rectangle 114">
            <a:extLst>
              <a:ext uri="{FF2B5EF4-FFF2-40B4-BE49-F238E27FC236}">
                <a16:creationId xmlns:a16="http://schemas.microsoft.com/office/drawing/2014/main" id="{2AC01FDC-576C-199E-DBA0-C78717D93B92}"/>
              </a:ext>
            </a:extLst>
          </p:cNvPr>
          <p:cNvSpPr/>
          <p:nvPr/>
        </p:nvSpPr>
        <p:spPr>
          <a:xfrm>
            <a:off x="1633082" y="3747468"/>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6" name="Rectangle 115">
            <a:extLst>
              <a:ext uri="{FF2B5EF4-FFF2-40B4-BE49-F238E27FC236}">
                <a16:creationId xmlns:a16="http://schemas.microsoft.com/office/drawing/2014/main" id="{0C962A53-B839-E3C6-EB9B-63969CA53A30}"/>
              </a:ext>
            </a:extLst>
          </p:cNvPr>
          <p:cNvSpPr/>
          <p:nvPr/>
        </p:nvSpPr>
        <p:spPr>
          <a:xfrm>
            <a:off x="1633082" y="4127527"/>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7" name="Rectangle 116">
            <a:extLst>
              <a:ext uri="{FF2B5EF4-FFF2-40B4-BE49-F238E27FC236}">
                <a16:creationId xmlns:a16="http://schemas.microsoft.com/office/drawing/2014/main" id="{7F988773-295C-E21D-C9CF-661ADAAA2588}"/>
              </a:ext>
            </a:extLst>
          </p:cNvPr>
          <p:cNvSpPr/>
          <p:nvPr/>
        </p:nvSpPr>
        <p:spPr>
          <a:xfrm>
            <a:off x="1633082" y="4507586"/>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8" name="Rectangle 117">
            <a:extLst>
              <a:ext uri="{FF2B5EF4-FFF2-40B4-BE49-F238E27FC236}">
                <a16:creationId xmlns:a16="http://schemas.microsoft.com/office/drawing/2014/main" id="{22E2899C-08E6-B833-E4A9-2EF4E6ABD802}"/>
              </a:ext>
            </a:extLst>
          </p:cNvPr>
          <p:cNvSpPr/>
          <p:nvPr/>
        </p:nvSpPr>
        <p:spPr>
          <a:xfrm>
            <a:off x="1633082" y="4887645"/>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9" name="Rectangle 118">
            <a:extLst>
              <a:ext uri="{FF2B5EF4-FFF2-40B4-BE49-F238E27FC236}">
                <a16:creationId xmlns:a16="http://schemas.microsoft.com/office/drawing/2014/main" id="{7D3DF030-F045-444A-B84E-973CA9A455AA}"/>
              </a:ext>
            </a:extLst>
          </p:cNvPr>
          <p:cNvSpPr/>
          <p:nvPr/>
        </p:nvSpPr>
        <p:spPr>
          <a:xfrm>
            <a:off x="1633082" y="5267701"/>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20" name="Rectangle 119">
            <a:extLst>
              <a:ext uri="{FF2B5EF4-FFF2-40B4-BE49-F238E27FC236}">
                <a16:creationId xmlns:a16="http://schemas.microsoft.com/office/drawing/2014/main" id="{774941EA-4D4F-BDDE-92D4-04A4825429D3}"/>
              </a:ext>
            </a:extLst>
          </p:cNvPr>
          <p:cNvSpPr/>
          <p:nvPr/>
        </p:nvSpPr>
        <p:spPr>
          <a:xfrm>
            <a:off x="3854477" y="5267701"/>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21" name="Rectangle 120">
            <a:extLst>
              <a:ext uri="{FF2B5EF4-FFF2-40B4-BE49-F238E27FC236}">
                <a16:creationId xmlns:a16="http://schemas.microsoft.com/office/drawing/2014/main" id="{3C2EAB24-357B-3B05-377C-D04D1104C8EB}"/>
              </a:ext>
            </a:extLst>
          </p:cNvPr>
          <p:cNvSpPr/>
          <p:nvPr/>
        </p:nvSpPr>
        <p:spPr>
          <a:xfrm>
            <a:off x="4347307" y="5267701"/>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22" name="Rectangle 121">
            <a:extLst>
              <a:ext uri="{FF2B5EF4-FFF2-40B4-BE49-F238E27FC236}">
                <a16:creationId xmlns:a16="http://schemas.microsoft.com/office/drawing/2014/main" id="{460B6CC9-FADD-F3B8-C2EF-930D771A6EB0}"/>
              </a:ext>
            </a:extLst>
          </p:cNvPr>
          <p:cNvSpPr/>
          <p:nvPr/>
        </p:nvSpPr>
        <p:spPr>
          <a:xfrm>
            <a:off x="4832079" y="5267701"/>
            <a:ext cx="438792" cy="3375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23" name="Freeform 948">
            <a:extLst>
              <a:ext uri="{FF2B5EF4-FFF2-40B4-BE49-F238E27FC236}">
                <a16:creationId xmlns:a16="http://schemas.microsoft.com/office/drawing/2014/main" id="{39BE69D7-6B8F-A031-1520-32FA8F176274}"/>
              </a:ext>
            </a:extLst>
          </p:cNvPr>
          <p:cNvSpPr>
            <a:spLocks noChangeAspect="1" noChangeArrowheads="1"/>
          </p:cNvSpPr>
          <p:nvPr/>
        </p:nvSpPr>
        <p:spPr bwMode="auto">
          <a:xfrm>
            <a:off x="9241670" y="4949254"/>
            <a:ext cx="855900" cy="754006"/>
          </a:xfrm>
          <a:custGeom>
            <a:avLst/>
            <a:gdLst>
              <a:gd name="T0" fmla="*/ 27610722 w 293328"/>
              <a:gd name="T1" fmla="*/ 27453834 h 258401"/>
              <a:gd name="T2" fmla="*/ 9154902 w 293328"/>
              <a:gd name="T3" fmla="*/ 26352054 h 258401"/>
              <a:gd name="T4" fmla="*/ 8582692 w 293328"/>
              <a:gd name="T5" fmla="*/ 26925015 h 258401"/>
              <a:gd name="T6" fmla="*/ 24560222 w 293328"/>
              <a:gd name="T7" fmla="*/ 27001841 h 258401"/>
              <a:gd name="T8" fmla="*/ 27587035 w 293328"/>
              <a:gd name="T9" fmla="*/ 23963042 h 258401"/>
              <a:gd name="T10" fmla="*/ 9080349 w 293328"/>
              <a:gd name="T11" fmla="*/ 30040687 h 258401"/>
              <a:gd name="T12" fmla="*/ 1038012 w 293328"/>
              <a:gd name="T13" fmla="*/ 21097906 h 258401"/>
              <a:gd name="T14" fmla="*/ 5015691 w 293328"/>
              <a:gd name="T15" fmla="*/ 26437412 h 258401"/>
              <a:gd name="T16" fmla="*/ 19933601 w 293328"/>
              <a:gd name="T17" fmla="*/ 26437412 h 258401"/>
              <a:gd name="T18" fmla="*/ 24016198 w 293328"/>
              <a:gd name="T19" fmla="*/ 19859556 h 258401"/>
              <a:gd name="T20" fmla="*/ 26673362 w 293328"/>
              <a:gd name="T21" fmla="*/ 20961094 h 258401"/>
              <a:gd name="T22" fmla="*/ 24016198 w 293328"/>
              <a:gd name="T23" fmla="*/ 19859556 h 258401"/>
              <a:gd name="T24" fmla="*/ 15307077 w 293328"/>
              <a:gd name="T25" fmla="*/ 13587724 h 258401"/>
              <a:gd name="T26" fmla="*/ 16733736 w 293328"/>
              <a:gd name="T27" fmla="*/ 11069930 h 258401"/>
              <a:gd name="T28" fmla="*/ 11026240 w 293328"/>
              <a:gd name="T29" fmla="*/ 20012605 h 258401"/>
              <a:gd name="T30" fmla="*/ 17814730 w 293328"/>
              <a:gd name="T31" fmla="*/ 11069930 h 258401"/>
              <a:gd name="T32" fmla="*/ 17079772 w 293328"/>
              <a:gd name="T33" fmla="*/ 15324063 h 258401"/>
              <a:gd name="T34" fmla="*/ 13706857 w 293328"/>
              <a:gd name="T35" fmla="*/ 15367655 h 258401"/>
              <a:gd name="T36" fmla="*/ 13144847 w 293328"/>
              <a:gd name="T37" fmla="*/ 11069930 h 258401"/>
              <a:gd name="T38" fmla="*/ 4237276 w 293328"/>
              <a:gd name="T39" fmla="*/ 14021773 h 258401"/>
              <a:gd name="T40" fmla="*/ 5707359 w 293328"/>
              <a:gd name="T41" fmla="*/ 13587724 h 258401"/>
              <a:gd name="T42" fmla="*/ 4237276 w 293328"/>
              <a:gd name="T43" fmla="*/ 11069930 h 258401"/>
              <a:gd name="T44" fmla="*/ 9945373 w 293328"/>
              <a:gd name="T45" fmla="*/ 20012605 h 258401"/>
              <a:gd name="T46" fmla="*/ 7826377 w 293328"/>
              <a:gd name="T47" fmla="*/ 14803100 h 258401"/>
              <a:gd name="T48" fmla="*/ 7091399 w 293328"/>
              <a:gd name="T49" fmla="*/ 15324063 h 258401"/>
              <a:gd name="T50" fmla="*/ 3415964 w 293328"/>
              <a:gd name="T51" fmla="*/ 15237161 h 258401"/>
              <a:gd name="T52" fmla="*/ 1038012 w 293328"/>
              <a:gd name="T53" fmla="*/ 11069930 h 258401"/>
              <a:gd name="T54" fmla="*/ 26722298 w 293328"/>
              <a:gd name="T55" fmla="*/ 16409461 h 258401"/>
              <a:gd name="T56" fmla="*/ 25252179 w 293328"/>
              <a:gd name="T57" fmla="*/ 7466708 h 258401"/>
              <a:gd name="T58" fmla="*/ 21014519 w 293328"/>
              <a:gd name="T59" fmla="*/ 26437412 h 258401"/>
              <a:gd name="T60" fmla="*/ 31651633 w 293328"/>
              <a:gd name="T61" fmla="*/ 26437412 h 258401"/>
              <a:gd name="T62" fmla="*/ 34202613 w 293328"/>
              <a:gd name="T63" fmla="*/ 23963042 h 258401"/>
              <a:gd name="T64" fmla="*/ 32343327 w 293328"/>
              <a:gd name="T65" fmla="*/ 22877815 h 258401"/>
              <a:gd name="T66" fmla="*/ 32343327 w 293328"/>
              <a:gd name="T67" fmla="*/ 20967830 h 258401"/>
              <a:gd name="T68" fmla="*/ 34202613 w 293328"/>
              <a:gd name="T69" fmla="*/ 19882456 h 258401"/>
              <a:gd name="T70" fmla="*/ 26722298 w 293328"/>
              <a:gd name="T71" fmla="*/ 17494806 h 258401"/>
              <a:gd name="T72" fmla="*/ 21014519 w 293328"/>
              <a:gd name="T73" fmla="*/ 7466708 h 258401"/>
              <a:gd name="T74" fmla="*/ 10290941 w 293328"/>
              <a:gd name="T75" fmla="*/ 3559590 h 258401"/>
              <a:gd name="T76" fmla="*/ 11718072 w 293328"/>
              <a:gd name="T77" fmla="*/ 1041754 h 258401"/>
              <a:gd name="T78" fmla="*/ 6053678 w 293328"/>
              <a:gd name="T79" fmla="*/ 9984609 h 258401"/>
              <a:gd name="T80" fmla="*/ 12799067 w 293328"/>
              <a:gd name="T81" fmla="*/ 1041754 h 258401"/>
              <a:gd name="T82" fmla="*/ 12280200 w 293328"/>
              <a:gd name="T83" fmla="*/ 5339544 h 258401"/>
              <a:gd name="T84" fmla="*/ 8907366 w 293328"/>
              <a:gd name="T85" fmla="*/ 5296325 h 258401"/>
              <a:gd name="T86" fmla="*/ 8172406 w 293328"/>
              <a:gd name="T87" fmla="*/ 1041754 h 258401"/>
              <a:gd name="T88" fmla="*/ 15479727 w 293328"/>
              <a:gd name="T89" fmla="*/ 0 h 258401"/>
              <a:gd name="T90" fmla="*/ 19933601 w 293328"/>
              <a:gd name="T91" fmla="*/ 9984609 h 258401"/>
              <a:gd name="T92" fmla="*/ 25252179 w 293328"/>
              <a:gd name="T93" fmla="*/ 6381406 h 258401"/>
              <a:gd name="T94" fmla="*/ 35240414 w 293328"/>
              <a:gd name="T95" fmla="*/ 19838874 h 258401"/>
              <a:gd name="T96" fmla="*/ 31651633 w 293328"/>
              <a:gd name="T97" fmla="*/ 27522882 h 258401"/>
              <a:gd name="T98" fmla="*/ 13144847 w 293328"/>
              <a:gd name="T99" fmla="*/ 27522882 h 258401"/>
              <a:gd name="T100" fmla="*/ 1945877 w 293328"/>
              <a:gd name="T101" fmla="*/ 27522882 h 258401"/>
              <a:gd name="T102" fmla="*/ 0 w 293328"/>
              <a:gd name="T103" fmla="*/ 10549040 h 258401"/>
              <a:gd name="T104" fmla="*/ 4972696 w 293328"/>
              <a:gd name="T105" fmla="*/ 520909 h 2584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3328" h="258401">
                <a:moveTo>
                  <a:pt x="229821" y="219075"/>
                </a:moveTo>
                <a:cubicBezTo>
                  <a:pt x="232386" y="219075"/>
                  <a:pt x="234584" y="220907"/>
                  <a:pt x="234584" y="223838"/>
                </a:cubicBezTo>
                <a:cubicBezTo>
                  <a:pt x="234584" y="226402"/>
                  <a:pt x="232386" y="228234"/>
                  <a:pt x="229821" y="228234"/>
                </a:cubicBezTo>
                <a:cubicBezTo>
                  <a:pt x="227257" y="228234"/>
                  <a:pt x="225425" y="226402"/>
                  <a:pt x="225425" y="223838"/>
                </a:cubicBezTo>
                <a:cubicBezTo>
                  <a:pt x="225425" y="220907"/>
                  <a:pt x="227257" y="219075"/>
                  <a:pt x="229821" y="219075"/>
                </a:cubicBezTo>
                <a:close/>
                <a:moveTo>
                  <a:pt x="76200" y="219075"/>
                </a:moveTo>
                <a:cubicBezTo>
                  <a:pt x="78398" y="219075"/>
                  <a:pt x="80597" y="220907"/>
                  <a:pt x="80597" y="223838"/>
                </a:cubicBezTo>
                <a:cubicBezTo>
                  <a:pt x="80597" y="226402"/>
                  <a:pt x="78398" y="228234"/>
                  <a:pt x="76200" y="228234"/>
                </a:cubicBezTo>
                <a:cubicBezTo>
                  <a:pt x="73636" y="228234"/>
                  <a:pt x="71438" y="226402"/>
                  <a:pt x="71438" y="223838"/>
                </a:cubicBezTo>
                <a:cubicBezTo>
                  <a:pt x="71438" y="220907"/>
                  <a:pt x="73636" y="219075"/>
                  <a:pt x="76200" y="219075"/>
                </a:cubicBezTo>
                <a:close/>
                <a:moveTo>
                  <a:pt x="229624" y="199214"/>
                </a:moveTo>
                <a:cubicBezTo>
                  <a:pt x="215947" y="199214"/>
                  <a:pt x="204430" y="210402"/>
                  <a:pt x="204430" y="224477"/>
                </a:cubicBezTo>
                <a:cubicBezTo>
                  <a:pt x="204430" y="238191"/>
                  <a:pt x="215947" y="249740"/>
                  <a:pt x="229624" y="249740"/>
                </a:cubicBezTo>
                <a:cubicBezTo>
                  <a:pt x="243660" y="249740"/>
                  <a:pt x="254818" y="238191"/>
                  <a:pt x="254818" y="224477"/>
                </a:cubicBezTo>
                <a:cubicBezTo>
                  <a:pt x="254818" y="210402"/>
                  <a:pt x="243660" y="199214"/>
                  <a:pt x="229624" y="199214"/>
                </a:cubicBezTo>
                <a:close/>
                <a:moveTo>
                  <a:pt x="75581" y="199214"/>
                </a:moveTo>
                <a:cubicBezTo>
                  <a:pt x="61545" y="199214"/>
                  <a:pt x="50388" y="210402"/>
                  <a:pt x="50388" y="224477"/>
                </a:cubicBezTo>
                <a:cubicBezTo>
                  <a:pt x="50388" y="238191"/>
                  <a:pt x="61545" y="249740"/>
                  <a:pt x="75581" y="249740"/>
                </a:cubicBezTo>
                <a:cubicBezTo>
                  <a:pt x="89258" y="249740"/>
                  <a:pt x="100415" y="238191"/>
                  <a:pt x="100415" y="224477"/>
                </a:cubicBezTo>
                <a:cubicBezTo>
                  <a:pt x="100415" y="210402"/>
                  <a:pt x="89258" y="199214"/>
                  <a:pt x="75581" y="199214"/>
                </a:cubicBezTo>
                <a:close/>
                <a:moveTo>
                  <a:pt x="8638" y="175395"/>
                </a:moveTo>
                <a:lnTo>
                  <a:pt x="8638" y="212568"/>
                </a:lnTo>
                <a:cubicBezTo>
                  <a:pt x="8638" y="216537"/>
                  <a:pt x="11877" y="219785"/>
                  <a:pt x="16196" y="219785"/>
                </a:cubicBezTo>
                <a:lnTo>
                  <a:pt x="41750" y="219785"/>
                </a:lnTo>
                <a:cubicBezTo>
                  <a:pt x="43909" y="203184"/>
                  <a:pt x="58306" y="190192"/>
                  <a:pt x="75581" y="190192"/>
                </a:cubicBezTo>
                <a:cubicBezTo>
                  <a:pt x="92857" y="190192"/>
                  <a:pt x="106894" y="203184"/>
                  <a:pt x="109413" y="219785"/>
                </a:cubicBezTo>
                <a:lnTo>
                  <a:pt x="165919" y="219785"/>
                </a:lnTo>
                <a:lnTo>
                  <a:pt x="165919" y="175395"/>
                </a:lnTo>
                <a:lnTo>
                  <a:pt x="8638" y="175395"/>
                </a:lnTo>
                <a:close/>
                <a:moveTo>
                  <a:pt x="199901" y="165100"/>
                </a:moveTo>
                <a:lnTo>
                  <a:pt x="222019" y="165100"/>
                </a:lnTo>
                <a:cubicBezTo>
                  <a:pt x="224873" y="165100"/>
                  <a:pt x="226656" y="166932"/>
                  <a:pt x="226656" y="169863"/>
                </a:cubicBezTo>
                <a:cubicBezTo>
                  <a:pt x="226656" y="172061"/>
                  <a:pt x="224873" y="174259"/>
                  <a:pt x="222019" y="174259"/>
                </a:cubicBezTo>
                <a:lnTo>
                  <a:pt x="199901" y="174259"/>
                </a:lnTo>
                <a:cubicBezTo>
                  <a:pt x="197404" y="174259"/>
                  <a:pt x="195263" y="172061"/>
                  <a:pt x="195263" y="169863"/>
                </a:cubicBezTo>
                <a:cubicBezTo>
                  <a:pt x="195263" y="166932"/>
                  <a:pt x="197404" y="165100"/>
                  <a:pt x="199901" y="165100"/>
                </a:cubicBezTo>
                <a:close/>
                <a:moveTo>
                  <a:pt x="118411" y="92028"/>
                </a:moveTo>
                <a:lnTo>
                  <a:pt x="118411" y="116569"/>
                </a:lnTo>
                <a:lnTo>
                  <a:pt x="127409" y="112960"/>
                </a:lnTo>
                <a:cubicBezTo>
                  <a:pt x="128128" y="112599"/>
                  <a:pt x="129208" y="112599"/>
                  <a:pt x="130288" y="112960"/>
                </a:cubicBezTo>
                <a:lnTo>
                  <a:pt x="139286" y="116569"/>
                </a:lnTo>
                <a:lnTo>
                  <a:pt x="139286" y="92028"/>
                </a:lnTo>
                <a:lnTo>
                  <a:pt x="118411" y="92028"/>
                </a:lnTo>
                <a:close/>
                <a:moveTo>
                  <a:pt x="91777" y="92028"/>
                </a:moveTo>
                <a:lnTo>
                  <a:pt x="91777" y="166373"/>
                </a:lnTo>
                <a:lnTo>
                  <a:pt x="165919" y="166373"/>
                </a:lnTo>
                <a:lnTo>
                  <a:pt x="165919" y="92028"/>
                </a:lnTo>
                <a:lnTo>
                  <a:pt x="148284" y="92028"/>
                </a:lnTo>
                <a:lnTo>
                  <a:pt x="148284" y="123065"/>
                </a:lnTo>
                <a:cubicBezTo>
                  <a:pt x="148284" y="124870"/>
                  <a:pt x="147204" y="125952"/>
                  <a:pt x="146124" y="126674"/>
                </a:cubicBezTo>
                <a:cubicBezTo>
                  <a:pt x="145044" y="127757"/>
                  <a:pt x="143245" y="127757"/>
                  <a:pt x="142165" y="127396"/>
                </a:cubicBezTo>
                <a:lnTo>
                  <a:pt x="128848" y="121983"/>
                </a:lnTo>
                <a:lnTo>
                  <a:pt x="115532" y="127396"/>
                </a:lnTo>
                <a:cubicBezTo>
                  <a:pt x="115172" y="127757"/>
                  <a:pt x="114452" y="127757"/>
                  <a:pt x="114092" y="127757"/>
                </a:cubicBezTo>
                <a:cubicBezTo>
                  <a:pt x="113012" y="127757"/>
                  <a:pt x="112292" y="127396"/>
                  <a:pt x="111573" y="126674"/>
                </a:cubicBezTo>
                <a:cubicBezTo>
                  <a:pt x="110493" y="125952"/>
                  <a:pt x="109413" y="124870"/>
                  <a:pt x="109413" y="123065"/>
                </a:cubicBezTo>
                <a:lnTo>
                  <a:pt x="109413" y="92028"/>
                </a:lnTo>
                <a:lnTo>
                  <a:pt x="91777" y="92028"/>
                </a:lnTo>
                <a:close/>
                <a:moveTo>
                  <a:pt x="35271" y="92028"/>
                </a:moveTo>
                <a:lnTo>
                  <a:pt x="35271" y="116569"/>
                </a:lnTo>
                <a:lnTo>
                  <a:pt x="44269" y="112960"/>
                </a:lnTo>
                <a:cubicBezTo>
                  <a:pt x="44629" y="112960"/>
                  <a:pt x="45349" y="112960"/>
                  <a:pt x="45709" y="112960"/>
                </a:cubicBezTo>
                <a:cubicBezTo>
                  <a:pt x="46428" y="112960"/>
                  <a:pt x="46788" y="112960"/>
                  <a:pt x="47508" y="112960"/>
                </a:cubicBezTo>
                <a:lnTo>
                  <a:pt x="56146" y="116569"/>
                </a:lnTo>
                <a:lnTo>
                  <a:pt x="56146" y="92028"/>
                </a:lnTo>
                <a:lnTo>
                  <a:pt x="35271" y="92028"/>
                </a:lnTo>
                <a:close/>
                <a:moveTo>
                  <a:pt x="8638" y="92028"/>
                </a:moveTo>
                <a:lnTo>
                  <a:pt x="8638" y="166373"/>
                </a:lnTo>
                <a:lnTo>
                  <a:pt x="82780" y="166373"/>
                </a:lnTo>
                <a:lnTo>
                  <a:pt x="82780" y="92028"/>
                </a:lnTo>
                <a:lnTo>
                  <a:pt x="65144" y="92028"/>
                </a:lnTo>
                <a:lnTo>
                  <a:pt x="65144" y="123065"/>
                </a:lnTo>
                <a:cubicBezTo>
                  <a:pt x="65144" y="124870"/>
                  <a:pt x="64064" y="125952"/>
                  <a:pt x="63344" y="126674"/>
                </a:cubicBezTo>
                <a:cubicBezTo>
                  <a:pt x="62265" y="127396"/>
                  <a:pt x="61545" y="127757"/>
                  <a:pt x="60825" y="127757"/>
                </a:cubicBezTo>
                <a:cubicBezTo>
                  <a:pt x="60105" y="127757"/>
                  <a:pt x="59385" y="127757"/>
                  <a:pt x="59025" y="127396"/>
                </a:cubicBezTo>
                <a:lnTo>
                  <a:pt x="45709" y="121983"/>
                </a:lnTo>
                <a:lnTo>
                  <a:pt x="32752" y="127396"/>
                </a:lnTo>
                <a:cubicBezTo>
                  <a:pt x="31312" y="127757"/>
                  <a:pt x="29513" y="127757"/>
                  <a:pt x="28433" y="126674"/>
                </a:cubicBezTo>
                <a:cubicBezTo>
                  <a:pt x="27353" y="125952"/>
                  <a:pt x="26273" y="124870"/>
                  <a:pt x="26273" y="123065"/>
                </a:cubicBezTo>
                <a:lnTo>
                  <a:pt x="26273" y="92028"/>
                </a:lnTo>
                <a:lnTo>
                  <a:pt x="8638" y="92028"/>
                </a:lnTo>
                <a:close/>
                <a:moveTo>
                  <a:pt x="204430" y="62074"/>
                </a:moveTo>
                <a:lnTo>
                  <a:pt x="204430" y="118374"/>
                </a:lnTo>
                <a:cubicBezTo>
                  <a:pt x="204430" y="128479"/>
                  <a:pt x="212708" y="136418"/>
                  <a:pt x="222426" y="136418"/>
                </a:cubicBezTo>
                <a:lnTo>
                  <a:pt x="258417" y="136418"/>
                </a:lnTo>
                <a:lnTo>
                  <a:pt x="233223" y="77592"/>
                </a:lnTo>
                <a:cubicBezTo>
                  <a:pt x="229264" y="68209"/>
                  <a:pt x="220266" y="62074"/>
                  <a:pt x="210189" y="62074"/>
                </a:cubicBezTo>
                <a:lnTo>
                  <a:pt x="204430" y="62074"/>
                </a:lnTo>
                <a:close/>
                <a:moveTo>
                  <a:pt x="174917" y="62074"/>
                </a:moveTo>
                <a:lnTo>
                  <a:pt x="174917" y="219785"/>
                </a:lnTo>
                <a:lnTo>
                  <a:pt x="195792" y="219785"/>
                </a:lnTo>
                <a:cubicBezTo>
                  <a:pt x="197952" y="203184"/>
                  <a:pt x="212348" y="190192"/>
                  <a:pt x="229624" y="190192"/>
                </a:cubicBezTo>
                <a:cubicBezTo>
                  <a:pt x="246900" y="190192"/>
                  <a:pt x="261296" y="203184"/>
                  <a:pt x="263456" y="219785"/>
                </a:cubicBezTo>
                <a:lnTo>
                  <a:pt x="277132" y="219785"/>
                </a:lnTo>
                <a:cubicBezTo>
                  <a:pt x="281091" y="219785"/>
                  <a:pt x="284690" y="216537"/>
                  <a:pt x="284690" y="212568"/>
                </a:cubicBezTo>
                <a:lnTo>
                  <a:pt x="284690" y="199214"/>
                </a:lnTo>
                <a:lnTo>
                  <a:pt x="269214" y="199214"/>
                </a:lnTo>
                <a:cubicBezTo>
                  <a:pt x="267055" y="199214"/>
                  <a:pt x="264895" y="197049"/>
                  <a:pt x="264895" y="194523"/>
                </a:cubicBezTo>
                <a:cubicBezTo>
                  <a:pt x="264895" y="191996"/>
                  <a:pt x="267055" y="190192"/>
                  <a:pt x="269214" y="190192"/>
                </a:cubicBezTo>
                <a:lnTo>
                  <a:pt x="284690" y="190192"/>
                </a:lnTo>
                <a:lnTo>
                  <a:pt x="284690" y="174313"/>
                </a:lnTo>
                <a:lnTo>
                  <a:pt x="269214" y="174313"/>
                </a:lnTo>
                <a:cubicBezTo>
                  <a:pt x="267055" y="174313"/>
                  <a:pt x="264895" y="172147"/>
                  <a:pt x="264895" y="169982"/>
                </a:cubicBezTo>
                <a:cubicBezTo>
                  <a:pt x="264895" y="167095"/>
                  <a:pt x="267055" y="165290"/>
                  <a:pt x="269214" y="165290"/>
                </a:cubicBezTo>
                <a:lnTo>
                  <a:pt x="284690" y="165290"/>
                </a:lnTo>
                <a:lnTo>
                  <a:pt x="284690" y="164929"/>
                </a:lnTo>
                <a:cubicBezTo>
                  <a:pt x="284690" y="154102"/>
                  <a:pt x="275693" y="145441"/>
                  <a:pt x="265255" y="145441"/>
                </a:cubicBezTo>
                <a:lnTo>
                  <a:pt x="222426" y="145441"/>
                </a:lnTo>
                <a:cubicBezTo>
                  <a:pt x="207669" y="145441"/>
                  <a:pt x="195432" y="133531"/>
                  <a:pt x="195432" y="118374"/>
                </a:cubicBezTo>
                <a:lnTo>
                  <a:pt x="195432" y="62074"/>
                </a:lnTo>
                <a:lnTo>
                  <a:pt x="174917" y="62074"/>
                </a:lnTo>
                <a:close/>
                <a:moveTo>
                  <a:pt x="77021" y="8661"/>
                </a:moveTo>
                <a:lnTo>
                  <a:pt x="77021" y="33202"/>
                </a:lnTo>
                <a:lnTo>
                  <a:pt x="85659" y="29593"/>
                </a:lnTo>
                <a:cubicBezTo>
                  <a:pt x="86739" y="29232"/>
                  <a:pt x="87818" y="29232"/>
                  <a:pt x="88898" y="29593"/>
                </a:cubicBezTo>
                <a:lnTo>
                  <a:pt x="97536" y="33202"/>
                </a:lnTo>
                <a:lnTo>
                  <a:pt x="97536" y="8661"/>
                </a:lnTo>
                <a:lnTo>
                  <a:pt x="77021" y="8661"/>
                </a:lnTo>
                <a:close/>
                <a:moveTo>
                  <a:pt x="50388" y="8661"/>
                </a:moveTo>
                <a:lnTo>
                  <a:pt x="50388" y="83006"/>
                </a:lnTo>
                <a:lnTo>
                  <a:pt x="124169" y="83006"/>
                </a:lnTo>
                <a:lnTo>
                  <a:pt x="124169" y="8661"/>
                </a:lnTo>
                <a:lnTo>
                  <a:pt x="106534" y="8661"/>
                </a:lnTo>
                <a:lnTo>
                  <a:pt x="106534" y="40059"/>
                </a:lnTo>
                <a:cubicBezTo>
                  <a:pt x="106534" y="41503"/>
                  <a:pt x="105814" y="42946"/>
                  <a:pt x="104734" y="43307"/>
                </a:cubicBezTo>
                <a:cubicBezTo>
                  <a:pt x="104014" y="44029"/>
                  <a:pt x="102935" y="44390"/>
                  <a:pt x="102215" y="44390"/>
                </a:cubicBezTo>
                <a:cubicBezTo>
                  <a:pt x="101855" y="44390"/>
                  <a:pt x="101135" y="44390"/>
                  <a:pt x="100415" y="44029"/>
                </a:cubicBezTo>
                <a:lnTo>
                  <a:pt x="87458" y="38977"/>
                </a:lnTo>
                <a:lnTo>
                  <a:pt x="74142" y="44029"/>
                </a:lnTo>
                <a:cubicBezTo>
                  <a:pt x="72702" y="44751"/>
                  <a:pt x="71262" y="44390"/>
                  <a:pt x="69823" y="43307"/>
                </a:cubicBezTo>
                <a:cubicBezTo>
                  <a:pt x="68743" y="42946"/>
                  <a:pt x="68023" y="41503"/>
                  <a:pt x="68023" y="40059"/>
                </a:cubicBezTo>
                <a:lnTo>
                  <a:pt x="68023" y="8661"/>
                </a:lnTo>
                <a:lnTo>
                  <a:pt x="50388" y="8661"/>
                </a:lnTo>
                <a:close/>
                <a:moveTo>
                  <a:pt x="45709" y="0"/>
                </a:moveTo>
                <a:lnTo>
                  <a:pt x="128848" y="0"/>
                </a:lnTo>
                <a:cubicBezTo>
                  <a:pt x="131368" y="0"/>
                  <a:pt x="133527" y="1804"/>
                  <a:pt x="133527" y="4331"/>
                </a:cubicBezTo>
                <a:lnTo>
                  <a:pt x="133527" y="83006"/>
                </a:lnTo>
                <a:lnTo>
                  <a:pt x="165919" y="83006"/>
                </a:lnTo>
                <a:lnTo>
                  <a:pt x="165919" y="57743"/>
                </a:lnTo>
                <a:cubicBezTo>
                  <a:pt x="165919" y="55578"/>
                  <a:pt x="167719" y="53051"/>
                  <a:pt x="170238" y="53051"/>
                </a:cubicBezTo>
                <a:lnTo>
                  <a:pt x="210189" y="53051"/>
                </a:lnTo>
                <a:cubicBezTo>
                  <a:pt x="223865" y="53051"/>
                  <a:pt x="236102" y="61352"/>
                  <a:pt x="241501" y="73983"/>
                </a:cubicBezTo>
                <a:lnTo>
                  <a:pt x="268134" y="136779"/>
                </a:lnTo>
                <a:cubicBezTo>
                  <a:pt x="282531" y="138223"/>
                  <a:pt x="293328" y="150493"/>
                  <a:pt x="293328" y="164929"/>
                </a:cubicBezTo>
                <a:lnTo>
                  <a:pt x="293328" y="212568"/>
                </a:lnTo>
                <a:cubicBezTo>
                  <a:pt x="293328" y="221590"/>
                  <a:pt x="286130" y="228808"/>
                  <a:pt x="277132" y="228808"/>
                </a:cubicBezTo>
                <a:lnTo>
                  <a:pt x="263456" y="228808"/>
                </a:lnTo>
                <a:cubicBezTo>
                  <a:pt x="261296" y="245409"/>
                  <a:pt x="246900" y="258401"/>
                  <a:pt x="229624" y="258401"/>
                </a:cubicBezTo>
                <a:cubicBezTo>
                  <a:pt x="212348" y="258401"/>
                  <a:pt x="197952" y="245409"/>
                  <a:pt x="195792" y="228808"/>
                </a:cubicBezTo>
                <a:lnTo>
                  <a:pt x="109413" y="228808"/>
                </a:lnTo>
                <a:cubicBezTo>
                  <a:pt x="106894" y="245409"/>
                  <a:pt x="92857" y="258401"/>
                  <a:pt x="75581" y="258401"/>
                </a:cubicBezTo>
                <a:cubicBezTo>
                  <a:pt x="58306" y="258401"/>
                  <a:pt x="43909" y="245409"/>
                  <a:pt x="41750" y="228808"/>
                </a:cubicBezTo>
                <a:lnTo>
                  <a:pt x="16196" y="228808"/>
                </a:lnTo>
                <a:cubicBezTo>
                  <a:pt x="7198" y="228808"/>
                  <a:pt x="0" y="221590"/>
                  <a:pt x="0" y="212568"/>
                </a:cubicBezTo>
                <a:lnTo>
                  <a:pt x="0" y="170704"/>
                </a:lnTo>
                <a:lnTo>
                  <a:pt x="0" y="87697"/>
                </a:lnTo>
                <a:cubicBezTo>
                  <a:pt x="0" y="85171"/>
                  <a:pt x="1799" y="83006"/>
                  <a:pt x="4319" y="83006"/>
                </a:cubicBezTo>
                <a:lnTo>
                  <a:pt x="41390" y="83006"/>
                </a:lnTo>
                <a:lnTo>
                  <a:pt x="41390" y="4331"/>
                </a:lnTo>
                <a:cubicBezTo>
                  <a:pt x="41390" y="1804"/>
                  <a:pt x="43549" y="0"/>
                  <a:pt x="45709"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pic>
        <p:nvPicPr>
          <p:cNvPr id="12" name="Graphic 11" descr="Magnifying glass with solid fill">
            <a:extLst>
              <a:ext uri="{FF2B5EF4-FFF2-40B4-BE49-F238E27FC236}">
                <a16:creationId xmlns:a16="http://schemas.microsoft.com/office/drawing/2014/main" id="{CEB59226-CCB0-4B3C-D58D-419A70928D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4472" y="5122559"/>
            <a:ext cx="581573" cy="581573"/>
          </a:xfrm>
          <a:prstGeom prst="rect">
            <a:avLst/>
          </a:prstGeom>
        </p:spPr>
      </p:pic>
      <p:sp>
        <p:nvSpPr>
          <p:cNvPr id="14" name="TextBox 13">
            <a:extLst>
              <a:ext uri="{FF2B5EF4-FFF2-40B4-BE49-F238E27FC236}">
                <a16:creationId xmlns:a16="http://schemas.microsoft.com/office/drawing/2014/main" id="{C62DB1DA-888E-2CB0-A7CD-A5F9FF217E16}"/>
              </a:ext>
            </a:extLst>
          </p:cNvPr>
          <p:cNvSpPr txBox="1"/>
          <p:nvPr/>
        </p:nvSpPr>
        <p:spPr>
          <a:xfrm>
            <a:off x="10563225" y="5772959"/>
            <a:ext cx="1514475" cy="261610"/>
          </a:xfrm>
          <a:prstGeom prst="rect">
            <a:avLst/>
          </a:prstGeom>
          <a:noFill/>
        </p:spPr>
        <p:txBody>
          <a:bodyPr wrap="square" rtlCol="0" anchor="t" anchorCtr="0">
            <a:spAutoFit/>
          </a:bodyPr>
          <a:lstStyle/>
          <a:p>
            <a:pPr algn="ctr"/>
            <a:r>
              <a:rPr lang="en-US" sz="1050" b="1" dirty="0">
                <a:solidFill>
                  <a:schemeClr val="tx2"/>
                </a:solidFill>
                <a:ea typeface="League Spartan" charset="0"/>
                <a:cs typeface="Poppins" pitchFamily="2" charset="77"/>
              </a:rPr>
              <a:t>7. RETROSPECTIVE</a:t>
            </a:r>
          </a:p>
        </p:txBody>
      </p:sp>
      <p:pic>
        <p:nvPicPr>
          <p:cNvPr id="17" name="Graphic 16" descr="Checklist with solid fill">
            <a:extLst>
              <a:ext uri="{FF2B5EF4-FFF2-40B4-BE49-F238E27FC236}">
                <a16:creationId xmlns:a16="http://schemas.microsoft.com/office/drawing/2014/main" id="{CA191410-7DEC-5C8B-4637-0AEA8D1D6B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94089" y="5063977"/>
            <a:ext cx="682961" cy="682961"/>
          </a:xfrm>
          <a:prstGeom prst="rect">
            <a:avLst/>
          </a:prstGeom>
        </p:spPr>
      </p:pic>
      <p:sp>
        <p:nvSpPr>
          <p:cNvPr id="18" name="Slide Number Placeholder 2">
            <a:extLst>
              <a:ext uri="{FF2B5EF4-FFF2-40B4-BE49-F238E27FC236}">
                <a16:creationId xmlns:a16="http://schemas.microsoft.com/office/drawing/2014/main" id="{E04C328A-CDB5-7AC3-780B-2135CA9AECAC}"/>
              </a:ext>
            </a:extLst>
          </p:cNvPr>
          <p:cNvSpPr>
            <a:spLocks noGrp="1"/>
          </p:cNvSpPr>
          <p:nvPr>
            <p:ph type="sldNum" sz="quarter" idx="4"/>
          </p:nvPr>
        </p:nvSpPr>
        <p:spPr>
          <a:xfrm>
            <a:off x="9181195" y="6632714"/>
            <a:ext cx="2743200" cy="18756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161747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duct backlog template</a:t>
            </a:r>
            <a:endParaRPr lang="en-US" sz="2400" b="0" kern="0" dirty="0"/>
          </a:p>
        </p:txBody>
      </p:sp>
      <p:sp>
        <p:nvSpPr>
          <p:cNvPr id="18" name="Slide Number Placeholder 2">
            <a:extLst>
              <a:ext uri="{FF2B5EF4-FFF2-40B4-BE49-F238E27FC236}">
                <a16:creationId xmlns:a16="http://schemas.microsoft.com/office/drawing/2014/main" id="{E04C328A-CDB5-7AC3-780B-2135CA9AECAC}"/>
              </a:ext>
            </a:extLst>
          </p:cNvPr>
          <p:cNvSpPr>
            <a:spLocks noGrp="1"/>
          </p:cNvSpPr>
          <p:nvPr>
            <p:ph type="sldNum" sz="quarter" idx="4"/>
          </p:nvPr>
        </p:nvSpPr>
        <p:spPr>
          <a:xfrm>
            <a:off x="9181195" y="6632714"/>
            <a:ext cx="2743200" cy="18756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aphicFrame>
        <p:nvGraphicFramePr>
          <p:cNvPr id="2" name="Table 1">
            <a:extLst>
              <a:ext uri="{FF2B5EF4-FFF2-40B4-BE49-F238E27FC236}">
                <a16:creationId xmlns:a16="http://schemas.microsoft.com/office/drawing/2014/main" id="{A8AC8D01-32DD-4E56-EC96-BEA4C0B24F03}"/>
              </a:ext>
            </a:extLst>
          </p:cNvPr>
          <p:cNvGraphicFramePr>
            <a:graphicFrameLocks noGrp="1"/>
          </p:cNvGraphicFramePr>
          <p:nvPr/>
        </p:nvGraphicFramePr>
        <p:xfrm>
          <a:off x="609599" y="1605048"/>
          <a:ext cx="10977563" cy="4395715"/>
        </p:xfrm>
        <a:graphic>
          <a:graphicData uri="http://schemas.openxmlformats.org/drawingml/2006/table">
            <a:tbl>
              <a:tblPr firstRow="1" bandRow="1">
                <a:tableStyleId>{69012ECD-51FC-41F1-AA8D-1B2483CD663E}</a:tableStyleId>
              </a:tblPr>
              <a:tblGrid>
                <a:gridCol w="1905001">
                  <a:extLst>
                    <a:ext uri="{9D8B030D-6E8A-4147-A177-3AD203B41FA5}">
                      <a16:colId xmlns:a16="http://schemas.microsoft.com/office/drawing/2014/main" val="2812679770"/>
                    </a:ext>
                  </a:extLst>
                </a:gridCol>
                <a:gridCol w="1051560">
                  <a:extLst>
                    <a:ext uri="{9D8B030D-6E8A-4147-A177-3AD203B41FA5}">
                      <a16:colId xmlns:a16="http://schemas.microsoft.com/office/drawing/2014/main" val="2852264056"/>
                    </a:ext>
                  </a:extLst>
                </a:gridCol>
                <a:gridCol w="2868930">
                  <a:extLst>
                    <a:ext uri="{9D8B030D-6E8A-4147-A177-3AD203B41FA5}">
                      <a16:colId xmlns:a16="http://schemas.microsoft.com/office/drawing/2014/main" val="937810905"/>
                    </a:ext>
                  </a:extLst>
                </a:gridCol>
                <a:gridCol w="2171700">
                  <a:extLst>
                    <a:ext uri="{9D8B030D-6E8A-4147-A177-3AD203B41FA5}">
                      <a16:colId xmlns:a16="http://schemas.microsoft.com/office/drawing/2014/main" val="2630511852"/>
                    </a:ext>
                  </a:extLst>
                </a:gridCol>
                <a:gridCol w="1129661">
                  <a:extLst>
                    <a:ext uri="{9D8B030D-6E8A-4147-A177-3AD203B41FA5}">
                      <a16:colId xmlns:a16="http://schemas.microsoft.com/office/drawing/2014/main" val="1826391505"/>
                    </a:ext>
                  </a:extLst>
                </a:gridCol>
                <a:gridCol w="1850711">
                  <a:extLst>
                    <a:ext uri="{9D8B030D-6E8A-4147-A177-3AD203B41FA5}">
                      <a16:colId xmlns:a16="http://schemas.microsoft.com/office/drawing/2014/main" val="3727737203"/>
                    </a:ext>
                  </a:extLst>
                </a:gridCol>
              </a:tblGrid>
              <a:tr h="468000">
                <a:tc>
                  <a:txBody>
                    <a:bodyPr/>
                    <a:lstStyle/>
                    <a:p>
                      <a:pPr algn="l"/>
                      <a:r>
                        <a:rPr lang="en-US" sz="1200" dirty="0">
                          <a:solidFill>
                            <a:schemeClr val="bg1"/>
                          </a:solidFill>
                        </a:rPr>
                        <a:t>Product Backlog Item</a:t>
                      </a:r>
                    </a:p>
                  </a:txBody>
                  <a:tcPr anchor="ctr"/>
                </a:tc>
                <a:tc>
                  <a:txBody>
                    <a:bodyPr/>
                    <a:lstStyle/>
                    <a:p>
                      <a:pPr marL="0" algn="l" defTabSz="914377" rtl="0" eaLnBrk="1" latinLnBrk="0" hangingPunct="1"/>
                      <a:r>
                        <a:rPr lang="en-US" sz="1200" b="1" kern="1200" dirty="0">
                          <a:solidFill>
                            <a:schemeClr val="bg1"/>
                          </a:solidFill>
                        </a:rPr>
                        <a:t>Priority</a:t>
                      </a:r>
                      <a:endParaRPr lang="en-US" sz="1200" b="1" kern="1200" dirty="0">
                        <a:solidFill>
                          <a:schemeClr val="bg1"/>
                        </a:solidFill>
                        <a:latin typeface="+mn-lt"/>
                        <a:ea typeface="+mn-ea"/>
                        <a:cs typeface="+mn-cs"/>
                      </a:endParaRPr>
                    </a:p>
                  </a:txBody>
                  <a:tcPr anchor="ctr"/>
                </a:tc>
                <a:tc>
                  <a:txBody>
                    <a:bodyPr/>
                    <a:lstStyle/>
                    <a:p>
                      <a:pPr marL="0" algn="l" defTabSz="914377" rtl="0" eaLnBrk="1" latinLnBrk="0" hangingPunct="1"/>
                      <a:r>
                        <a:rPr lang="en-US" sz="1200" b="1" kern="1200" dirty="0">
                          <a:solidFill>
                            <a:schemeClr val="bg1"/>
                          </a:solidFill>
                        </a:rPr>
                        <a:t>User Story</a:t>
                      </a:r>
                      <a:endParaRPr lang="en-US" sz="1200" b="1" kern="1200" dirty="0">
                        <a:solidFill>
                          <a:schemeClr val="bg1"/>
                        </a:solidFill>
                        <a:latin typeface="+mn-lt"/>
                        <a:ea typeface="+mn-ea"/>
                        <a:cs typeface="+mn-cs"/>
                      </a:endParaRPr>
                    </a:p>
                  </a:txBody>
                  <a:tcPr anchor="ctr"/>
                </a:tc>
                <a:tc>
                  <a:txBody>
                    <a:bodyPr/>
                    <a:lstStyle/>
                    <a:p>
                      <a:pPr marL="0" algn="l" defTabSz="914377" rtl="0" eaLnBrk="1" latinLnBrk="0" hangingPunct="1"/>
                      <a:r>
                        <a:rPr lang="en-US" sz="1200" b="1" kern="1200" dirty="0">
                          <a:solidFill>
                            <a:schemeClr val="bg1"/>
                          </a:solidFill>
                        </a:rPr>
                        <a:t>Acceptance Criteria</a:t>
                      </a:r>
                      <a:endParaRPr lang="en-US" sz="1200" b="1" kern="1200" dirty="0">
                        <a:solidFill>
                          <a:schemeClr val="bg1"/>
                        </a:solidFill>
                        <a:latin typeface="+mn-lt"/>
                        <a:ea typeface="+mn-ea"/>
                        <a:cs typeface="+mn-cs"/>
                      </a:endParaRPr>
                    </a:p>
                  </a:txBody>
                  <a:tcPr anchor="ctr"/>
                </a:tc>
                <a:tc>
                  <a:txBody>
                    <a:bodyPr/>
                    <a:lstStyle/>
                    <a:p>
                      <a:pPr marL="0" algn="l" defTabSz="914377" rtl="0" eaLnBrk="1" latinLnBrk="0" hangingPunct="1"/>
                      <a:r>
                        <a:rPr lang="en-US" sz="1200" b="1" kern="1200" dirty="0">
                          <a:solidFill>
                            <a:schemeClr val="bg1"/>
                          </a:solidFill>
                        </a:rPr>
                        <a:t>Estimate</a:t>
                      </a:r>
                      <a:endParaRPr lang="en-US" sz="1200" b="1" kern="1200" dirty="0">
                        <a:solidFill>
                          <a:schemeClr val="bg1"/>
                        </a:solidFill>
                        <a:latin typeface="+mn-lt"/>
                        <a:ea typeface="+mn-ea"/>
                        <a:cs typeface="+mn-cs"/>
                      </a:endParaRPr>
                    </a:p>
                  </a:txBody>
                  <a:tcPr anchor="ctr"/>
                </a:tc>
                <a:tc>
                  <a:txBody>
                    <a:bodyPr/>
                    <a:lstStyle/>
                    <a:p>
                      <a:pPr marL="0" algn="l" defTabSz="914377" rtl="0" eaLnBrk="1" latinLnBrk="0" hangingPunct="1"/>
                      <a:r>
                        <a:rPr lang="en-US" sz="1200" b="1" kern="1200" dirty="0">
                          <a:solidFill>
                            <a:schemeClr val="bg1"/>
                          </a:solidFill>
                        </a:rPr>
                        <a:t>Dependencies</a:t>
                      </a:r>
                      <a:endParaRPr lang="en-US" sz="1200" b="1" kern="1200" dirty="0">
                        <a:solidFill>
                          <a:schemeClr val="bg1"/>
                        </a:solidFill>
                        <a:latin typeface="+mn-lt"/>
                        <a:ea typeface="+mn-ea"/>
                        <a:cs typeface="+mn-cs"/>
                      </a:endParaRPr>
                    </a:p>
                  </a:txBody>
                  <a:tcPr anchor="ctr"/>
                </a:tc>
                <a:extLst>
                  <a:ext uri="{0D108BD9-81ED-4DB2-BD59-A6C34878D82A}">
                    <a16:rowId xmlns:a16="http://schemas.microsoft.com/office/drawing/2014/main" val="2139607081"/>
                  </a:ext>
                </a:extLst>
              </a:tr>
              <a:tr h="785543">
                <a:tc>
                  <a:txBody>
                    <a:bodyPr/>
                    <a:lstStyle/>
                    <a:p>
                      <a:r>
                        <a:rPr lang="en-US" sz="1100" b="1" dirty="0">
                          <a:solidFill>
                            <a:schemeClr val="tx2"/>
                          </a:solidFill>
                        </a:rPr>
                        <a:t>[Name of item]</a:t>
                      </a:r>
                    </a:p>
                  </a:txBody>
                  <a:tcPr/>
                </a:tc>
                <a:tc>
                  <a:txBody>
                    <a:bodyPr/>
                    <a:lstStyle/>
                    <a:p>
                      <a:pPr marL="0" algn="l" defTabSz="914377" rtl="0" eaLnBrk="1" latinLnBrk="0" hangingPunct="1"/>
                      <a:r>
                        <a:rPr lang="en-US" sz="1100" b="1" kern="1200" dirty="0">
                          <a:solidFill>
                            <a:schemeClr val="tx2"/>
                          </a:solidFill>
                        </a:rPr>
                        <a:t>[1, 2, 3, etc.]</a:t>
                      </a:r>
                      <a:endParaRPr lang="en-US" sz="1100" b="1"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As a [user], I want [goal/desired outcome], so that [reason]</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List of criteria that must be met for the item to be considered complete]</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Size of item in story points]</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Other items that this item depends on]</a:t>
                      </a:r>
                      <a:endParaRPr lang="en-US" sz="1100" kern="1200" dirty="0">
                        <a:solidFill>
                          <a:schemeClr val="tx2"/>
                        </a:solidFill>
                        <a:latin typeface="+mn-lt"/>
                        <a:ea typeface="+mn-ea"/>
                        <a:cs typeface="+mn-cs"/>
                      </a:endParaRPr>
                    </a:p>
                  </a:txBody>
                  <a:tcPr/>
                </a:tc>
                <a:extLst>
                  <a:ext uri="{0D108BD9-81ED-4DB2-BD59-A6C34878D82A}">
                    <a16:rowId xmlns:a16="http://schemas.microsoft.com/office/drawing/2014/main" val="572273013"/>
                  </a:ext>
                </a:extLst>
              </a:tr>
              <a:tr h="785543">
                <a:tc>
                  <a:txBody>
                    <a:bodyPr/>
                    <a:lstStyle/>
                    <a:p>
                      <a:r>
                        <a:rPr lang="en-US" sz="1100" b="1" dirty="0">
                          <a:solidFill>
                            <a:schemeClr val="tx2"/>
                          </a:solidFill>
                        </a:rPr>
                        <a:t>[Name of item]</a:t>
                      </a:r>
                    </a:p>
                  </a:txBody>
                  <a:tcPr/>
                </a:tc>
                <a:tc>
                  <a:txBody>
                    <a:bodyPr/>
                    <a:lstStyle/>
                    <a:p>
                      <a:pPr marL="0" algn="l" defTabSz="914377" rtl="0" eaLnBrk="1" latinLnBrk="0" hangingPunct="1"/>
                      <a:r>
                        <a:rPr lang="en-US" sz="1100" b="1" kern="1200" dirty="0">
                          <a:solidFill>
                            <a:schemeClr val="tx2"/>
                          </a:solidFill>
                        </a:rPr>
                        <a:t>[1, 2, 3, etc.]</a:t>
                      </a:r>
                      <a:endParaRPr lang="en-US" sz="1100" b="1"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As a [user], I want [goal/desired outcome], so that [reason]</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List of criteria that must be met for the item to be considered complete]</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Size of item in story points]</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Other items that this item depends on]</a:t>
                      </a:r>
                      <a:endParaRPr lang="en-US" sz="1100" kern="1200" dirty="0">
                        <a:solidFill>
                          <a:schemeClr val="tx2"/>
                        </a:solidFill>
                        <a:latin typeface="+mn-lt"/>
                        <a:ea typeface="+mn-ea"/>
                        <a:cs typeface="+mn-cs"/>
                      </a:endParaRPr>
                    </a:p>
                  </a:txBody>
                  <a:tcPr/>
                </a:tc>
                <a:extLst>
                  <a:ext uri="{0D108BD9-81ED-4DB2-BD59-A6C34878D82A}">
                    <a16:rowId xmlns:a16="http://schemas.microsoft.com/office/drawing/2014/main" val="1880883950"/>
                  </a:ext>
                </a:extLst>
              </a:tr>
              <a:tr h="785543">
                <a:tc>
                  <a:txBody>
                    <a:bodyPr/>
                    <a:lstStyle/>
                    <a:p>
                      <a:r>
                        <a:rPr lang="en-US" sz="1100" b="1" dirty="0">
                          <a:solidFill>
                            <a:schemeClr val="tx2"/>
                          </a:solidFill>
                        </a:rPr>
                        <a:t>[Name of item]</a:t>
                      </a:r>
                    </a:p>
                  </a:txBody>
                  <a:tcPr/>
                </a:tc>
                <a:tc>
                  <a:txBody>
                    <a:bodyPr/>
                    <a:lstStyle/>
                    <a:p>
                      <a:pPr marL="0" algn="l" defTabSz="914377" rtl="0" eaLnBrk="1" latinLnBrk="0" hangingPunct="1"/>
                      <a:r>
                        <a:rPr lang="en-US" sz="1100" b="1" kern="1200" dirty="0">
                          <a:solidFill>
                            <a:schemeClr val="tx2"/>
                          </a:solidFill>
                        </a:rPr>
                        <a:t>[1, 2, 3, etc.]</a:t>
                      </a:r>
                      <a:endParaRPr lang="en-US" sz="1100" b="1"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As a [user], I want [goal/desired outcome], so that [reason]</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List of criteria that must be met for the item to be considered complete]</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Size of item in story points]</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Other items that this item depends on]</a:t>
                      </a:r>
                      <a:endParaRPr lang="en-US" sz="1100" kern="1200" dirty="0">
                        <a:solidFill>
                          <a:schemeClr val="tx2"/>
                        </a:solidFill>
                        <a:latin typeface="+mn-lt"/>
                        <a:ea typeface="+mn-ea"/>
                        <a:cs typeface="+mn-cs"/>
                      </a:endParaRPr>
                    </a:p>
                  </a:txBody>
                  <a:tcPr/>
                </a:tc>
                <a:extLst>
                  <a:ext uri="{0D108BD9-81ED-4DB2-BD59-A6C34878D82A}">
                    <a16:rowId xmlns:a16="http://schemas.microsoft.com/office/drawing/2014/main" val="721348056"/>
                  </a:ext>
                </a:extLst>
              </a:tr>
              <a:tr h="785543">
                <a:tc>
                  <a:txBody>
                    <a:bodyPr/>
                    <a:lstStyle/>
                    <a:p>
                      <a:r>
                        <a:rPr lang="en-US" sz="1100" b="1" dirty="0">
                          <a:solidFill>
                            <a:schemeClr val="tx2"/>
                          </a:solidFill>
                        </a:rPr>
                        <a:t>[Name of item]</a:t>
                      </a:r>
                    </a:p>
                  </a:txBody>
                  <a:tcPr/>
                </a:tc>
                <a:tc>
                  <a:txBody>
                    <a:bodyPr/>
                    <a:lstStyle/>
                    <a:p>
                      <a:pPr marL="0" algn="l" defTabSz="914377" rtl="0" eaLnBrk="1" latinLnBrk="0" hangingPunct="1"/>
                      <a:r>
                        <a:rPr lang="en-US" sz="1100" b="1" kern="1200" dirty="0">
                          <a:solidFill>
                            <a:schemeClr val="tx2"/>
                          </a:solidFill>
                        </a:rPr>
                        <a:t>[1, 2, 3, etc.]</a:t>
                      </a:r>
                      <a:endParaRPr lang="en-US" sz="1100" b="1"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As a [user], I want [goal/desired outcome], so that [reason]</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List of criteria that must be met for the item to be considered complete]</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Size of item in story points]</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Other items that this item depends on]</a:t>
                      </a:r>
                      <a:endParaRPr lang="en-US" sz="1100" kern="1200" dirty="0">
                        <a:solidFill>
                          <a:schemeClr val="tx2"/>
                        </a:solidFill>
                        <a:latin typeface="+mn-lt"/>
                        <a:ea typeface="+mn-ea"/>
                        <a:cs typeface="+mn-cs"/>
                      </a:endParaRPr>
                    </a:p>
                  </a:txBody>
                  <a:tcPr/>
                </a:tc>
                <a:extLst>
                  <a:ext uri="{0D108BD9-81ED-4DB2-BD59-A6C34878D82A}">
                    <a16:rowId xmlns:a16="http://schemas.microsoft.com/office/drawing/2014/main" val="1984224256"/>
                  </a:ext>
                </a:extLst>
              </a:tr>
              <a:tr h="785543">
                <a:tc>
                  <a:txBody>
                    <a:bodyPr/>
                    <a:lstStyle/>
                    <a:p>
                      <a:r>
                        <a:rPr lang="en-US" sz="1100" b="1" dirty="0">
                          <a:solidFill>
                            <a:schemeClr val="tx2"/>
                          </a:solidFill>
                        </a:rPr>
                        <a:t>[Name of item]</a:t>
                      </a:r>
                    </a:p>
                  </a:txBody>
                  <a:tcPr/>
                </a:tc>
                <a:tc>
                  <a:txBody>
                    <a:bodyPr/>
                    <a:lstStyle/>
                    <a:p>
                      <a:pPr marL="0" algn="l" defTabSz="914377" rtl="0" eaLnBrk="1" latinLnBrk="0" hangingPunct="1"/>
                      <a:r>
                        <a:rPr lang="en-US" sz="1100" b="1" kern="1200" dirty="0">
                          <a:solidFill>
                            <a:schemeClr val="tx2"/>
                          </a:solidFill>
                        </a:rPr>
                        <a:t>[1, 2, 3, etc.]</a:t>
                      </a:r>
                      <a:endParaRPr lang="en-US" sz="1100" b="1"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As a [user], I want [goal/desired outcome], so that [reason]</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List of criteria that must be met for the item to be considered complete]</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Size of item in story points]</a:t>
                      </a:r>
                      <a:endParaRPr lang="en-US" sz="1100" kern="1200" dirty="0">
                        <a:solidFill>
                          <a:schemeClr val="tx2"/>
                        </a:solidFill>
                        <a:latin typeface="+mn-lt"/>
                        <a:ea typeface="+mn-ea"/>
                        <a:cs typeface="+mn-cs"/>
                      </a:endParaRPr>
                    </a:p>
                  </a:txBody>
                  <a:tcPr/>
                </a:tc>
                <a:tc>
                  <a:txBody>
                    <a:bodyPr/>
                    <a:lstStyle/>
                    <a:p>
                      <a:pPr marL="0" algn="l" defTabSz="914377" rtl="0" eaLnBrk="1" latinLnBrk="0" hangingPunct="1"/>
                      <a:r>
                        <a:rPr lang="en-GB" sz="1100" kern="1200" dirty="0">
                          <a:solidFill>
                            <a:schemeClr val="tx2"/>
                          </a:solidFill>
                        </a:rPr>
                        <a:t>[Other items that this item depends on]</a:t>
                      </a:r>
                      <a:endParaRPr lang="en-US" sz="1100" kern="1200" dirty="0">
                        <a:solidFill>
                          <a:schemeClr val="tx2"/>
                        </a:solidFill>
                        <a:latin typeface="+mn-lt"/>
                        <a:ea typeface="+mn-ea"/>
                        <a:cs typeface="+mn-cs"/>
                      </a:endParaRPr>
                    </a:p>
                  </a:txBody>
                  <a:tcPr/>
                </a:tc>
                <a:extLst>
                  <a:ext uri="{0D108BD9-81ED-4DB2-BD59-A6C34878D82A}">
                    <a16:rowId xmlns:a16="http://schemas.microsoft.com/office/drawing/2014/main" val="4289602370"/>
                  </a:ext>
                </a:extLst>
              </a:tr>
            </a:tbl>
          </a:graphicData>
        </a:graphic>
      </p:graphicFrame>
    </p:spTree>
    <p:extLst>
      <p:ext uri="{BB962C8B-B14F-4D97-AF65-F5344CB8AC3E}">
        <p14:creationId xmlns:p14="http://schemas.microsoft.com/office/powerpoint/2010/main" val="689569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tructure of the Toolkit</a:t>
            </a:r>
            <a:br>
              <a:rPr lang="en-US" sz="2400" dirty="0"/>
            </a:br>
            <a:r>
              <a:rPr lang="en-GB" sz="1800" b="0" dirty="0"/>
              <a:t>The Project &amp; Change Management Toolkit includes 400 </a:t>
            </a:r>
            <a:r>
              <a:rPr lang="en-US" sz="1800" b="0" dirty="0"/>
              <a:t>Powerpoint</a:t>
            </a:r>
            <a:r>
              <a:rPr lang="en-GB" sz="1800" b="0" dirty="0"/>
              <a:t> slides</a:t>
            </a:r>
            <a:r>
              <a:rPr lang="en-GB" sz="1800" b="0"/>
              <a:t>, 21 </a:t>
            </a:r>
            <a:r>
              <a:rPr lang="en-GB" sz="1800" b="0" dirty="0"/>
              <a:t>Excel sheets and 7 minutes of Video training categorized into multiple folders that you can download on your device immediately after your purchase.</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2</a:t>
            </a:fld>
            <a:endParaRPr lang="en-US" sz="1000" dirty="0">
              <a:solidFill>
                <a:srgbClr val="ADAFBB"/>
              </a:solidFill>
            </a:endParaRPr>
          </a:p>
        </p:txBody>
      </p:sp>
      <p:sp>
        <p:nvSpPr>
          <p:cNvPr id="66" name="Rectangle: Rounded Corners 65">
            <a:extLst>
              <a:ext uri="{FF2B5EF4-FFF2-40B4-BE49-F238E27FC236}">
                <a16:creationId xmlns:a16="http://schemas.microsoft.com/office/drawing/2014/main" id="{B0AD58EA-FD3A-A370-E400-7C5719B22661}"/>
              </a:ext>
            </a:extLst>
          </p:cNvPr>
          <p:cNvSpPr/>
          <p:nvPr/>
        </p:nvSpPr>
        <p:spPr>
          <a:xfrm>
            <a:off x="602681" y="1597893"/>
            <a:ext cx="10984482" cy="524405"/>
          </a:xfrm>
          <a:prstGeom prst="roundRect">
            <a:avLst>
              <a:gd name="adj" fmla="val 4711"/>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9" name="Graphic 68" descr="Open folder outline">
            <a:extLst>
              <a:ext uri="{FF2B5EF4-FFF2-40B4-BE49-F238E27FC236}">
                <a16:creationId xmlns:a16="http://schemas.microsoft.com/office/drawing/2014/main" id="{09F93F30-7EC5-7B7E-B37D-12DE64E1DF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2810960" y="2610183"/>
            <a:ext cx="1004652" cy="1004652"/>
          </a:xfrm>
          <a:prstGeom prst="rect">
            <a:avLst/>
          </a:prstGeom>
        </p:spPr>
      </p:pic>
      <p:sp>
        <p:nvSpPr>
          <p:cNvPr id="74" name="TextBox 73">
            <a:extLst>
              <a:ext uri="{FF2B5EF4-FFF2-40B4-BE49-F238E27FC236}">
                <a16:creationId xmlns:a16="http://schemas.microsoft.com/office/drawing/2014/main" id="{D24D2894-6654-357C-184E-5C9A3611CCCB}"/>
              </a:ext>
            </a:extLst>
          </p:cNvPr>
          <p:cNvSpPr txBox="1"/>
          <p:nvPr/>
        </p:nvSpPr>
        <p:spPr>
          <a:xfrm>
            <a:off x="2354954" y="3630315"/>
            <a:ext cx="2026413" cy="430887"/>
          </a:xfrm>
          <a:prstGeom prst="rect">
            <a:avLst/>
          </a:prstGeom>
          <a:noFill/>
        </p:spPr>
        <p:txBody>
          <a:bodyPr wrap="square" rtlCol="0">
            <a:spAutoFit/>
          </a:bodyPr>
          <a:lstStyle/>
          <a:p>
            <a:pPr algn="ctr"/>
            <a:r>
              <a:rPr lang="en-GB" sz="1100" b="1" dirty="0"/>
              <a:t>II. Develop the Change Management Plans</a:t>
            </a:r>
            <a:endParaRPr lang="en-US" sz="1100" b="1" dirty="0"/>
          </a:p>
        </p:txBody>
      </p:sp>
      <p:pic>
        <p:nvPicPr>
          <p:cNvPr id="75" name="Picture 2">
            <a:extLst>
              <a:ext uri="{FF2B5EF4-FFF2-40B4-BE49-F238E27FC236}">
                <a16:creationId xmlns:a16="http://schemas.microsoft.com/office/drawing/2014/main" id="{7E810397-3567-61E9-FA0F-6933EE027C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6682" y="1725432"/>
            <a:ext cx="340703" cy="316864"/>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6" descr="Download Microsoft Excel Logo in SVG Vector or PNG File Format - Logo.wine">
            <a:extLst>
              <a:ext uri="{FF2B5EF4-FFF2-40B4-BE49-F238E27FC236}">
                <a16:creationId xmlns:a16="http://schemas.microsoft.com/office/drawing/2014/main" id="{F1B3D902-5F61-9099-19C5-E10B22C8914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80303" y="1681071"/>
            <a:ext cx="608380" cy="405586"/>
          </a:xfrm>
          <a:prstGeom prst="rect">
            <a:avLst/>
          </a:prstGeom>
          <a:noFill/>
          <a:extLst>
            <a:ext uri="{909E8E84-426E-40DD-AFC4-6F175D3DCCD1}">
              <a14:hiddenFill xmlns:a14="http://schemas.microsoft.com/office/drawing/2010/main">
                <a:solidFill>
                  <a:srgbClr val="FFFFFF"/>
                </a:solidFill>
              </a14:hiddenFill>
            </a:ext>
          </a:extLst>
        </p:spPr>
      </p:pic>
      <p:sp>
        <p:nvSpPr>
          <p:cNvPr id="77" name="TextBox 76">
            <a:extLst>
              <a:ext uri="{FF2B5EF4-FFF2-40B4-BE49-F238E27FC236}">
                <a16:creationId xmlns:a16="http://schemas.microsoft.com/office/drawing/2014/main" id="{848BB116-5235-AB55-D427-2000FB194B49}"/>
              </a:ext>
            </a:extLst>
          </p:cNvPr>
          <p:cNvSpPr txBox="1"/>
          <p:nvPr/>
        </p:nvSpPr>
        <p:spPr>
          <a:xfrm>
            <a:off x="1218388" y="1729976"/>
            <a:ext cx="3005768" cy="307777"/>
          </a:xfrm>
          <a:prstGeom prst="rect">
            <a:avLst/>
          </a:prstGeom>
          <a:noFill/>
        </p:spPr>
        <p:txBody>
          <a:bodyPr wrap="square" rtlCol="0">
            <a:spAutoFit/>
          </a:bodyPr>
          <a:lstStyle/>
          <a:p>
            <a:pPr algn="ctr"/>
            <a:r>
              <a:rPr lang="en-GB" sz="1400" b="1" dirty="0"/>
              <a:t>400 editable Powerpoint slides*</a:t>
            </a:r>
            <a:endParaRPr lang="en-US" sz="1400" b="1" dirty="0"/>
          </a:p>
        </p:txBody>
      </p:sp>
      <p:sp>
        <p:nvSpPr>
          <p:cNvPr id="78" name="TextBox 77">
            <a:extLst>
              <a:ext uri="{FF2B5EF4-FFF2-40B4-BE49-F238E27FC236}">
                <a16:creationId xmlns:a16="http://schemas.microsoft.com/office/drawing/2014/main" id="{AF03C07E-8951-0824-5652-A07C4C3678E0}"/>
              </a:ext>
            </a:extLst>
          </p:cNvPr>
          <p:cNvSpPr txBox="1"/>
          <p:nvPr/>
        </p:nvSpPr>
        <p:spPr>
          <a:xfrm>
            <a:off x="5347774" y="1729976"/>
            <a:ext cx="2827117" cy="307777"/>
          </a:xfrm>
          <a:prstGeom prst="rect">
            <a:avLst/>
          </a:prstGeom>
          <a:noFill/>
        </p:spPr>
        <p:txBody>
          <a:bodyPr wrap="square" rtlCol="0">
            <a:spAutoFit/>
          </a:bodyPr>
          <a:lstStyle/>
          <a:p>
            <a:r>
              <a:rPr lang="en-GB" sz="1400" b="1" dirty="0"/>
              <a:t>21 editable Excel sheets*</a:t>
            </a:r>
            <a:endParaRPr lang="en-US" sz="1400" b="1" dirty="0"/>
          </a:p>
        </p:txBody>
      </p:sp>
      <p:sp>
        <p:nvSpPr>
          <p:cNvPr id="79" name="Rectangle: Rounded Corners 78">
            <a:extLst>
              <a:ext uri="{FF2B5EF4-FFF2-40B4-BE49-F238E27FC236}">
                <a16:creationId xmlns:a16="http://schemas.microsoft.com/office/drawing/2014/main" id="{49F7E9D9-4706-C3BE-28FC-3F1453940719}"/>
              </a:ext>
            </a:extLst>
          </p:cNvPr>
          <p:cNvSpPr/>
          <p:nvPr/>
        </p:nvSpPr>
        <p:spPr>
          <a:xfrm>
            <a:off x="602681" y="6011780"/>
            <a:ext cx="10984482" cy="508803"/>
          </a:xfrm>
          <a:prstGeom prst="roundRect">
            <a:avLst>
              <a:gd name="adj" fmla="val 4711"/>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sz="1200" dirty="0">
                <a:solidFill>
                  <a:schemeClr val="bg1"/>
                </a:solidFill>
              </a:rPr>
              <a:t>*Please note that the number of PowerPoint slides and Excel sheets listed is the number of unique slides and sheets. For example, a PowerPoint slide that has been duplicated to facilitate our clients’ understanding only counts for 1 slide.</a:t>
            </a:r>
          </a:p>
        </p:txBody>
      </p:sp>
      <p:pic>
        <p:nvPicPr>
          <p:cNvPr id="80" name="Graphic 79" descr="Comment Important with solid fill">
            <a:extLst>
              <a:ext uri="{FF2B5EF4-FFF2-40B4-BE49-F238E27FC236}">
                <a16:creationId xmlns:a16="http://schemas.microsoft.com/office/drawing/2014/main" id="{FD882E24-E6DD-AB32-4A7F-9392867878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1153" y="6070817"/>
            <a:ext cx="449766" cy="449766"/>
          </a:xfrm>
          <a:prstGeom prst="rect">
            <a:avLst/>
          </a:prstGeom>
        </p:spPr>
      </p:pic>
      <p:pic>
        <p:nvPicPr>
          <p:cNvPr id="81" name="Graphic 80" descr="Open folder outline">
            <a:extLst>
              <a:ext uri="{FF2B5EF4-FFF2-40B4-BE49-F238E27FC236}">
                <a16:creationId xmlns:a16="http://schemas.microsoft.com/office/drawing/2014/main" id="{C29B3D54-F2FD-1899-2A45-1E01B1DEB3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938561" y="2610183"/>
            <a:ext cx="1004652" cy="1004652"/>
          </a:xfrm>
          <a:prstGeom prst="rect">
            <a:avLst/>
          </a:prstGeom>
        </p:spPr>
      </p:pic>
      <p:sp>
        <p:nvSpPr>
          <p:cNvPr id="82" name="TextBox 81">
            <a:extLst>
              <a:ext uri="{FF2B5EF4-FFF2-40B4-BE49-F238E27FC236}">
                <a16:creationId xmlns:a16="http://schemas.microsoft.com/office/drawing/2014/main" id="{D7933DC1-6B45-3B6E-59A7-DF3C33A4AF8B}"/>
              </a:ext>
            </a:extLst>
          </p:cNvPr>
          <p:cNvSpPr txBox="1"/>
          <p:nvPr/>
        </p:nvSpPr>
        <p:spPr>
          <a:xfrm>
            <a:off x="482555" y="3630315"/>
            <a:ext cx="2026413" cy="430887"/>
          </a:xfrm>
          <a:prstGeom prst="rect">
            <a:avLst/>
          </a:prstGeom>
          <a:noFill/>
        </p:spPr>
        <p:txBody>
          <a:bodyPr wrap="square" rtlCol="0">
            <a:spAutoFit/>
          </a:bodyPr>
          <a:lstStyle/>
          <a:p>
            <a:pPr algn="ctr"/>
            <a:r>
              <a:rPr lang="en-GB" sz="1100" b="1" dirty="0"/>
              <a:t>I. Define the Change Management Strategy</a:t>
            </a:r>
            <a:endParaRPr lang="en-US" sz="1100" b="1" dirty="0"/>
          </a:p>
        </p:txBody>
      </p:sp>
      <p:pic>
        <p:nvPicPr>
          <p:cNvPr id="83" name="Graphic 82" descr="Open folder outline">
            <a:extLst>
              <a:ext uri="{FF2B5EF4-FFF2-40B4-BE49-F238E27FC236}">
                <a16:creationId xmlns:a16="http://schemas.microsoft.com/office/drawing/2014/main" id="{42FBB591-EA53-9DA5-3B5D-769AF9220A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938561" y="4311416"/>
            <a:ext cx="1004652" cy="1004652"/>
          </a:xfrm>
          <a:prstGeom prst="rect">
            <a:avLst/>
          </a:prstGeom>
        </p:spPr>
      </p:pic>
      <p:sp>
        <p:nvSpPr>
          <p:cNvPr id="84" name="TextBox 83">
            <a:extLst>
              <a:ext uri="{FF2B5EF4-FFF2-40B4-BE49-F238E27FC236}">
                <a16:creationId xmlns:a16="http://schemas.microsoft.com/office/drawing/2014/main" id="{754B5B70-AA99-B681-3046-EE8EFC029842}"/>
              </a:ext>
            </a:extLst>
          </p:cNvPr>
          <p:cNvSpPr txBox="1"/>
          <p:nvPr/>
        </p:nvSpPr>
        <p:spPr>
          <a:xfrm>
            <a:off x="482555" y="5331548"/>
            <a:ext cx="2026413" cy="430887"/>
          </a:xfrm>
          <a:prstGeom prst="rect">
            <a:avLst/>
          </a:prstGeom>
          <a:noFill/>
        </p:spPr>
        <p:txBody>
          <a:bodyPr wrap="square" rtlCol="0">
            <a:spAutoFit/>
          </a:bodyPr>
          <a:lstStyle/>
          <a:p>
            <a:pPr algn="ctr"/>
            <a:r>
              <a:rPr lang="en-GB" sz="1100" b="1" dirty="0"/>
              <a:t>III. Implement, Track &amp; Manage Progress</a:t>
            </a:r>
            <a:endParaRPr lang="en-US" sz="1100" b="1" dirty="0"/>
          </a:p>
        </p:txBody>
      </p:sp>
      <p:pic>
        <p:nvPicPr>
          <p:cNvPr id="85" name="Graphic 84" descr="Open folder outline">
            <a:extLst>
              <a:ext uri="{FF2B5EF4-FFF2-40B4-BE49-F238E27FC236}">
                <a16:creationId xmlns:a16="http://schemas.microsoft.com/office/drawing/2014/main" id="{292363F4-47F6-5B8F-66C0-D9CAB760D9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4916641" y="2798485"/>
            <a:ext cx="1004652" cy="1004652"/>
          </a:xfrm>
          <a:prstGeom prst="rect">
            <a:avLst/>
          </a:prstGeom>
        </p:spPr>
      </p:pic>
      <p:sp>
        <p:nvSpPr>
          <p:cNvPr id="86" name="TextBox 85">
            <a:extLst>
              <a:ext uri="{FF2B5EF4-FFF2-40B4-BE49-F238E27FC236}">
                <a16:creationId xmlns:a16="http://schemas.microsoft.com/office/drawing/2014/main" id="{2BE1B4C0-772C-66EA-3E74-FA5224FECFC9}"/>
              </a:ext>
            </a:extLst>
          </p:cNvPr>
          <p:cNvSpPr txBox="1"/>
          <p:nvPr/>
        </p:nvSpPr>
        <p:spPr>
          <a:xfrm>
            <a:off x="4460635" y="3818617"/>
            <a:ext cx="1996313" cy="430887"/>
          </a:xfrm>
          <a:prstGeom prst="rect">
            <a:avLst/>
          </a:prstGeom>
          <a:noFill/>
        </p:spPr>
        <p:txBody>
          <a:bodyPr wrap="square" rtlCol="0">
            <a:spAutoFit/>
          </a:bodyPr>
          <a:lstStyle/>
          <a:p>
            <a:pPr algn="ctr"/>
            <a:r>
              <a:rPr lang="en-GB" sz="1100" b="1" dirty="0"/>
              <a:t>I. Build a Business Case &amp; Financial Model</a:t>
            </a:r>
            <a:endParaRPr lang="en-US" sz="1100" b="1" dirty="0"/>
          </a:p>
        </p:txBody>
      </p:sp>
      <p:pic>
        <p:nvPicPr>
          <p:cNvPr id="87" name="Graphic 86" descr="Open folder outline">
            <a:extLst>
              <a:ext uri="{FF2B5EF4-FFF2-40B4-BE49-F238E27FC236}">
                <a16:creationId xmlns:a16="http://schemas.microsoft.com/office/drawing/2014/main" id="{06EF2B42-6D29-B915-8853-D1A0764A89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2810960" y="4311416"/>
            <a:ext cx="1004652" cy="1004652"/>
          </a:xfrm>
          <a:prstGeom prst="rect">
            <a:avLst/>
          </a:prstGeom>
        </p:spPr>
      </p:pic>
      <p:sp>
        <p:nvSpPr>
          <p:cNvPr id="88" name="TextBox 87">
            <a:extLst>
              <a:ext uri="{FF2B5EF4-FFF2-40B4-BE49-F238E27FC236}">
                <a16:creationId xmlns:a16="http://schemas.microsoft.com/office/drawing/2014/main" id="{6CD4F18D-397C-E48A-6206-2D7142D82B04}"/>
              </a:ext>
            </a:extLst>
          </p:cNvPr>
          <p:cNvSpPr txBox="1"/>
          <p:nvPr/>
        </p:nvSpPr>
        <p:spPr>
          <a:xfrm>
            <a:off x="2354954" y="5331549"/>
            <a:ext cx="2026413" cy="600164"/>
          </a:xfrm>
          <a:prstGeom prst="rect">
            <a:avLst/>
          </a:prstGeom>
          <a:noFill/>
        </p:spPr>
        <p:txBody>
          <a:bodyPr wrap="square" rtlCol="0">
            <a:spAutoFit/>
          </a:bodyPr>
          <a:lstStyle/>
          <a:p>
            <a:pPr algn="ctr"/>
            <a:r>
              <a:rPr lang="en-GB" sz="1100" b="1" dirty="0"/>
              <a:t>IV. Top 12 change management frameworks and tools </a:t>
            </a:r>
            <a:endParaRPr lang="en-US" sz="1100" b="1" dirty="0"/>
          </a:p>
        </p:txBody>
      </p:sp>
      <p:pic>
        <p:nvPicPr>
          <p:cNvPr id="89" name="Graphic 88" descr="Open folder outline">
            <a:extLst>
              <a:ext uri="{FF2B5EF4-FFF2-40B4-BE49-F238E27FC236}">
                <a16:creationId xmlns:a16="http://schemas.microsoft.com/office/drawing/2014/main" id="{CC88E2C7-1140-095A-60DD-07ADFDF8DC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6789040" y="2798485"/>
            <a:ext cx="1004652" cy="1004652"/>
          </a:xfrm>
          <a:prstGeom prst="rect">
            <a:avLst/>
          </a:prstGeom>
        </p:spPr>
      </p:pic>
      <p:sp>
        <p:nvSpPr>
          <p:cNvPr id="90" name="TextBox 89">
            <a:extLst>
              <a:ext uri="{FF2B5EF4-FFF2-40B4-BE49-F238E27FC236}">
                <a16:creationId xmlns:a16="http://schemas.microsoft.com/office/drawing/2014/main" id="{5C1D8660-89DB-A243-EAB5-14944C4263DF}"/>
              </a:ext>
            </a:extLst>
          </p:cNvPr>
          <p:cNvSpPr txBox="1"/>
          <p:nvPr/>
        </p:nvSpPr>
        <p:spPr>
          <a:xfrm>
            <a:off x="6333035" y="3818617"/>
            <a:ext cx="1618572" cy="261610"/>
          </a:xfrm>
          <a:prstGeom prst="rect">
            <a:avLst/>
          </a:prstGeom>
          <a:noFill/>
        </p:spPr>
        <p:txBody>
          <a:bodyPr wrap="square" rtlCol="0">
            <a:spAutoFit/>
          </a:bodyPr>
          <a:lstStyle/>
          <a:p>
            <a:pPr algn="ctr"/>
            <a:r>
              <a:rPr lang="en-GB" sz="1100" b="1" dirty="0"/>
              <a:t>II. Initiate the Project</a:t>
            </a:r>
            <a:endParaRPr lang="en-US" sz="1100" b="1" dirty="0"/>
          </a:p>
        </p:txBody>
      </p:sp>
      <p:pic>
        <p:nvPicPr>
          <p:cNvPr id="91" name="Graphic 90" descr="Open folder outline">
            <a:extLst>
              <a:ext uri="{FF2B5EF4-FFF2-40B4-BE49-F238E27FC236}">
                <a16:creationId xmlns:a16="http://schemas.microsoft.com/office/drawing/2014/main" id="{09712587-8BBA-3869-DC80-31981FFE606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4956465" y="4364000"/>
            <a:ext cx="1004652" cy="1004652"/>
          </a:xfrm>
          <a:prstGeom prst="rect">
            <a:avLst/>
          </a:prstGeom>
        </p:spPr>
      </p:pic>
      <p:sp>
        <p:nvSpPr>
          <p:cNvPr id="92" name="TextBox 91">
            <a:extLst>
              <a:ext uri="{FF2B5EF4-FFF2-40B4-BE49-F238E27FC236}">
                <a16:creationId xmlns:a16="http://schemas.microsoft.com/office/drawing/2014/main" id="{7A5DE673-3587-F897-86C6-64F1CE746AC0}"/>
              </a:ext>
            </a:extLst>
          </p:cNvPr>
          <p:cNvSpPr txBox="1"/>
          <p:nvPr/>
        </p:nvSpPr>
        <p:spPr>
          <a:xfrm>
            <a:off x="4500459" y="5384132"/>
            <a:ext cx="1996313" cy="430887"/>
          </a:xfrm>
          <a:prstGeom prst="rect">
            <a:avLst/>
          </a:prstGeom>
          <a:noFill/>
        </p:spPr>
        <p:txBody>
          <a:bodyPr wrap="square" rtlCol="0">
            <a:spAutoFit/>
          </a:bodyPr>
          <a:lstStyle/>
          <a:p>
            <a:pPr algn="ctr"/>
            <a:r>
              <a:rPr lang="en-GB" sz="1100" b="1" dirty="0"/>
              <a:t>III. Define and Implement your Project Plan</a:t>
            </a:r>
            <a:endParaRPr lang="en-US" sz="1100" b="1" dirty="0"/>
          </a:p>
        </p:txBody>
      </p:sp>
      <p:sp>
        <p:nvSpPr>
          <p:cNvPr id="93" name="Rectangle 92">
            <a:extLst>
              <a:ext uri="{FF2B5EF4-FFF2-40B4-BE49-F238E27FC236}">
                <a16:creationId xmlns:a16="http://schemas.microsoft.com/office/drawing/2014/main" id="{B62DC772-3050-098D-81B2-BFA4DADF4C9E}"/>
              </a:ext>
            </a:extLst>
          </p:cNvPr>
          <p:cNvSpPr/>
          <p:nvPr/>
        </p:nvSpPr>
        <p:spPr>
          <a:xfrm>
            <a:off x="617220" y="2484582"/>
            <a:ext cx="3764147" cy="341506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93">
            <a:extLst>
              <a:ext uri="{FF2B5EF4-FFF2-40B4-BE49-F238E27FC236}">
                <a16:creationId xmlns:a16="http://schemas.microsoft.com/office/drawing/2014/main" id="{F0C9BD53-0CA6-BD08-5F55-D157A3ABCB0C}"/>
              </a:ext>
            </a:extLst>
          </p:cNvPr>
          <p:cNvSpPr/>
          <p:nvPr/>
        </p:nvSpPr>
        <p:spPr>
          <a:xfrm>
            <a:off x="4492234" y="2484582"/>
            <a:ext cx="3697199" cy="341506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TextBox 94">
            <a:extLst>
              <a:ext uri="{FF2B5EF4-FFF2-40B4-BE49-F238E27FC236}">
                <a16:creationId xmlns:a16="http://schemas.microsoft.com/office/drawing/2014/main" id="{2B4B63C6-B945-B2AF-7AA7-30C5D20F52D2}"/>
              </a:ext>
            </a:extLst>
          </p:cNvPr>
          <p:cNvSpPr txBox="1"/>
          <p:nvPr/>
        </p:nvSpPr>
        <p:spPr>
          <a:xfrm>
            <a:off x="1501137" y="2341734"/>
            <a:ext cx="1996313" cy="261610"/>
          </a:xfrm>
          <a:prstGeom prst="rect">
            <a:avLst/>
          </a:prstGeom>
          <a:solidFill>
            <a:srgbClr val="F7F7F7"/>
          </a:solidFill>
        </p:spPr>
        <p:txBody>
          <a:bodyPr wrap="square" rtlCol="0">
            <a:spAutoFit/>
          </a:bodyPr>
          <a:lstStyle/>
          <a:p>
            <a:pPr algn="ctr"/>
            <a:r>
              <a:rPr lang="en-US" sz="1100" b="1" dirty="0"/>
              <a:t>Change Management</a:t>
            </a:r>
          </a:p>
        </p:txBody>
      </p:sp>
      <p:sp>
        <p:nvSpPr>
          <p:cNvPr id="96" name="TextBox 95">
            <a:extLst>
              <a:ext uri="{FF2B5EF4-FFF2-40B4-BE49-F238E27FC236}">
                <a16:creationId xmlns:a16="http://schemas.microsoft.com/office/drawing/2014/main" id="{0D2EC94A-66AB-66E4-291F-2F7DE204A217}"/>
              </a:ext>
            </a:extLst>
          </p:cNvPr>
          <p:cNvSpPr txBox="1"/>
          <p:nvPr/>
        </p:nvSpPr>
        <p:spPr>
          <a:xfrm>
            <a:off x="4825924" y="2341735"/>
            <a:ext cx="3029818" cy="261610"/>
          </a:xfrm>
          <a:prstGeom prst="rect">
            <a:avLst/>
          </a:prstGeom>
          <a:solidFill>
            <a:srgbClr val="F7F7F7"/>
          </a:solidFill>
        </p:spPr>
        <p:txBody>
          <a:bodyPr wrap="square" rtlCol="0">
            <a:spAutoFit/>
          </a:bodyPr>
          <a:lstStyle/>
          <a:p>
            <a:pPr algn="ctr"/>
            <a:r>
              <a:rPr lang="en-US" sz="1100" b="1" dirty="0"/>
              <a:t>Project Management Traditional Approach</a:t>
            </a:r>
          </a:p>
        </p:txBody>
      </p:sp>
      <p:pic>
        <p:nvPicPr>
          <p:cNvPr id="97" name="Picture 96">
            <a:extLst>
              <a:ext uri="{FF2B5EF4-FFF2-40B4-BE49-F238E27FC236}">
                <a16:creationId xmlns:a16="http://schemas.microsoft.com/office/drawing/2014/main" id="{8E324EE0-800C-3DC4-D532-33C79450E0C2}"/>
              </a:ext>
            </a:extLst>
          </p:cNvPr>
          <p:cNvPicPr>
            <a:picLocks noChangeAspect="1"/>
          </p:cNvPicPr>
          <p:nvPr/>
        </p:nvPicPr>
        <p:blipFill rotWithShape="1">
          <a:blip r:embed="rId12"/>
          <a:srcRect l="6084" t="22611" r="63111" b="28343"/>
          <a:stretch/>
        </p:blipFill>
        <p:spPr>
          <a:xfrm>
            <a:off x="8746990" y="1666514"/>
            <a:ext cx="496651" cy="343261"/>
          </a:xfrm>
          <a:prstGeom prst="rect">
            <a:avLst/>
          </a:prstGeom>
        </p:spPr>
      </p:pic>
      <p:sp>
        <p:nvSpPr>
          <p:cNvPr id="98" name="TextBox 97">
            <a:extLst>
              <a:ext uri="{FF2B5EF4-FFF2-40B4-BE49-F238E27FC236}">
                <a16:creationId xmlns:a16="http://schemas.microsoft.com/office/drawing/2014/main" id="{8E8AD2A8-9309-BF73-1693-2A239AB5E7D3}"/>
              </a:ext>
            </a:extLst>
          </p:cNvPr>
          <p:cNvSpPr txBox="1"/>
          <p:nvPr/>
        </p:nvSpPr>
        <p:spPr>
          <a:xfrm>
            <a:off x="9214477" y="1726109"/>
            <a:ext cx="2324789" cy="307777"/>
          </a:xfrm>
          <a:prstGeom prst="rect">
            <a:avLst/>
          </a:prstGeom>
          <a:noFill/>
        </p:spPr>
        <p:txBody>
          <a:bodyPr wrap="square" rtlCol="0">
            <a:spAutoFit/>
          </a:bodyPr>
          <a:lstStyle/>
          <a:p>
            <a:r>
              <a:rPr lang="en-GB" sz="1400" b="1" dirty="0"/>
              <a:t>36-min Video training</a:t>
            </a:r>
            <a:endParaRPr lang="en-US" sz="1400" b="1" dirty="0"/>
          </a:p>
        </p:txBody>
      </p:sp>
      <p:pic>
        <p:nvPicPr>
          <p:cNvPr id="99" name="Graphic 98" descr="Open folder outline">
            <a:extLst>
              <a:ext uri="{FF2B5EF4-FFF2-40B4-BE49-F238E27FC236}">
                <a16:creationId xmlns:a16="http://schemas.microsoft.com/office/drawing/2014/main" id="{826969F6-A0E2-E19C-9A11-91C5C3382C6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9313119" y="3443743"/>
            <a:ext cx="1004652" cy="1004652"/>
          </a:xfrm>
          <a:prstGeom prst="rect">
            <a:avLst/>
          </a:prstGeom>
        </p:spPr>
      </p:pic>
      <p:sp>
        <p:nvSpPr>
          <p:cNvPr id="100" name="Rectangle 99">
            <a:extLst>
              <a:ext uri="{FF2B5EF4-FFF2-40B4-BE49-F238E27FC236}">
                <a16:creationId xmlns:a16="http://schemas.microsoft.com/office/drawing/2014/main" id="{3ADF4999-BD8E-8793-0953-343BEE2608A3}"/>
              </a:ext>
            </a:extLst>
          </p:cNvPr>
          <p:cNvSpPr/>
          <p:nvPr/>
        </p:nvSpPr>
        <p:spPr>
          <a:xfrm>
            <a:off x="8280149" y="2484582"/>
            <a:ext cx="3260341" cy="341506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TextBox 100">
            <a:extLst>
              <a:ext uri="{FF2B5EF4-FFF2-40B4-BE49-F238E27FC236}">
                <a16:creationId xmlns:a16="http://schemas.microsoft.com/office/drawing/2014/main" id="{BD14372A-2B68-3214-21A7-D593CFF738C0}"/>
              </a:ext>
            </a:extLst>
          </p:cNvPr>
          <p:cNvSpPr txBox="1"/>
          <p:nvPr/>
        </p:nvSpPr>
        <p:spPr>
          <a:xfrm>
            <a:off x="8500980" y="2341735"/>
            <a:ext cx="2818679" cy="261610"/>
          </a:xfrm>
          <a:prstGeom prst="rect">
            <a:avLst/>
          </a:prstGeom>
          <a:solidFill>
            <a:srgbClr val="F7F7F7"/>
          </a:solidFill>
        </p:spPr>
        <p:txBody>
          <a:bodyPr wrap="square" rtlCol="0">
            <a:spAutoFit/>
          </a:bodyPr>
          <a:lstStyle/>
          <a:p>
            <a:pPr algn="ctr"/>
            <a:r>
              <a:rPr lang="en-US" sz="1100" b="1" dirty="0"/>
              <a:t>Project Management Agile Approach</a:t>
            </a:r>
          </a:p>
        </p:txBody>
      </p:sp>
      <p:sp>
        <p:nvSpPr>
          <p:cNvPr id="102" name="TextBox 101">
            <a:extLst>
              <a:ext uri="{FF2B5EF4-FFF2-40B4-BE49-F238E27FC236}">
                <a16:creationId xmlns:a16="http://schemas.microsoft.com/office/drawing/2014/main" id="{B941411B-2B41-36C1-8726-85516D4D7E92}"/>
              </a:ext>
            </a:extLst>
          </p:cNvPr>
          <p:cNvSpPr txBox="1"/>
          <p:nvPr/>
        </p:nvSpPr>
        <p:spPr>
          <a:xfrm>
            <a:off x="8838889" y="4382438"/>
            <a:ext cx="1996313" cy="261610"/>
          </a:xfrm>
          <a:prstGeom prst="rect">
            <a:avLst/>
          </a:prstGeom>
          <a:noFill/>
        </p:spPr>
        <p:txBody>
          <a:bodyPr wrap="square" rtlCol="0">
            <a:spAutoFit/>
          </a:bodyPr>
          <a:lstStyle/>
          <a:p>
            <a:pPr algn="ctr"/>
            <a:r>
              <a:rPr lang="en-GB" sz="1100" b="1" dirty="0"/>
              <a:t>7-step Agile Approach</a:t>
            </a:r>
            <a:endParaRPr lang="en-US" sz="1100" b="1" dirty="0"/>
          </a:p>
        </p:txBody>
      </p:sp>
      <p:cxnSp>
        <p:nvCxnSpPr>
          <p:cNvPr id="103" name="Connector: Elbow 102">
            <a:extLst>
              <a:ext uri="{FF2B5EF4-FFF2-40B4-BE49-F238E27FC236}">
                <a16:creationId xmlns:a16="http://schemas.microsoft.com/office/drawing/2014/main" id="{DF859517-2C55-8170-BF27-BDC478B3B59C}"/>
              </a:ext>
            </a:extLst>
          </p:cNvPr>
          <p:cNvCxnSpPr>
            <a:stCxn id="66" idx="2"/>
            <a:endCxn id="95" idx="0"/>
          </p:cNvCxnSpPr>
          <p:nvPr/>
        </p:nvCxnSpPr>
        <p:spPr>
          <a:xfrm rot="5400000">
            <a:off x="4187390" y="434202"/>
            <a:ext cx="219436" cy="35956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CEE361BD-22E4-6CA0-28E6-6C1D170BD1B4}"/>
              </a:ext>
            </a:extLst>
          </p:cNvPr>
          <p:cNvCxnSpPr>
            <a:stCxn id="66" idx="2"/>
            <a:endCxn id="101" idx="0"/>
          </p:cNvCxnSpPr>
          <p:nvPr/>
        </p:nvCxnSpPr>
        <p:spPr>
          <a:xfrm rot="16200000" flipH="1">
            <a:off x="7892903" y="324317"/>
            <a:ext cx="219437" cy="381539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a16="http://schemas.microsoft.com/office/drawing/2014/main" id="{3213E55B-7E4D-B85E-9300-340AE486DB0C}"/>
              </a:ext>
            </a:extLst>
          </p:cNvPr>
          <p:cNvCxnSpPr>
            <a:stCxn id="66" idx="2"/>
            <a:endCxn id="96" idx="0"/>
          </p:cNvCxnSpPr>
          <p:nvPr/>
        </p:nvCxnSpPr>
        <p:spPr>
          <a:xfrm rot="16200000" flipH="1">
            <a:off x="6108159" y="2109060"/>
            <a:ext cx="219437" cy="24591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90916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51010D-829D-4277-97AB-08D381FF1AB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sz="2400" kern="0" dirty="0"/>
              <a:t>Key Benefits of our Management Consulting Toolkits</a:t>
            </a:r>
            <a:endParaRPr lang="en-US" sz="2400" b="0" kern="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sp>
        <p:nvSpPr>
          <p:cNvPr id="7" name="Rectangle 6">
            <a:extLst>
              <a:ext uri="{FF2B5EF4-FFF2-40B4-BE49-F238E27FC236}">
                <a16:creationId xmlns:a16="http://schemas.microsoft.com/office/drawing/2014/main" id="{E0995E6E-91BA-B0E7-4827-A68EC447770B}"/>
              </a:ext>
            </a:extLst>
          </p:cNvPr>
          <p:cNvSpPr/>
          <p:nvPr/>
        </p:nvSpPr>
        <p:spPr>
          <a:xfrm>
            <a:off x="62345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a:extLst>
              <a:ext uri="{FF2B5EF4-FFF2-40B4-BE49-F238E27FC236}">
                <a16:creationId xmlns:a16="http://schemas.microsoft.com/office/drawing/2014/main" id="{C760E3F4-FD20-38EA-1420-4623364ED51E}"/>
              </a:ext>
            </a:extLst>
          </p:cNvPr>
          <p:cNvSpPr/>
          <p:nvPr/>
        </p:nvSpPr>
        <p:spPr>
          <a:xfrm>
            <a:off x="4358343"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9">
            <a:extLst>
              <a:ext uri="{FF2B5EF4-FFF2-40B4-BE49-F238E27FC236}">
                <a16:creationId xmlns:a16="http://schemas.microsoft.com/office/drawing/2014/main" id="{771454E6-A047-784E-7613-20D7CCDFF33E}"/>
              </a:ext>
            </a:extLst>
          </p:cNvPr>
          <p:cNvSpPr/>
          <p:nvPr/>
        </p:nvSpPr>
        <p:spPr>
          <a:xfrm>
            <a:off x="809323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10">
            <a:extLst>
              <a:ext uri="{FF2B5EF4-FFF2-40B4-BE49-F238E27FC236}">
                <a16:creationId xmlns:a16="http://schemas.microsoft.com/office/drawing/2014/main" id="{0B011522-144C-50E9-7C59-75376D78C1B7}"/>
              </a:ext>
            </a:extLst>
          </p:cNvPr>
          <p:cNvSpPr/>
          <p:nvPr/>
        </p:nvSpPr>
        <p:spPr>
          <a:xfrm>
            <a:off x="62345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11">
            <a:extLst>
              <a:ext uri="{FF2B5EF4-FFF2-40B4-BE49-F238E27FC236}">
                <a16:creationId xmlns:a16="http://schemas.microsoft.com/office/drawing/2014/main" id="{E33AC3B5-B093-8FC2-5B92-E7096884A7EF}"/>
              </a:ext>
            </a:extLst>
          </p:cNvPr>
          <p:cNvSpPr/>
          <p:nvPr/>
        </p:nvSpPr>
        <p:spPr>
          <a:xfrm>
            <a:off x="4358343"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12">
            <a:extLst>
              <a:ext uri="{FF2B5EF4-FFF2-40B4-BE49-F238E27FC236}">
                <a16:creationId xmlns:a16="http://schemas.microsoft.com/office/drawing/2014/main" id="{1B207AFA-900A-08C9-C601-047F9B971411}"/>
              </a:ext>
            </a:extLst>
          </p:cNvPr>
          <p:cNvSpPr/>
          <p:nvPr/>
        </p:nvSpPr>
        <p:spPr>
          <a:xfrm>
            <a:off x="809323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14">
            <a:extLst>
              <a:ext uri="{FF2B5EF4-FFF2-40B4-BE49-F238E27FC236}">
                <a16:creationId xmlns:a16="http://schemas.microsoft.com/office/drawing/2014/main" id="{FEF5CC02-D203-B520-C5B5-7DC6DED93266}"/>
              </a:ext>
            </a:extLst>
          </p:cNvPr>
          <p:cNvSpPr/>
          <p:nvPr/>
        </p:nvSpPr>
        <p:spPr>
          <a:xfrm>
            <a:off x="62345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Rectangle 16">
            <a:extLst>
              <a:ext uri="{FF2B5EF4-FFF2-40B4-BE49-F238E27FC236}">
                <a16:creationId xmlns:a16="http://schemas.microsoft.com/office/drawing/2014/main" id="{C938A4F5-5450-BF24-707B-85666AD593E9}"/>
              </a:ext>
            </a:extLst>
          </p:cNvPr>
          <p:cNvSpPr/>
          <p:nvPr/>
        </p:nvSpPr>
        <p:spPr>
          <a:xfrm>
            <a:off x="4358343"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Rectangle 18">
            <a:extLst>
              <a:ext uri="{FF2B5EF4-FFF2-40B4-BE49-F238E27FC236}">
                <a16:creationId xmlns:a16="http://schemas.microsoft.com/office/drawing/2014/main" id="{FEFADB5E-4C81-33E2-D634-A1839CEA8691}"/>
              </a:ext>
            </a:extLst>
          </p:cNvPr>
          <p:cNvSpPr/>
          <p:nvPr/>
        </p:nvSpPr>
        <p:spPr>
          <a:xfrm>
            <a:off x="809323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1" name="Graphic 20">
            <a:extLst>
              <a:ext uri="{FF2B5EF4-FFF2-40B4-BE49-F238E27FC236}">
                <a16:creationId xmlns:a16="http://schemas.microsoft.com/office/drawing/2014/main" id="{AA7CD485-9B9C-7FFF-019C-F215989F53D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2218" y="2201757"/>
            <a:ext cx="509624" cy="509624"/>
          </a:xfrm>
          <a:prstGeom prst="rect">
            <a:avLst/>
          </a:prstGeom>
        </p:spPr>
      </p:pic>
      <p:sp>
        <p:nvSpPr>
          <p:cNvPr id="22" name="Rounded Rectangle 5">
            <a:extLst>
              <a:ext uri="{FF2B5EF4-FFF2-40B4-BE49-F238E27FC236}">
                <a16:creationId xmlns:a16="http://schemas.microsoft.com/office/drawing/2014/main" id="{F664C8EF-D253-2803-0178-09A2F1F96CDD}"/>
              </a:ext>
            </a:extLst>
          </p:cNvPr>
          <p:cNvSpPr/>
          <p:nvPr/>
        </p:nvSpPr>
        <p:spPr bwMode="auto">
          <a:xfrm>
            <a:off x="1470606"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Improve the growth &amp; efficiency of your organization </a:t>
            </a:r>
            <a:r>
              <a:rPr lang="en-GB" sz="1200" b="0" i="0" dirty="0">
                <a:solidFill>
                  <a:srgbClr val="053881"/>
                </a:solidFill>
                <a:effectLst/>
                <a:latin typeface="Helvetica" panose="020B0604020202020204" pitchFamily="34" charset="0"/>
              </a:rPr>
              <a:t>by leveraging Management Consulting Toolkits created by ex-McKinsey, Deloitte &amp; BCG Consultants.</a:t>
            </a:r>
            <a:endParaRPr lang="en-US" sz="1200" dirty="0">
              <a:ea typeface="ＭＳ Ｐゴシック" pitchFamily="50" charset="-128"/>
            </a:endParaRPr>
          </a:p>
        </p:txBody>
      </p:sp>
      <p:sp>
        <p:nvSpPr>
          <p:cNvPr id="23" name="Rounded Rectangle 5">
            <a:extLst>
              <a:ext uri="{FF2B5EF4-FFF2-40B4-BE49-F238E27FC236}">
                <a16:creationId xmlns:a16="http://schemas.microsoft.com/office/drawing/2014/main" id="{B1D380C4-C6FD-13A7-39CE-E277C9BF1645}"/>
              </a:ext>
            </a:extLst>
          </p:cNvPr>
          <p:cNvSpPr/>
          <p:nvPr/>
        </p:nvSpPr>
        <p:spPr bwMode="auto">
          <a:xfrm>
            <a:off x="5206138"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Make a great investment for your career &amp; organization. </a:t>
            </a:r>
            <a:r>
              <a:rPr lang="en-GB" sz="1200" b="0" i="0" dirty="0">
                <a:solidFill>
                  <a:srgbClr val="053881"/>
                </a:solidFill>
                <a:effectLst/>
                <a:latin typeface="Helvetica" panose="020B0604020202020204" pitchFamily="34" charset="0"/>
              </a:rPr>
              <a:t>It cost us US$8M+ over the past 10 years to create all our Toolkits. Get them for a fraction of this cost.</a:t>
            </a:r>
            <a:endParaRPr lang="en-US" sz="1200" dirty="0">
              <a:ea typeface="ＭＳ Ｐゴシック" pitchFamily="50" charset="-128"/>
            </a:endParaRPr>
          </a:p>
        </p:txBody>
      </p:sp>
      <p:sp>
        <p:nvSpPr>
          <p:cNvPr id="26" name="Rounded Rectangle 5">
            <a:extLst>
              <a:ext uri="{FF2B5EF4-FFF2-40B4-BE49-F238E27FC236}">
                <a16:creationId xmlns:a16="http://schemas.microsoft.com/office/drawing/2014/main" id="{28E73549-6EA8-6C56-AB0D-394D25DB4EFE}"/>
              </a:ext>
            </a:extLst>
          </p:cNvPr>
          <p:cNvSpPr/>
          <p:nvPr/>
        </p:nvSpPr>
        <p:spPr bwMode="auto">
          <a:xfrm>
            <a:off x="8941670"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a competitive advantage. </a:t>
            </a:r>
            <a:r>
              <a:rPr lang="en-GB" sz="1200" b="0" i="0" dirty="0">
                <a:solidFill>
                  <a:srgbClr val="053881"/>
                </a:solidFill>
                <a:effectLst/>
                <a:latin typeface="Helvetica" panose="020B0604020202020204" pitchFamily="34" charset="0"/>
              </a:rPr>
              <a:t>It’s like hiring Management Consultants to create all the practical Frameworks, Tools &amp; Templates you need.</a:t>
            </a:r>
            <a:endParaRPr lang="en-US" sz="1200" dirty="0">
              <a:ea typeface="ＭＳ Ｐゴシック" pitchFamily="50" charset="-128"/>
            </a:endParaRPr>
          </a:p>
        </p:txBody>
      </p:sp>
      <p:sp>
        <p:nvSpPr>
          <p:cNvPr id="27" name="Rounded Rectangle 5">
            <a:extLst>
              <a:ext uri="{FF2B5EF4-FFF2-40B4-BE49-F238E27FC236}">
                <a16:creationId xmlns:a16="http://schemas.microsoft.com/office/drawing/2014/main" id="{812424AD-450E-927F-1233-1544347BC47F}"/>
              </a:ext>
            </a:extLst>
          </p:cNvPr>
          <p:cNvSpPr/>
          <p:nvPr/>
        </p:nvSpPr>
        <p:spPr bwMode="auto">
          <a:xfrm>
            <a:off x="1470606"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the job done quicker </a:t>
            </a:r>
            <a:r>
              <a:rPr lang="en-GB" sz="1200" b="0" i="0" dirty="0">
                <a:solidFill>
                  <a:srgbClr val="053881"/>
                </a:solidFill>
                <a:effectLst/>
                <a:latin typeface="Helvetica" panose="020B0604020202020204" pitchFamily="34" charset="0"/>
              </a:rPr>
              <a:t>and never start from scratch again with our ready-made and fully editable Frameworks, Tools &amp; Templates in Powerpoint &amp; Excel.</a:t>
            </a:r>
            <a:endParaRPr lang="en-US" sz="1200" dirty="0">
              <a:ea typeface="ＭＳ Ｐゴシック" pitchFamily="50" charset="-128"/>
            </a:endParaRPr>
          </a:p>
        </p:txBody>
      </p:sp>
      <p:sp>
        <p:nvSpPr>
          <p:cNvPr id="28" name="Rounded Rectangle 5">
            <a:extLst>
              <a:ext uri="{FF2B5EF4-FFF2-40B4-BE49-F238E27FC236}">
                <a16:creationId xmlns:a16="http://schemas.microsoft.com/office/drawing/2014/main" id="{A2EC5241-F3A8-F265-3E22-EB43ABE1A1C6}"/>
              </a:ext>
            </a:extLst>
          </p:cNvPr>
          <p:cNvSpPr/>
          <p:nvPr/>
        </p:nvSpPr>
        <p:spPr bwMode="auto">
          <a:xfrm>
            <a:off x="8941670" y="3644073"/>
            <a:ext cx="2467550" cy="738664"/>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Improve the capabilities of your organization </a:t>
            </a:r>
            <a:r>
              <a:rPr lang="en-GB" sz="1200" b="0" i="0" dirty="0">
                <a:solidFill>
                  <a:srgbClr val="053881"/>
                </a:solidFill>
                <a:effectLst/>
                <a:latin typeface="Helvetica" panose="020B0604020202020204" pitchFamily="34" charset="0"/>
              </a:rPr>
              <a:t>by learning how the Fortune 100 and Global Consulting Firms do it.</a:t>
            </a:r>
            <a:endParaRPr lang="en-US" sz="1200" b="0" i="0" dirty="0">
              <a:solidFill>
                <a:srgbClr val="053881"/>
              </a:solidFill>
              <a:effectLst/>
              <a:latin typeface="Helvetica" panose="020B0604020202020204" pitchFamily="34" charset="0"/>
            </a:endParaRPr>
          </a:p>
        </p:txBody>
      </p:sp>
      <p:sp>
        <p:nvSpPr>
          <p:cNvPr id="29" name="Rounded Rectangle 5">
            <a:extLst>
              <a:ext uri="{FF2B5EF4-FFF2-40B4-BE49-F238E27FC236}">
                <a16:creationId xmlns:a16="http://schemas.microsoft.com/office/drawing/2014/main" id="{9D88DB97-7C34-0A0C-2DED-7A5380022445}"/>
              </a:ext>
            </a:extLst>
          </p:cNvPr>
          <p:cNvSpPr/>
          <p:nvPr/>
        </p:nvSpPr>
        <p:spPr bwMode="auto">
          <a:xfrm>
            <a:off x="1470606" y="5293242"/>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free support and advice </a:t>
            </a:r>
            <a:r>
              <a:rPr lang="en-GB" sz="1200" b="0" i="0" dirty="0">
                <a:solidFill>
                  <a:srgbClr val="053881"/>
                </a:solidFill>
                <a:effectLst/>
                <a:latin typeface="Helvetica" panose="020B0604020202020204" pitchFamily="34" charset="0"/>
              </a:rPr>
              <a:t>from our ex-McKinsey, Deloitte &amp; BCG Management Consultants.</a:t>
            </a:r>
            <a:endParaRPr lang="en-US" sz="1200" dirty="0">
              <a:ea typeface="ＭＳ Ｐゴシック" pitchFamily="50" charset="-128"/>
            </a:endParaRPr>
          </a:p>
        </p:txBody>
      </p:sp>
      <p:sp>
        <p:nvSpPr>
          <p:cNvPr id="30" name="Rounded Rectangle 5">
            <a:extLst>
              <a:ext uri="{FF2B5EF4-FFF2-40B4-BE49-F238E27FC236}">
                <a16:creationId xmlns:a16="http://schemas.microsoft.com/office/drawing/2014/main" id="{B9DBF249-EEFB-86E5-1410-2D72D5445CAB}"/>
              </a:ext>
            </a:extLst>
          </p:cNvPr>
          <p:cNvSpPr/>
          <p:nvPr/>
        </p:nvSpPr>
        <p:spPr bwMode="auto">
          <a:xfrm>
            <a:off x="5206138" y="5016243"/>
            <a:ext cx="2467550" cy="1107996"/>
          </a:xfrm>
          <a:prstGeom prst="rect">
            <a:avLst/>
          </a:prstGeom>
          <a:noFill/>
          <a:ln w="19050" algn="ctr">
            <a:noFill/>
            <a:miter lim="800000"/>
            <a:headEnd type="none" w="sm" len="sm"/>
            <a:tailEnd type="none" w="sm" len="sm"/>
          </a:ln>
        </p:spPr>
        <p:txBody>
          <a:bodyPr wrap="square" lIns="0" tIns="0" rIns="0" bIns="0" anchor="ctr">
            <a:spAutoFit/>
          </a:bodyPr>
          <a:lstStyle/>
          <a:p>
            <a:endParaRPr lang="en-GB" sz="1200" b="1" i="0" dirty="0">
              <a:solidFill>
                <a:srgbClr val="053881"/>
              </a:solidFill>
              <a:effectLst/>
              <a:latin typeface="Helvetica" panose="020B0604020202020204" pitchFamily="34" charset="0"/>
            </a:endParaRPr>
          </a:p>
          <a:p>
            <a:r>
              <a:rPr lang="en-GB" sz="1200" b="1" i="0" dirty="0">
                <a:solidFill>
                  <a:srgbClr val="053881"/>
                </a:solidFill>
                <a:effectLst/>
                <a:latin typeface="Helvetica" panose="020B0604020202020204" pitchFamily="34" charset="0"/>
              </a:rPr>
              <a:t>Decrease your costs. </a:t>
            </a:r>
            <a:r>
              <a:rPr lang="en-GB" sz="1200" b="0" i="0" dirty="0">
                <a:solidFill>
                  <a:srgbClr val="053881"/>
                </a:solidFill>
                <a:effectLst/>
                <a:latin typeface="Helvetica" panose="020B0604020202020204" pitchFamily="34" charset="0"/>
              </a:rPr>
              <a:t>Hiring tier-1 Consultants for a project would cost you $300k+. Way more expensive than our Toolkits, which will last you a lifetime!</a:t>
            </a:r>
            <a:endParaRPr lang="en-US" sz="1200" dirty="0">
              <a:ea typeface="ＭＳ Ｐゴシック" pitchFamily="50" charset="-128"/>
            </a:endParaRPr>
          </a:p>
        </p:txBody>
      </p:sp>
      <p:sp>
        <p:nvSpPr>
          <p:cNvPr id="31" name="Rounded Rectangle 5">
            <a:extLst>
              <a:ext uri="{FF2B5EF4-FFF2-40B4-BE49-F238E27FC236}">
                <a16:creationId xmlns:a16="http://schemas.microsoft.com/office/drawing/2014/main" id="{C074EF3D-1813-7902-A555-08D7A6C23019}"/>
              </a:ext>
            </a:extLst>
          </p:cNvPr>
          <p:cNvSpPr/>
          <p:nvPr/>
        </p:nvSpPr>
        <p:spPr bwMode="auto">
          <a:xfrm>
            <a:off x="8941670" y="5108576"/>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Become your organization’s subject matter expert </a:t>
            </a:r>
            <a:r>
              <a:rPr lang="en-GB" sz="1200" b="0" i="0" dirty="0">
                <a:solidFill>
                  <a:srgbClr val="053881"/>
                </a:solidFill>
                <a:effectLst/>
                <a:latin typeface="Helvetica" panose="020B0604020202020204" pitchFamily="34" charset="0"/>
              </a:rPr>
              <a:t>and impress your stakeholders with world-class approaches to resolve common business problems.</a:t>
            </a:r>
            <a:endParaRPr lang="en-US" sz="1200" dirty="0">
              <a:ea typeface="ＭＳ Ｐゴシック" pitchFamily="50" charset="-128"/>
            </a:endParaRPr>
          </a:p>
        </p:txBody>
      </p:sp>
      <p:pic>
        <p:nvPicPr>
          <p:cNvPr id="32" name="Graphic 31">
            <a:extLst>
              <a:ext uri="{FF2B5EF4-FFF2-40B4-BE49-F238E27FC236}">
                <a16:creationId xmlns:a16="http://schemas.microsoft.com/office/drawing/2014/main" id="{A912F6A8-7755-96B0-1BF1-CA38F6CC857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92182" y="2168438"/>
            <a:ext cx="576263" cy="576263"/>
          </a:xfrm>
          <a:prstGeom prst="rect">
            <a:avLst/>
          </a:prstGeom>
        </p:spPr>
      </p:pic>
      <p:pic>
        <p:nvPicPr>
          <p:cNvPr id="33" name="Graphic 32">
            <a:extLst>
              <a:ext uri="{FF2B5EF4-FFF2-40B4-BE49-F238E27FC236}">
                <a16:creationId xmlns:a16="http://schemas.microsoft.com/office/drawing/2014/main" id="{CE4974F3-ECF8-466E-0BC1-97429FC20B9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73737" y="2212854"/>
            <a:ext cx="487430" cy="487430"/>
          </a:xfrm>
          <a:prstGeom prst="rect">
            <a:avLst/>
          </a:prstGeom>
        </p:spPr>
      </p:pic>
      <p:pic>
        <p:nvPicPr>
          <p:cNvPr id="34" name="Graphic 33">
            <a:extLst>
              <a:ext uri="{FF2B5EF4-FFF2-40B4-BE49-F238E27FC236}">
                <a16:creationId xmlns:a16="http://schemas.microsoft.com/office/drawing/2014/main" id="{AA4AE859-771D-EA7A-DE78-A7FAC68B21F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16558" y="3746630"/>
            <a:ext cx="533551" cy="533551"/>
          </a:xfrm>
          <a:prstGeom prst="rect">
            <a:avLst/>
          </a:prstGeom>
        </p:spPr>
      </p:pic>
      <p:pic>
        <p:nvPicPr>
          <p:cNvPr id="36" name="Graphic 35">
            <a:extLst>
              <a:ext uri="{FF2B5EF4-FFF2-40B4-BE49-F238E27FC236}">
                <a16:creationId xmlns:a16="http://schemas.microsoft.com/office/drawing/2014/main" id="{AD0E1CAC-441C-9262-8EDC-3890CD2E5B4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68090" y="5255693"/>
            <a:ext cx="629096" cy="629096"/>
          </a:xfrm>
          <a:prstGeom prst="rect">
            <a:avLst/>
          </a:prstGeom>
        </p:spPr>
      </p:pic>
      <p:pic>
        <p:nvPicPr>
          <p:cNvPr id="39" name="Graphic 38">
            <a:extLst>
              <a:ext uri="{FF2B5EF4-FFF2-40B4-BE49-F238E27FC236}">
                <a16:creationId xmlns:a16="http://schemas.microsoft.com/office/drawing/2014/main" id="{7041940F-C223-8CDD-F031-D40DD7E4E4F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223806" y="5276595"/>
            <a:ext cx="587292" cy="587292"/>
          </a:xfrm>
          <a:prstGeom prst="rect">
            <a:avLst/>
          </a:prstGeom>
        </p:spPr>
      </p:pic>
      <p:pic>
        <p:nvPicPr>
          <p:cNvPr id="42" name="Graphic 41">
            <a:extLst>
              <a:ext uri="{FF2B5EF4-FFF2-40B4-BE49-F238E27FC236}">
                <a16:creationId xmlns:a16="http://schemas.microsoft.com/office/drawing/2014/main" id="{817D6250-7BD1-07BD-54C9-FF55282E8AB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0882" y="5343654"/>
            <a:ext cx="453174" cy="453174"/>
          </a:xfrm>
          <a:prstGeom prst="rect">
            <a:avLst/>
          </a:prstGeom>
        </p:spPr>
      </p:pic>
      <p:sp>
        <p:nvSpPr>
          <p:cNvPr id="43" name="Rounded Rectangle 5">
            <a:extLst>
              <a:ext uri="{FF2B5EF4-FFF2-40B4-BE49-F238E27FC236}">
                <a16:creationId xmlns:a16="http://schemas.microsoft.com/office/drawing/2014/main" id="{35773859-1551-24FA-766B-DEBA9384247B}"/>
              </a:ext>
            </a:extLst>
          </p:cNvPr>
          <p:cNvSpPr/>
          <p:nvPr/>
        </p:nvSpPr>
        <p:spPr bwMode="auto">
          <a:xfrm>
            <a:off x="5206138"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Don't reinvent the wheel. </a:t>
            </a:r>
            <a:r>
              <a:rPr lang="en-GB" sz="1200" b="0" i="0" dirty="0">
                <a:solidFill>
                  <a:srgbClr val="053881"/>
                </a:solidFill>
                <a:effectLst/>
                <a:latin typeface="Helvetica" panose="020B0604020202020204" pitchFamily="34" charset="0"/>
              </a:rPr>
              <a:t>We have already worked 30,000+ hours over the past 10 years to create all the Management Consulting Toolkits you need.</a:t>
            </a:r>
            <a:endParaRPr lang="en-US" sz="1200" dirty="0">
              <a:ea typeface="ＭＳ Ｐゴシック" pitchFamily="50" charset="-128"/>
            </a:endParaRPr>
          </a:p>
        </p:txBody>
      </p:sp>
      <p:pic>
        <p:nvPicPr>
          <p:cNvPr id="44" name="Graphic 43" descr="Stopwatch 66% outline">
            <a:extLst>
              <a:ext uri="{FF2B5EF4-FFF2-40B4-BE49-F238E27FC236}">
                <a16:creationId xmlns:a16="http://schemas.microsoft.com/office/drawing/2014/main" id="{558EA078-3275-6A21-DCC5-4B366E8DC30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31239" y="3575144"/>
            <a:ext cx="739367" cy="739367"/>
          </a:xfrm>
          <a:prstGeom prst="rect">
            <a:avLst/>
          </a:prstGeom>
        </p:spPr>
      </p:pic>
      <p:pic>
        <p:nvPicPr>
          <p:cNvPr id="51" name="Graphic 50" descr="Steering Wheel outline">
            <a:extLst>
              <a:ext uri="{FF2B5EF4-FFF2-40B4-BE49-F238E27FC236}">
                <a16:creationId xmlns:a16="http://schemas.microsoft.com/office/drawing/2014/main" id="{C6EC77E8-A539-C100-7C53-F2165FD1421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465460" y="3644073"/>
            <a:ext cx="728441" cy="728441"/>
          </a:xfrm>
          <a:prstGeom prst="rect">
            <a:avLst/>
          </a:prstGeom>
        </p:spPr>
      </p:pic>
    </p:spTree>
    <p:extLst>
      <p:ext uri="{BB962C8B-B14F-4D97-AF65-F5344CB8AC3E}">
        <p14:creationId xmlns:p14="http://schemas.microsoft.com/office/powerpoint/2010/main" val="39383374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D58A1A0-06A2-4FAC-A5EA-99253435D8B8}"/>
              </a:ext>
            </a:extLst>
          </p:cNvPr>
          <p:cNvPicPr>
            <a:picLocks noChangeAspect="1"/>
          </p:cNvPicPr>
          <p:nvPr/>
        </p:nvPicPr>
        <p:blipFill>
          <a:blip r:embed="rId2"/>
          <a:stretch>
            <a:fillRect/>
          </a:stretch>
        </p:blipFill>
        <p:spPr>
          <a:xfrm>
            <a:off x="1321620" y="1968982"/>
            <a:ext cx="9458036" cy="3701886"/>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DEFE2F89-2C68-4882-ACAA-4D3583EC021E}"/>
              </a:ext>
            </a:extLst>
          </p:cNvPr>
          <p:cNvSpPr>
            <a:spLocks noGrp="1"/>
          </p:cNvSpPr>
          <p:nvPr>
            <p:ph type="title"/>
          </p:nvPr>
        </p:nvSpPr>
        <p:spPr/>
        <p:txBody>
          <a:bodyPr/>
          <a:lstStyle/>
          <a:p>
            <a:r>
              <a:rPr lang="en-GB" dirty="0"/>
              <a:t>What our clients say about our Toolkits</a:t>
            </a:r>
            <a:br>
              <a:rPr lang="en-GB" dirty="0"/>
            </a:br>
            <a:r>
              <a:rPr lang="en-GB" b="0" dirty="0"/>
              <a:t>Reviews imported from Facebooks, Amazon and Klaviyo</a:t>
            </a:r>
            <a:endParaRPr lang="en-AU" b="0" dirty="0"/>
          </a:p>
        </p:txBody>
      </p:sp>
      <p:sp>
        <p:nvSpPr>
          <p:cNvPr id="4" name="Slide Number Placeholder 3">
            <a:extLst>
              <a:ext uri="{FF2B5EF4-FFF2-40B4-BE49-F238E27FC236}">
                <a16:creationId xmlns:a16="http://schemas.microsoft.com/office/drawing/2014/main" id="{01275858-1501-44F3-B5E3-F24097F0F591}"/>
              </a:ext>
            </a:extLst>
          </p:cNvPr>
          <p:cNvSpPr>
            <a:spLocks noGrp="1"/>
          </p:cNvSpPr>
          <p:nvPr>
            <p:ph type="sldNum" sz="quarter" idx="4"/>
          </p:nvPr>
        </p:nvSpPr>
        <p:spPr/>
        <p:txBody>
          <a:bodyPr/>
          <a:lstStyle/>
          <a:p>
            <a:fld id="{37F5C94B-8C55-478B-B509-BAE6A06B2E2A}" type="slidenum">
              <a:rPr lang="en-IN" smtClean="0"/>
              <a:pPr/>
              <a:t>44</a:t>
            </a:fld>
            <a:endParaRPr lang="en-IN" dirty="0"/>
          </a:p>
        </p:txBody>
      </p:sp>
      <p:sp>
        <p:nvSpPr>
          <p:cNvPr id="7" name="Rectangle: Rounded Corners 6">
            <a:hlinkClick r:id="rId3"/>
            <a:extLst>
              <a:ext uri="{FF2B5EF4-FFF2-40B4-BE49-F238E27FC236}">
                <a16:creationId xmlns:a16="http://schemas.microsoft.com/office/drawing/2014/main" id="{34408D4B-2DBA-45D0-9E35-C8280CE479B1}"/>
              </a:ext>
            </a:extLst>
          </p:cNvPr>
          <p:cNvSpPr/>
          <p:nvPr/>
        </p:nvSpPr>
        <p:spPr bwMode="auto">
          <a:xfrm>
            <a:off x="5335398" y="5348614"/>
            <a:ext cx="1585519" cy="216876"/>
          </a:xfrm>
          <a:prstGeom prst="roundRect">
            <a:avLst>
              <a:gd name="adj" fmla="val 29140"/>
            </a:avLst>
          </a:prstGeom>
          <a:solidFill>
            <a:srgbClr val="3EA9F5"/>
          </a:solidFill>
          <a:ln>
            <a:noFill/>
          </a:ln>
          <a:effectLst/>
        </p:spPr>
        <p:txBody>
          <a:bodyPr wrap="square" lIns="91428" tIns="10080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See more reviews &gt;</a:t>
            </a:r>
          </a:p>
        </p:txBody>
      </p:sp>
      <p:sp>
        <p:nvSpPr>
          <p:cNvPr id="3" name="Oval 2">
            <a:hlinkClick r:id="rId3"/>
            <a:extLst>
              <a:ext uri="{FF2B5EF4-FFF2-40B4-BE49-F238E27FC236}">
                <a16:creationId xmlns:a16="http://schemas.microsoft.com/office/drawing/2014/main" id="{E7801C33-1882-44AC-8209-E2ACFFBF177C}"/>
              </a:ext>
            </a:extLst>
          </p:cNvPr>
          <p:cNvSpPr/>
          <p:nvPr/>
        </p:nvSpPr>
        <p:spPr>
          <a:xfrm>
            <a:off x="10419046" y="3957144"/>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Oval 7">
            <a:hlinkClick r:id="rId3"/>
            <a:extLst>
              <a:ext uri="{FF2B5EF4-FFF2-40B4-BE49-F238E27FC236}">
                <a16:creationId xmlns:a16="http://schemas.microsoft.com/office/drawing/2014/main" id="{F65F7B22-3F2E-42E7-BE12-BCF3C4BCBF84}"/>
              </a:ext>
            </a:extLst>
          </p:cNvPr>
          <p:cNvSpPr/>
          <p:nvPr/>
        </p:nvSpPr>
        <p:spPr>
          <a:xfrm>
            <a:off x="1327557" y="3892492"/>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9266199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25" name="Rectangle 24">
            <a:extLst>
              <a:ext uri="{FF2B5EF4-FFF2-40B4-BE49-F238E27FC236}">
                <a16:creationId xmlns:a16="http://schemas.microsoft.com/office/drawing/2014/main" id="{86A71970-E46B-4358-8BCC-1715EFB36D64}"/>
              </a:ext>
            </a:extLst>
          </p:cNvPr>
          <p:cNvSpPr/>
          <p:nvPr/>
        </p:nvSpPr>
        <p:spPr>
          <a:xfrm>
            <a:off x="626919" y="1648544"/>
            <a:ext cx="7345409"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2221734C-F2C9-4C4F-AF07-9C7EB749C560}"/>
              </a:ext>
            </a:extLst>
          </p:cNvPr>
          <p:cNvSpPr/>
          <p:nvPr/>
        </p:nvSpPr>
        <p:spPr>
          <a:xfrm>
            <a:off x="8087873" y="1648544"/>
            <a:ext cx="3508381"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a:extLst>
              <a:ext uri="{FF2B5EF4-FFF2-40B4-BE49-F238E27FC236}">
                <a16:creationId xmlns:a16="http://schemas.microsoft.com/office/drawing/2014/main" id="{9890D867-710A-4021-80A0-9EDD68F8268E}"/>
              </a:ext>
            </a:extLst>
          </p:cNvPr>
          <p:cNvSpPr txBox="1"/>
          <p:nvPr/>
        </p:nvSpPr>
        <p:spPr>
          <a:xfrm>
            <a:off x="644717" y="1648544"/>
            <a:ext cx="7425359" cy="369332"/>
          </a:xfrm>
          <a:prstGeom prst="rect">
            <a:avLst/>
          </a:prstGeom>
          <a:noFill/>
        </p:spPr>
        <p:txBody>
          <a:bodyPr wrap="square" rtlCol="0">
            <a:spAutoFit/>
          </a:bodyPr>
          <a:lstStyle/>
          <a:p>
            <a:r>
              <a:rPr lang="en-US" dirty="0"/>
              <a:t>Trusted by small and large organizations</a:t>
            </a:r>
          </a:p>
        </p:txBody>
      </p:sp>
      <p:sp>
        <p:nvSpPr>
          <p:cNvPr id="34" name="TextBox 33">
            <a:extLst>
              <a:ext uri="{FF2B5EF4-FFF2-40B4-BE49-F238E27FC236}">
                <a16:creationId xmlns:a16="http://schemas.microsoft.com/office/drawing/2014/main" id="{D73AA7D2-25BB-4811-9D38-82BD21C8478B}"/>
              </a:ext>
            </a:extLst>
          </p:cNvPr>
          <p:cNvSpPr txBox="1"/>
          <p:nvPr/>
        </p:nvSpPr>
        <p:spPr>
          <a:xfrm>
            <a:off x="8064688" y="1648544"/>
            <a:ext cx="3623927" cy="369332"/>
          </a:xfrm>
          <a:prstGeom prst="rect">
            <a:avLst/>
          </a:prstGeom>
          <a:noFill/>
        </p:spPr>
        <p:txBody>
          <a:bodyPr wrap="square" rtlCol="0">
            <a:spAutoFit/>
          </a:bodyPr>
          <a:lstStyle/>
          <a:p>
            <a:r>
              <a:rPr lang="en-US" dirty="0"/>
              <a:t>Customer satisfaction</a:t>
            </a:r>
          </a:p>
        </p:txBody>
      </p:sp>
      <p:sp>
        <p:nvSpPr>
          <p:cNvPr id="37" name="Rectangle 36">
            <a:extLst>
              <a:ext uri="{FF2B5EF4-FFF2-40B4-BE49-F238E27FC236}">
                <a16:creationId xmlns:a16="http://schemas.microsoft.com/office/drawing/2014/main" id="{EF41B183-983A-424C-A811-31D7B9F3E067}"/>
              </a:ext>
            </a:extLst>
          </p:cNvPr>
          <p:cNvSpPr/>
          <p:nvPr/>
        </p:nvSpPr>
        <p:spPr>
          <a:xfrm>
            <a:off x="626919" y="2675070"/>
            <a:ext cx="7345409" cy="373326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TextBox 37">
            <a:extLst>
              <a:ext uri="{FF2B5EF4-FFF2-40B4-BE49-F238E27FC236}">
                <a16:creationId xmlns:a16="http://schemas.microsoft.com/office/drawing/2014/main" id="{A222A58B-1B90-4496-A948-F185A3E65D28}"/>
              </a:ext>
            </a:extLst>
          </p:cNvPr>
          <p:cNvSpPr txBox="1"/>
          <p:nvPr/>
        </p:nvSpPr>
        <p:spPr>
          <a:xfrm>
            <a:off x="644719" y="2709886"/>
            <a:ext cx="7327609" cy="1077218"/>
          </a:xfrm>
          <a:prstGeom prst="rect">
            <a:avLst/>
          </a:prstGeom>
          <a:noFill/>
        </p:spPr>
        <p:txBody>
          <a:bodyPr wrap="square" rtlCol="0">
            <a:spAutoFit/>
          </a:bodyPr>
          <a:lstStyle/>
          <a:p>
            <a:r>
              <a:rPr lang="en-US" dirty="0"/>
              <a:t>Number of countries leveraging our Business &amp; Consulting Toolkits</a:t>
            </a:r>
          </a:p>
          <a:p>
            <a:r>
              <a:rPr lang="en-US" sz="2800" dirty="0">
                <a:solidFill>
                  <a:srgbClr val="00B050"/>
                </a:solidFill>
              </a:rPr>
              <a:t>160+ </a:t>
            </a:r>
          </a:p>
          <a:p>
            <a:endParaRPr lang="en-US" dirty="0"/>
          </a:p>
        </p:txBody>
      </p:sp>
      <p:sp>
        <p:nvSpPr>
          <p:cNvPr id="39" name="Rectangle 38">
            <a:extLst>
              <a:ext uri="{FF2B5EF4-FFF2-40B4-BE49-F238E27FC236}">
                <a16:creationId xmlns:a16="http://schemas.microsoft.com/office/drawing/2014/main" id="{BDA9DBF3-656C-4C64-8120-5BCE657C516A}"/>
              </a:ext>
            </a:extLst>
          </p:cNvPr>
          <p:cNvSpPr/>
          <p:nvPr/>
        </p:nvSpPr>
        <p:spPr>
          <a:xfrm>
            <a:off x="8087873" y="2670574"/>
            <a:ext cx="3508381" cy="1588313"/>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TextBox 39">
            <a:extLst>
              <a:ext uri="{FF2B5EF4-FFF2-40B4-BE49-F238E27FC236}">
                <a16:creationId xmlns:a16="http://schemas.microsoft.com/office/drawing/2014/main" id="{573A5304-C348-4211-8C8D-05DBFC25C98C}"/>
              </a:ext>
            </a:extLst>
          </p:cNvPr>
          <p:cNvSpPr txBox="1"/>
          <p:nvPr/>
        </p:nvSpPr>
        <p:spPr>
          <a:xfrm>
            <a:off x="8064688" y="2669659"/>
            <a:ext cx="3602468" cy="1354217"/>
          </a:xfrm>
          <a:prstGeom prst="rect">
            <a:avLst/>
          </a:prstGeom>
          <a:noFill/>
        </p:spPr>
        <p:txBody>
          <a:bodyPr wrap="square" rtlCol="0">
            <a:spAutoFit/>
          </a:bodyPr>
          <a:lstStyle/>
          <a:p>
            <a:r>
              <a:rPr lang="en-US" dirty="0"/>
              <a:t>Number of professionals leveraging our Business &amp; Consulting Toolkits</a:t>
            </a:r>
          </a:p>
          <a:p>
            <a:r>
              <a:rPr lang="en-US" sz="2800" dirty="0">
                <a:solidFill>
                  <a:srgbClr val="00B050"/>
                </a:solidFill>
              </a:rPr>
              <a:t>200,000+</a:t>
            </a:r>
          </a:p>
        </p:txBody>
      </p:sp>
      <p:grpSp>
        <p:nvGrpSpPr>
          <p:cNvPr id="47" name="Group 5">
            <a:extLst>
              <a:ext uri="{FF2B5EF4-FFF2-40B4-BE49-F238E27FC236}">
                <a16:creationId xmlns:a16="http://schemas.microsoft.com/office/drawing/2014/main" id="{D5D4B5DC-3DE6-4CEF-A50A-EB4214B0D845}"/>
              </a:ext>
            </a:extLst>
          </p:cNvPr>
          <p:cNvGrpSpPr>
            <a:grpSpLocks/>
          </p:cNvGrpSpPr>
          <p:nvPr/>
        </p:nvGrpSpPr>
        <p:grpSpPr bwMode="auto">
          <a:xfrm>
            <a:off x="5632861" y="5262112"/>
            <a:ext cx="297844" cy="94643"/>
            <a:chOff x="4449" y="3335"/>
            <a:chExt cx="260" cy="83"/>
          </a:xfrm>
          <a:solidFill>
            <a:srgbClr val="00B050"/>
          </a:solidFill>
        </p:grpSpPr>
        <p:sp>
          <p:nvSpPr>
            <p:cNvPr id="314" name="Freeform 6">
              <a:extLst>
                <a:ext uri="{FF2B5EF4-FFF2-40B4-BE49-F238E27FC236}">
                  <a16:creationId xmlns:a16="http://schemas.microsoft.com/office/drawing/2014/main" id="{BF8DA816-36D4-4CB3-83E0-182B4D82AA35}"/>
                </a:ext>
              </a:extLst>
            </p:cNvPr>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5" name="Freeform 7">
              <a:extLst>
                <a:ext uri="{FF2B5EF4-FFF2-40B4-BE49-F238E27FC236}">
                  <a16:creationId xmlns:a16="http://schemas.microsoft.com/office/drawing/2014/main" id="{4BF65DA2-D11A-4E7E-AFC8-ABE0DD43E994}"/>
                </a:ext>
              </a:extLst>
            </p:cNvPr>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8" name="Group 8">
            <a:extLst>
              <a:ext uri="{FF2B5EF4-FFF2-40B4-BE49-F238E27FC236}">
                <a16:creationId xmlns:a16="http://schemas.microsoft.com/office/drawing/2014/main" id="{8B8C279D-E2F4-4798-8175-CEB06BFC314D}"/>
              </a:ext>
            </a:extLst>
          </p:cNvPr>
          <p:cNvGrpSpPr>
            <a:grpSpLocks/>
          </p:cNvGrpSpPr>
          <p:nvPr/>
        </p:nvGrpSpPr>
        <p:grpSpPr bwMode="auto">
          <a:xfrm>
            <a:off x="5553971" y="5285096"/>
            <a:ext cx="719784" cy="239315"/>
            <a:chOff x="4380" y="3353"/>
            <a:chExt cx="629" cy="218"/>
          </a:xfrm>
          <a:solidFill>
            <a:srgbClr val="00B050"/>
          </a:solidFill>
        </p:grpSpPr>
        <p:sp>
          <p:nvSpPr>
            <p:cNvPr id="304" name="Freeform 9">
              <a:extLst>
                <a:ext uri="{FF2B5EF4-FFF2-40B4-BE49-F238E27FC236}">
                  <a16:creationId xmlns:a16="http://schemas.microsoft.com/office/drawing/2014/main" id="{462EA357-C5B7-44F6-8117-D3DB0A519ECA}"/>
                </a:ext>
              </a:extLst>
            </p:cNvPr>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5" name="Freeform 10">
              <a:extLst>
                <a:ext uri="{FF2B5EF4-FFF2-40B4-BE49-F238E27FC236}">
                  <a16:creationId xmlns:a16="http://schemas.microsoft.com/office/drawing/2014/main" id="{098AFEE8-22B5-4E43-B129-CE9960213C1B}"/>
                </a:ext>
              </a:extLst>
            </p:cNvPr>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6" name="Freeform 11">
              <a:extLst>
                <a:ext uri="{FF2B5EF4-FFF2-40B4-BE49-F238E27FC236}">
                  <a16:creationId xmlns:a16="http://schemas.microsoft.com/office/drawing/2014/main" id="{3E5EA9B4-DB9C-405D-9FD4-7F1D0CA83BC1}"/>
                </a:ext>
              </a:extLst>
            </p:cNvPr>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7" name="Freeform 12">
              <a:extLst>
                <a:ext uri="{FF2B5EF4-FFF2-40B4-BE49-F238E27FC236}">
                  <a16:creationId xmlns:a16="http://schemas.microsoft.com/office/drawing/2014/main" id="{11F8D39E-1E72-4276-B038-5D7B3890BF3C}"/>
                </a:ext>
              </a:extLst>
            </p:cNvPr>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8" name="Freeform 13">
              <a:extLst>
                <a:ext uri="{FF2B5EF4-FFF2-40B4-BE49-F238E27FC236}">
                  <a16:creationId xmlns:a16="http://schemas.microsoft.com/office/drawing/2014/main" id="{C5FE9365-E531-4365-BF20-9C387F8AC370}"/>
                </a:ext>
              </a:extLst>
            </p:cNvPr>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9" name="Freeform 14">
              <a:extLst>
                <a:ext uri="{FF2B5EF4-FFF2-40B4-BE49-F238E27FC236}">
                  <a16:creationId xmlns:a16="http://schemas.microsoft.com/office/drawing/2014/main" id="{C6CFEC23-FB1C-422C-8850-A9DF28DD29A1}"/>
                </a:ext>
              </a:extLst>
            </p:cNvPr>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0" name="Freeform 15">
              <a:extLst>
                <a:ext uri="{FF2B5EF4-FFF2-40B4-BE49-F238E27FC236}">
                  <a16:creationId xmlns:a16="http://schemas.microsoft.com/office/drawing/2014/main" id="{9865E04F-27B7-4A50-AB15-D3AFFB9DDCD2}"/>
                </a:ext>
              </a:extLst>
            </p:cNvPr>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1" name="Freeform 16">
              <a:extLst>
                <a:ext uri="{FF2B5EF4-FFF2-40B4-BE49-F238E27FC236}">
                  <a16:creationId xmlns:a16="http://schemas.microsoft.com/office/drawing/2014/main" id="{12BC7B78-F9A4-46AE-9A03-75599873A321}"/>
                </a:ext>
              </a:extLst>
            </p:cNvPr>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2" name="Freeform 17">
              <a:extLst>
                <a:ext uri="{FF2B5EF4-FFF2-40B4-BE49-F238E27FC236}">
                  <a16:creationId xmlns:a16="http://schemas.microsoft.com/office/drawing/2014/main" id="{2D61C530-0987-4150-BD04-B19B59069CD4}"/>
                </a:ext>
              </a:extLst>
            </p:cNvPr>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3" name="Freeform 18">
              <a:extLst>
                <a:ext uri="{FF2B5EF4-FFF2-40B4-BE49-F238E27FC236}">
                  <a16:creationId xmlns:a16="http://schemas.microsoft.com/office/drawing/2014/main" id="{07423ACC-5271-41F0-A4B3-F19E45B9E606}"/>
                </a:ext>
              </a:extLst>
            </p:cNvPr>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49" name="Freeform 599">
            <a:extLst>
              <a:ext uri="{FF2B5EF4-FFF2-40B4-BE49-F238E27FC236}">
                <a16:creationId xmlns:a16="http://schemas.microsoft.com/office/drawing/2014/main" id="{98BBAC1A-48C3-457C-83C0-ADBB10236A62}"/>
              </a:ext>
            </a:extLst>
          </p:cNvPr>
          <p:cNvSpPr>
            <a:spLocks/>
          </p:cNvSpPr>
          <p:nvPr/>
        </p:nvSpPr>
        <p:spPr bwMode="auto">
          <a:xfrm>
            <a:off x="5009405" y="4759147"/>
            <a:ext cx="223381" cy="154135"/>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0" name="Group 20">
            <a:extLst>
              <a:ext uri="{FF2B5EF4-FFF2-40B4-BE49-F238E27FC236}">
                <a16:creationId xmlns:a16="http://schemas.microsoft.com/office/drawing/2014/main" id="{AFEC8AB4-05F2-43B8-8A6C-7730F04CFC06}"/>
              </a:ext>
            </a:extLst>
          </p:cNvPr>
          <p:cNvGrpSpPr>
            <a:grpSpLocks/>
          </p:cNvGrpSpPr>
          <p:nvPr/>
        </p:nvGrpSpPr>
        <p:grpSpPr bwMode="auto">
          <a:xfrm>
            <a:off x="5831392" y="5531178"/>
            <a:ext cx="635106" cy="539472"/>
            <a:chOff x="4623" y="3575"/>
            <a:chExt cx="552" cy="485"/>
          </a:xfrm>
          <a:solidFill>
            <a:srgbClr val="00B050"/>
          </a:solidFill>
        </p:grpSpPr>
        <p:sp>
          <p:nvSpPr>
            <p:cNvPr id="302" name="Freeform 610">
              <a:extLst>
                <a:ext uri="{FF2B5EF4-FFF2-40B4-BE49-F238E27FC236}">
                  <a16:creationId xmlns:a16="http://schemas.microsoft.com/office/drawing/2014/main" id="{06E97FF2-37BE-4107-8DF4-06835090D059}"/>
                </a:ext>
              </a:extLst>
            </p:cNvPr>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3" name="Freeform 611">
              <a:extLst>
                <a:ext uri="{FF2B5EF4-FFF2-40B4-BE49-F238E27FC236}">
                  <a16:creationId xmlns:a16="http://schemas.microsoft.com/office/drawing/2014/main" id="{119917EB-FAF9-4A69-9834-DE5882545533}"/>
                </a:ext>
              </a:extLst>
            </p:cNvPr>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1" name="Freeform 612">
            <a:extLst>
              <a:ext uri="{FF2B5EF4-FFF2-40B4-BE49-F238E27FC236}">
                <a16:creationId xmlns:a16="http://schemas.microsoft.com/office/drawing/2014/main" id="{9A288DA3-6576-4034-9768-3D54DD56A2F8}"/>
              </a:ext>
            </a:extLst>
          </p:cNvPr>
          <p:cNvSpPr>
            <a:spLocks/>
          </p:cNvSpPr>
          <p:nvPr/>
        </p:nvSpPr>
        <p:spPr bwMode="auto">
          <a:xfrm>
            <a:off x="5437188" y="4959251"/>
            <a:ext cx="75921" cy="91940"/>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2" name="Freeform 613">
            <a:extLst>
              <a:ext uri="{FF2B5EF4-FFF2-40B4-BE49-F238E27FC236}">
                <a16:creationId xmlns:a16="http://schemas.microsoft.com/office/drawing/2014/main" id="{2C0ABCF5-75CC-4F90-A550-A281E4369D32}"/>
              </a:ext>
            </a:extLst>
          </p:cNvPr>
          <p:cNvSpPr>
            <a:spLocks/>
          </p:cNvSpPr>
          <p:nvPr/>
        </p:nvSpPr>
        <p:spPr bwMode="auto">
          <a:xfrm>
            <a:off x="5453249" y="4930858"/>
            <a:ext cx="46720" cy="28393"/>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3" name="Freeform 614">
            <a:extLst>
              <a:ext uri="{FF2B5EF4-FFF2-40B4-BE49-F238E27FC236}">
                <a16:creationId xmlns:a16="http://schemas.microsoft.com/office/drawing/2014/main" id="{A35E12DA-6263-428E-ACD5-29E12DA389BF}"/>
              </a:ext>
            </a:extLst>
          </p:cNvPr>
          <p:cNvSpPr>
            <a:spLocks/>
          </p:cNvSpPr>
          <p:nvPr/>
        </p:nvSpPr>
        <p:spPr bwMode="auto">
          <a:xfrm>
            <a:off x="5845992" y="5293208"/>
            <a:ext cx="20440" cy="16225"/>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4" name="Freeform 615">
            <a:extLst>
              <a:ext uri="{FF2B5EF4-FFF2-40B4-BE49-F238E27FC236}">
                <a16:creationId xmlns:a16="http://schemas.microsoft.com/office/drawing/2014/main" id="{CAAD048A-B585-48D8-9EFF-61437A944C8C}"/>
              </a:ext>
            </a:extLst>
          </p:cNvPr>
          <p:cNvSpPr>
            <a:spLocks/>
          </p:cNvSpPr>
          <p:nvPr/>
        </p:nvSpPr>
        <p:spPr bwMode="auto">
          <a:xfrm>
            <a:off x="5504348" y="4932210"/>
            <a:ext cx="141621" cy="285283"/>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5" name="Freeform 616">
            <a:extLst>
              <a:ext uri="{FF2B5EF4-FFF2-40B4-BE49-F238E27FC236}">
                <a16:creationId xmlns:a16="http://schemas.microsoft.com/office/drawing/2014/main" id="{1C35F4BA-69DA-4CED-8ABA-DCEFCBF67578}"/>
              </a:ext>
            </a:extLst>
          </p:cNvPr>
          <p:cNvSpPr>
            <a:spLocks/>
          </p:cNvSpPr>
          <p:nvPr/>
        </p:nvSpPr>
        <p:spPr bwMode="auto">
          <a:xfrm>
            <a:off x="5664950" y="5148539"/>
            <a:ext cx="80301" cy="62194"/>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6" name="Freeform 617">
            <a:extLst>
              <a:ext uri="{FF2B5EF4-FFF2-40B4-BE49-F238E27FC236}">
                <a16:creationId xmlns:a16="http://schemas.microsoft.com/office/drawing/2014/main" id="{32D9D994-5044-4621-9BA8-ADC26A400533}"/>
              </a:ext>
            </a:extLst>
          </p:cNvPr>
          <p:cNvSpPr>
            <a:spLocks/>
          </p:cNvSpPr>
          <p:nvPr/>
        </p:nvSpPr>
        <p:spPr bwMode="auto">
          <a:xfrm>
            <a:off x="5311627" y="5221549"/>
            <a:ext cx="29201" cy="55434"/>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7" name="Group 29">
            <a:extLst>
              <a:ext uri="{FF2B5EF4-FFF2-40B4-BE49-F238E27FC236}">
                <a16:creationId xmlns:a16="http://schemas.microsoft.com/office/drawing/2014/main" id="{012B866A-76DE-480D-B8A6-60E2A070C914}"/>
              </a:ext>
            </a:extLst>
          </p:cNvPr>
          <p:cNvGrpSpPr>
            <a:grpSpLocks/>
          </p:cNvGrpSpPr>
          <p:nvPr/>
        </p:nvGrpSpPr>
        <p:grpSpPr bwMode="auto">
          <a:xfrm>
            <a:off x="5215267" y="4473859"/>
            <a:ext cx="957768" cy="619241"/>
            <a:chOff x="4086" y="2626"/>
            <a:chExt cx="835" cy="555"/>
          </a:xfrm>
          <a:solidFill>
            <a:srgbClr val="00B050"/>
          </a:solidFill>
        </p:grpSpPr>
        <p:sp>
          <p:nvSpPr>
            <p:cNvPr id="300" name="Freeform 30">
              <a:extLst>
                <a:ext uri="{FF2B5EF4-FFF2-40B4-BE49-F238E27FC236}">
                  <a16:creationId xmlns:a16="http://schemas.microsoft.com/office/drawing/2014/main" id="{61E8DEAF-BF42-4784-BF39-C0F679BA7A86}"/>
                </a:ext>
              </a:extLst>
            </p:cNvPr>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1" name="Freeform 31">
              <a:extLst>
                <a:ext uri="{FF2B5EF4-FFF2-40B4-BE49-F238E27FC236}">
                  <a16:creationId xmlns:a16="http://schemas.microsoft.com/office/drawing/2014/main" id="{A5A442D7-7A6D-433C-9527-B7571BBCA649}"/>
                </a:ext>
              </a:extLst>
            </p:cNvPr>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8" name="Freeform 621">
            <a:extLst>
              <a:ext uri="{FF2B5EF4-FFF2-40B4-BE49-F238E27FC236}">
                <a16:creationId xmlns:a16="http://schemas.microsoft.com/office/drawing/2014/main" id="{F68A2200-BED7-4D8E-9475-717F0757443E}"/>
              </a:ext>
            </a:extLst>
          </p:cNvPr>
          <p:cNvSpPr>
            <a:spLocks/>
          </p:cNvSpPr>
          <p:nvPr/>
        </p:nvSpPr>
        <p:spPr bwMode="auto">
          <a:xfrm>
            <a:off x="5940893" y="4984939"/>
            <a:ext cx="30660" cy="50027"/>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9" name="Freeform 622">
            <a:extLst>
              <a:ext uri="{FF2B5EF4-FFF2-40B4-BE49-F238E27FC236}">
                <a16:creationId xmlns:a16="http://schemas.microsoft.com/office/drawing/2014/main" id="{B3613336-86C9-401F-B78E-9D46A34B7C80}"/>
              </a:ext>
            </a:extLst>
          </p:cNvPr>
          <p:cNvSpPr>
            <a:spLocks/>
          </p:cNvSpPr>
          <p:nvPr/>
        </p:nvSpPr>
        <p:spPr bwMode="auto">
          <a:xfrm>
            <a:off x="5127665" y="4802412"/>
            <a:ext cx="458443" cy="444826"/>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0" name="Freeform 623">
            <a:extLst>
              <a:ext uri="{FF2B5EF4-FFF2-40B4-BE49-F238E27FC236}">
                <a16:creationId xmlns:a16="http://schemas.microsoft.com/office/drawing/2014/main" id="{B85D8F1C-56D7-4360-927B-5B7067E9BFF5}"/>
              </a:ext>
            </a:extLst>
          </p:cNvPr>
          <p:cNvSpPr>
            <a:spLocks/>
          </p:cNvSpPr>
          <p:nvPr/>
        </p:nvSpPr>
        <p:spPr bwMode="auto">
          <a:xfrm>
            <a:off x="4752443" y="4733457"/>
            <a:ext cx="300763" cy="251482"/>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1" name="Group 35">
            <a:extLst>
              <a:ext uri="{FF2B5EF4-FFF2-40B4-BE49-F238E27FC236}">
                <a16:creationId xmlns:a16="http://schemas.microsoft.com/office/drawing/2014/main" id="{3284F7B8-57FE-4081-8B8F-001F664C8474}"/>
              </a:ext>
            </a:extLst>
          </p:cNvPr>
          <p:cNvGrpSpPr>
            <a:grpSpLocks/>
          </p:cNvGrpSpPr>
          <p:nvPr/>
        </p:nvGrpSpPr>
        <p:grpSpPr bwMode="auto">
          <a:xfrm>
            <a:off x="6091274" y="4633384"/>
            <a:ext cx="254042" cy="248777"/>
            <a:chOff x="4850" y="2769"/>
            <a:chExt cx="221" cy="223"/>
          </a:xfrm>
          <a:solidFill>
            <a:srgbClr val="00B050"/>
          </a:solidFill>
        </p:grpSpPr>
        <p:sp>
          <p:nvSpPr>
            <p:cNvPr id="296" name="Freeform 625">
              <a:extLst>
                <a:ext uri="{FF2B5EF4-FFF2-40B4-BE49-F238E27FC236}">
                  <a16:creationId xmlns:a16="http://schemas.microsoft.com/office/drawing/2014/main" id="{E616D42A-88D3-4AFA-B922-1A7BE1904149}"/>
                </a:ext>
              </a:extLst>
            </p:cNvPr>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7" name="Freeform 626">
              <a:extLst>
                <a:ext uri="{FF2B5EF4-FFF2-40B4-BE49-F238E27FC236}">
                  <a16:creationId xmlns:a16="http://schemas.microsoft.com/office/drawing/2014/main" id="{D168F5C9-5033-4E6F-B8D5-D77E4D9D65CA}"/>
                </a:ext>
              </a:extLst>
            </p:cNvPr>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8" name="Freeform 627">
              <a:extLst>
                <a:ext uri="{FF2B5EF4-FFF2-40B4-BE49-F238E27FC236}">
                  <a16:creationId xmlns:a16="http://schemas.microsoft.com/office/drawing/2014/main" id="{065D8614-4825-4AE2-A869-FCEDF9F80387}"/>
                </a:ext>
              </a:extLst>
            </p:cNvPr>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9" name="Freeform 628">
              <a:extLst>
                <a:ext uri="{FF2B5EF4-FFF2-40B4-BE49-F238E27FC236}">
                  <a16:creationId xmlns:a16="http://schemas.microsoft.com/office/drawing/2014/main" id="{4C7AB524-CCE6-49F7-8D9F-30746B9B9D62}"/>
                </a:ext>
              </a:extLst>
            </p:cNvPr>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2" name="Freeform 629">
            <a:extLst>
              <a:ext uri="{FF2B5EF4-FFF2-40B4-BE49-F238E27FC236}">
                <a16:creationId xmlns:a16="http://schemas.microsoft.com/office/drawing/2014/main" id="{72EBD9EE-39F0-4737-B62A-C4E42C1C0F95}"/>
              </a:ext>
            </a:extLst>
          </p:cNvPr>
          <p:cNvSpPr>
            <a:spLocks/>
          </p:cNvSpPr>
          <p:nvPr/>
        </p:nvSpPr>
        <p:spPr bwMode="auto">
          <a:xfrm>
            <a:off x="6008053" y="4680727"/>
            <a:ext cx="100740" cy="94643"/>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3" name="Freeform 630">
            <a:extLst>
              <a:ext uri="{FF2B5EF4-FFF2-40B4-BE49-F238E27FC236}">
                <a16:creationId xmlns:a16="http://schemas.microsoft.com/office/drawing/2014/main" id="{6A1D4621-CB0F-4600-999E-383FB5B7772B}"/>
              </a:ext>
            </a:extLst>
          </p:cNvPr>
          <p:cNvSpPr>
            <a:spLocks/>
          </p:cNvSpPr>
          <p:nvPr/>
        </p:nvSpPr>
        <p:spPr bwMode="auto">
          <a:xfrm>
            <a:off x="6038713" y="4759147"/>
            <a:ext cx="52561" cy="73011"/>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4" name="Freeform 631">
            <a:extLst>
              <a:ext uri="{FF2B5EF4-FFF2-40B4-BE49-F238E27FC236}">
                <a16:creationId xmlns:a16="http://schemas.microsoft.com/office/drawing/2014/main" id="{45496A84-1710-4A3D-B2FE-F670417245AD}"/>
              </a:ext>
            </a:extLst>
          </p:cNvPr>
          <p:cNvSpPr>
            <a:spLocks/>
          </p:cNvSpPr>
          <p:nvPr/>
        </p:nvSpPr>
        <p:spPr bwMode="auto">
          <a:xfrm>
            <a:off x="5631371" y="5025501"/>
            <a:ext cx="112420" cy="127093"/>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5" name="Group 43">
            <a:extLst>
              <a:ext uri="{FF2B5EF4-FFF2-40B4-BE49-F238E27FC236}">
                <a16:creationId xmlns:a16="http://schemas.microsoft.com/office/drawing/2014/main" id="{F77E394B-8C62-4B0F-B274-008D38043D9A}"/>
              </a:ext>
            </a:extLst>
          </p:cNvPr>
          <p:cNvGrpSpPr>
            <a:grpSpLocks/>
          </p:cNvGrpSpPr>
          <p:nvPr/>
        </p:nvGrpSpPr>
        <p:grpSpPr bwMode="auto">
          <a:xfrm>
            <a:off x="1855776" y="3676147"/>
            <a:ext cx="1384088" cy="1023508"/>
            <a:chOff x="1156" y="1908"/>
            <a:chExt cx="1207" cy="919"/>
          </a:xfrm>
          <a:solidFill>
            <a:srgbClr val="00B050"/>
          </a:solidFill>
        </p:grpSpPr>
        <p:sp>
          <p:nvSpPr>
            <p:cNvPr id="277" name="Freeform 633">
              <a:extLst>
                <a:ext uri="{FF2B5EF4-FFF2-40B4-BE49-F238E27FC236}">
                  <a16:creationId xmlns:a16="http://schemas.microsoft.com/office/drawing/2014/main" id="{A8A5EE46-DA47-48F6-864D-98B8159A52FC}"/>
                </a:ext>
              </a:extLst>
            </p:cNvPr>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8" name="Freeform 45">
              <a:extLst>
                <a:ext uri="{FF2B5EF4-FFF2-40B4-BE49-F238E27FC236}">
                  <a16:creationId xmlns:a16="http://schemas.microsoft.com/office/drawing/2014/main" id="{76BA38E6-1527-4FB9-80F3-E9B24A94F66A}"/>
                </a:ext>
              </a:extLst>
            </p:cNvPr>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9" name="Freeform 635">
              <a:extLst>
                <a:ext uri="{FF2B5EF4-FFF2-40B4-BE49-F238E27FC236}">
                  <a16:creationId xmlns:a16="http://schemas.microsoft.com/office/drawing/2014/main" id="{F381E2CA-1129-48CE-9073-C55B7F5C8268}"/>
                </a:ext>
              </a:extLst>
            </p:cNvPr>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0" name="Freeform 636">
              <a:extLst>
                <a:ext uri="{FF2B5EF4-FFF2-40B4-BE49-F238E27FC236}">
                  <a16:creationId xmlns:a16="http://schemas.microsoft.com/office/drawing/2014/main" id="{2DB5D79A-F4D8-46D6-96C8-80E274FB4212}"/>
                </a:ext>
              </a:extLst>
            </p:cNvPr>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1" name="Freeform 637">
              <a:extLst>
                <a:ext uri="{FF2B5EF4-FFF2-40B4-BE49-F238E27FC236}">
                  <a16:creationId xmlns:a16="http://schemas.microsoft.com/office/drawing/2014/main" id="{A0DCC7A6-7BB9-4CA5-844A-ACA59AF55E84}"/>
                </a:ext>
              </a:extLst>
            </p:cNvPr>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2" name="Freeform 638">
              <a:extLst>
                <a:ext uri="{FF2B5EF4-FFF2-40B4-BE49-F238E27FC236}">
                  <a16:creationId xmlns:a16="http://schemas.microsoft.com/office/drawing/2014/main" id="{07D96F2F-FF99-4C3A-A04F-FF217CFF8FB5}"/>
                </a:ext>
              </a:extLst>
            </p:cNvPr>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3" name="Freeform 639">
              <a:extLst>
                <a:ext uri="{FF2B5EF4-FFF2-40B4-BE49-F238E27FC236}">
                  <a16:creationId xmlns:a16="http://schemas.microsoft.com/office/drawing/2014/main" id="{D60A68F1-1B93-4388-871C-FEC438998E4C}"/>
                </a:ext>
              </a:extLst>
            </p:cNvPr>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4" name="Freeform 640">
              <a:extLst>
                <a:ext uri="{FF2B5EF4-FFF2-40B4-BE49-F238E27FC236}">
                  <a16:creationId xmlns:a16="http://schemas.microsoft.com/office/drawing/2014/main" id="{4887EB1B-0474-493C-B8FC-9AFF74407019}"/>
                </a:ext>
              </a:extLst>
            </p:cNvPr>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5" name="Freeform 641">
              <a:extLst>
                <a:ext uri="{FF2B5EF4-FFF2-40B4-BE49-F238E27FC236}">
                  <a16:creationId xmlns:a16="http://schemas.microsoft.com/office/drawing/2014/main" id="{29C4ADEA-05C2-47D4-8A91-E4DF7FCB00DA}"/>
                </a:ext>
              </a:extLst>
            </p:cNvPr>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6" name="Freeform 642">
              <a:extLst>
                <a:ext uri="{FF2B5EF4-FFF2-40B4-BE49-F238E27FC236}">
                  <a16:creationId xmlns:a16="http://schemas.microsoft.com/office/drawing/2014/main" id="{FEEA61E1-3107-42E6-A4FE-66C4C48E7580}"/>
                </a:ext>
              </a:extLst>
            </p:cNvPr>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7" name="Freeform 643">
              <a:extLst>
                <a:ext uri="{FF2B5EF4-FFF2-40B4-BE49-F238E27FC236}">
                  <a16:creationId xmlns:a16="http://schemas.microsoft.com/office/drawing/2014/main" id="{08D5FF95-9C8B-4A2E-90AA-F4543DAD75D6}"/>
                </a:ext>
              </a:extLst>
            </p:cNvPr>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8" name="Freeform 644">
              <a:extLst>
                <a:ext uri="{FF2B5EF4-FFF2-40B4-BE49-F238E27FC236}">
                  <a16:creationId xmlns:a16="http://schemas.microsoft.com/office/drawing/2014/main" id="{452598D8-71D0-4298-B70D-98F0F0DA7BA4}"/>
                </a:ext>
              </a:extLst>
            </p:cNvPr>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9" name="Freeform 645">
              <a:extLst>
                <a:ext uri="{FF2B5EF4-FFF2-40B4-BE49-F238E27FC236}">
                  <a16:creationId xmlns:a16="http://schemas.microsoft.com/office/drawing/2014/main" id="{AFB61959-8813-4625-8709-EEFA33F4EC0C}"/>
                </a:ext>
              </a:extLst>
            </p:cNvPr>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0" name="Freeform 646">
              <a:extLst>
                <a:ext uri="{FF2B5EF4-FFF2-40B4-BE49-F238E27FC236}">
                  <a16:creationId xmlns:a16="http://schemas.microsoft.com/office/drawing/2014/main" id="{A79D43BA-E0DC-4B23-8D69-7E0A9859E876}"/>
                </a:ext>
              </a:extLst>
            </p:cNvPr>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1" name="Freeform 647">
              <a:extLst>
                <a:ext uri="{FF2B5EF4-FFF2-40B4-BE49-F238E27FC236}">
                  <a16:creationId xmlns:a16="http://schemas.microsoft.com/office/drawing/2014/main" id="{5CE3C608-4B79-45E1-96E9-1D3DB4FF8383}"/>
                </a:ext>
              </a:extLst>
            </p:cNvPr>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2" name="Freeform 59">
              <a:extLst>
                <a:ext uri="{FF2B5EF4-FFF2-40B4-BE49-F238E27FC236}">
                  <a16:creationId xmlns:a16="http://schemas.microsoft.com/office/drawing/2014/main" id="{FC1B405A-ED9D-4380-ABC7-B538AE14E53B}"/>
                </a:ext>
              </a:extLst>
            </p:cNvPr>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3" name="Freeform 649">
              <a:extLst>
                <a:ext uri="{FF2B5EF4-FFF2-40B4-BE49-F238E27FC236}">
                  <a16:creationId xmlns:a16="http://schemas.microsoft.com/office/drawing/2014/main" id="{EF082037-E064-42AF-98F0-9FE133DC1D09}"/>
                </a:ext>
              </a:extLst>
            </p:cNvPr>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4" name="Freeform 650">
              <a:extLst>
                <a:ext uri="{FF2B5EF4-FFF2-40B4-BE49-F238E27FC236}">
                  <a16:creationId xmlns:a16="http://schemas.microsoft.com/office/drawing/2014/main" id="{98B4C2FA-6767-429D-A4F4-A6C69BD8FB7F}"/>
                </a:ext>
              </a:extLst>
            </p:cNvPr>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5" name="Freeform 651">
              <a:extLst>
                <a:ext uri="{FF2B5EF4-FFF2-40B4-BE49-F238E27FC236}">
                  <a16:creationId xmlns:a16="http://schemas.microsoft.com/office/drawing/2014/main" id="{A1A87950-40EA-4DE8-8CE6-D33F454687B7}"/>
                </a:ext>
              </a:extLst>
            </p:cNvPr>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6" name="Freeform 652">
            <a:extLst>
              <a:ext uri="{FF2B5EF4-FFF2-40B4-BE49-F238E27FC236}">
                <a16:creationId xmlns:a16="http://schemas.microsoft.com/office/drawing/2014/main" id="{90B134E2-230D-4E83-9B2B-2B5C0A7635AE}"/>
              </a:ext>
            </a:extLst>
          </p:cNvPr>
          <p:cNvSpPr>
            <a:spLocks/>
          </p:cNvSpPr>
          <p:nvPr/>
        </p:nvSpPr>
        <p:spPr bwMode="auto">
          <a:xfrm>
            <a:off x="2920127" y="3659924"/>
            <a:ext cx="950468" cy="673324"/>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7" name="Freeform 653">
            <a:extLst>
              <a:ext uri="{FF2B5EF4-FFF2-40B4-BE49-F238E27FC236}">
                <a16:creationId xmlns:a16="http://schemas.microsoft.com/office/drawing/2014/main" id="{42F516B0-83CB-401D-9D4F-5EFC00BB80FF}"/>
              </a:ext>
            </a:extLst>
          </p:cNvPr>
          <p:cNvSpPr>
            <a:spLocks/>
          </p:cNvSpPr>
          <p:nvPr/>
        </p:nvSpPr>
        <p:spPr bwMode="auto">
          <a:xfrm>
            <a:off x="3679334" y="4181819"/>
            <a:ext cx="173742" cy="77068"/>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8" name="Freeform 654">
            <a:extLst>
              <a:ext uri="{FF2B5EF4-FFF2-40B4-BE49-F238E27FC236}">
                <a16:creationId xmlns:a16="http://schemas.microsoft.com/office/drawing/2014/main" id="{AEDBB3BA-B9B5-4529-80D6-07A47E3580D4}"/>
              </a:ext>
            </a:extLst>
          </p:cNvPr>
          <p:cNvSpPr>
            <a:spLocks/>
          </p:cNvSpPr>
          <p:nvPr/>
        </p:nvSpPr>
        <p:spPr bwMode="auto">
          <a:xfrm>
            <a:off x="2229542" y="4859199"/>
            <a:ext cx="474503" cy="289340"/>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9" name="Freeform 655">
            <a:extLst>
              <a:ext uri="{FF2B5EF4-FFF2-40B4-BE49-F238E27FC236}">
                <a16:creationId xmlns:a16="http://schemas.microsoft.com/office/drawing/2014/main" id="{103CE0F2-1959-4FB4-9DEB-710314E74D8F}"/>
              </a:ext>
            </a:extLst>
          </p:cNvPr>
          <p:cNvSpPr>
            <a:spLocks/>
          </p:cNvSpPr>
          <p:nvPr/>
        </p:nvSpPr>
        <p:spPr bwMode="auto">
          <a:xfrm>
            <a:off x="5435729" y="4464485"/>
            <a:ext cx="497864" cy="276999"/>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70" name="Freeform 656">
            <a:extLst>
              <a:ext uri="{FF2B5EF4-FFF2-40B4-BE49-F238E27FC236}">
                <a16:creationId xmlns:a16="http://schemas.microsoft.com/office/drawing/2014/main" id="{4F08ECD2-B0A3-418F-849F-235D1C7B0112}"/>
              </a:ext>
            </a:extLst>
          </p:cNvPr>
          <p:cNvSpPr>
            <a:spLocks/>
          </p:cNvSpPr>
          <p:nvPr/>
        </p:nvSpPr>
        <p:spPr bwMode="auto">
          <a:xfrm>
            <a:off x="4876544" y="4986293"/>
            <a:ext cx="116801" cy="132501"/>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1" name="Freeform 657">
            <a:extLst>
              <a:ext uri="{FF2B5EF4-FFF2-40B4-BE49-F238E27FC236}">
                <a16:creationId xmlns:a16="http://schemas.microsoft.com/office/drawing/2014/main" id="{5E649382-9C23-4795-BBF9-46D64A38F33F}"/>
              </a:ext>
            </a:extLst>
          </p:cNvPr>
          <p:cNvSpPr>
            <a:spLocks/>
          </p:cNvSpPr>
          <p:nvPr/>
        </p:nvSpPr>
        <p:spPr bwMode="auto">
          <a:xfrm>
            <a:off x="5314547" y="4898408"/>
            <a:ext cx="127022" cy="64899"/>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2" name="Group 69">
            <a:extLst>
              <a:ext uri="{FF2B5EF4-FFF2-40B4-BE49-F238E27FC236}">
                <a16:creationId xmlns:a16="http://schemas.microsoft.com/office/drawing/2014/main" id="{A36B7DC4-1B53-4416-8305-AD78F046273A}"/>
              </a:ext>
            </a:extLst>
          </p:cNvPr>
          <p:cNvGrpSpPr>
            <a:grpSpLocks/>
          </p:cNvGrpSpPr>
          <p:nvPr/>
        </p:nvGrpSpPr>
        <p:grpSpPr bwMode="auto">
          <a:xfrm>
            <a:off x="6666457" y="5909764"/>
            <a:ext cx="186879" cy="219035"/>
            <a:chOff x="5352" y="3915"/>
            <a:chExt cx="163" cy="197"/>
          </a:xfrm>
          <a:solidFill>
            <a:srgbClr val="00B050"/>
          </a:solidFill>
        </p:grpSpPr>
        <p:sp>
          <p:nvSpPr>
            <p:cNvPr id="275" name="Freeform 659">
              <a:extLst>
                <a:ext uri="{FF2B5EF4-FFF2-40B4-BE49-F238E27FC236}">
                  <a16:creationId xmlns:a16="http://schemas.microsoft.com/office/drawing/2014/main" id="{AAA97107-21AF-4370-995C-0E31C43B175B}"/>
                </a:ext>
              </a:extLst>
            </p:cNvPr>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6" name="Freeform 660">
              <a:extLst>
                <a:ext uri="{FF2B5EF4-FFF2-40B4-BE49-F238E27FC236}">
                  <a16:creationId xmlns:a16="http://schemas.microsoft.com/office/drawing/2014/main" id="{28698661-DF5F-4315-8BCF-342C6DAABF32}"/>
                </a:ext>
              </a:extLst>
            </p:cNvPr>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3" name="Freeform 661">
            <a:extLst>
              <a:ext uri="{FF2B5EF4-FFF2-40B4-BE49-F238E27FC236}">
                <a16:creationId xmlns:a16="http://schemas.microsoft.com/office/drawing/2014/main" id="{98ADAE93-D5E4-4A59-9C44-F3321359FCDF}"/>
              </a:ext>
            </a:extLst>
          </p:cNvPr>
          <p:cNvSpPr>
            <a:spLocks/>
          </p:cNvSpPr>
          <p:nvPr/>
        </p:nvSpPr>
        <p:spPr bwMode="auto">
          <a:xfrm>
            <a:off x="5013784" y="4783484"/>
            <a:ext cx="264263" cy="221737"/>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4" name="Group 73">
            <a:extLst>
              <a:ext uri="{FF2B5EF4-FFF2-40B4-BE49-F238E27FC236}">
                <a16:creationId xmlns:a16="http://schemas.microsoft.com/office/drawing/2014/main" id="{9BD7B3BD-D790-4305-84E7-5A72B29158D7}"/>
              </a:ext>
            </a:extLst>
          </p:cNvPr>
          <p:cNvGrpSpPr>
            <a:grpSpLocks/>
          </p:cNvGrpSpPr>
          <p:nvPr/>
        </p:nvGrpSpPr>
        <p:grpSpPr bwMode="auto">
          <a:xfrm>
            <a:off x="6270798" y="5408134"/>
            <a:ext cx="186880" cy="116277"/>
            <a:chOff x="5006" y="3464"/>
            <a:chExt cx="164" cy="107"/>
          </a:xfrm>
          <a:solidFill>
            <a:srgbClr val="00B050"/>
          </a:solidFill>
        </p:grpSpPr>
        <p:sp>
          <p:nvSpPr>
            <p:cNvPr id="272" name="Freeform 663">
              <a:extLst>
                <a:ext uri="{FF2B5EF4-FFF2-40B4-BE49-F238E27FC236}">
                  <a16:creationId xmlns:a16="http://schemas.microsoft.com/office/drawing/2014/main" id="{37313F0F-7032-46C5-AB40-4833F09656C9}"/>
                </a:ext>
              </a:extLst>
            </p:cNvPr>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3" name="Freeform 75">
              <a:extLst>
                <a:ext uri="{FF2B5EF4-FFF2-40B4-BE49-F238E27FC236}">
                  <a16:creationId xmlns:a16="http://schemas.microsoft.com/office/drawing/2014/main" id="{6E3F9E2E-887E-4711-8692-BB936FDF937E}"/>
                </a:ext>
              </a:extLst>
            </p:cNvPr>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4" name="Freeform 665">
              <a:extLst>
                <a:ext uri="{FF2B5EF4-FFF2-40B4-BE49-F238E27FC236}">
                  <a16:creationId xmlns:a16="http://schemas.microsoft.com/office/drawing/2014/main" id="{90E3737C-0897-45B0-80D4-8986F7FC090B}"/>
                </a:ext>
              </a:extLst>
            </p:cNvPr>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75" name="Group 77">
            <a:extLst>
              <a:ext uri="{FF2B5EF4-FFF2-40B4-BE49-F238E27FC236}">
                <a16:creationId xmlns:a16="http://schemas.microsoft.com/office/drawing/2014/main" id="{794F3FAD-552B-4F54-B292-3C9EFB594DE8}"/>
              </a:ext>
            </a:extLst>
          </p:cNvPr>
          <p:cNvGrpSpPr>
            <a:grpSpLocks/>
          </p:cNvGrpSpPr>
          <p:nvPr/>
        </p:nvGrpSpPr>
        <p:grpSpPr bwMode="auto">
          <a:xfrm>
            <a:off x="5897164" y="5086360"/>
            <a:ext cx="141623" cy="200105"/>
            <a:chOff x="4680" y="3175"/>
            <a:chExt cx="125" cy="179"/>
          </a:xfrm>
          <a:solidFill>
            <a:srgbClr val="00B050"/>
          </a:solidFill>
        </p:grpSpPr>
        <p:sp>
          <p:nvSpPr>
            <p:cNvPr id="266" name="Freeform 667">
              <a:extLst>
                <a:ext uri="{FF2B5EF4-FFF2-40B4-BE49-F238E27FC236}">
                  <a16:creationId xmlns:a16="http://schemas.microsoft.com/office/drawing/2014/main" id="{FA9BAED0-43F7-4E99-8B88-399CA30CA33F}"/>
                </a:ext>
              </a:extLst>
            </p:cNvPr>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7" name="Freeform 79">
              <a:extLst>
                <a:ext uri="{FF2B5EF4-FFF2-40B4-BE49-F238E27FC236}">
                  <a16:creationId xmlns:a16="http://schemas.microsoft.com/office/drawing/2014/main" id="{9454F253-2A59-4A63-ACAF-CC2D0548B1FD}"/>
                </a:ext>
              </a:extLst>
            </p:cNvPr>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8" name="Freeform 669">
              <a:extLst>
                <a:ext uri="{FF2B5EF4-FFF2-40B4-BE49-F238E27FC236}">
                  <a16:creationId xmlns:a16="http://schemas.microsoft.com/office/drawing/2014/main" id="{BC2F61F0-0972-40B7-9276-EC3C84E67EEC}"/>
                </a:ext>
              </a:extLst>
            </p:cNvPr>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9" name="Freeform 81">
              <a:extLst>
                <a:ext uri="{FF2B5EF4-FFF2-40B4-BE49-F238E27FC236}">
                  <a16:creationId xmlns:a16="http://schemas.microsoft.com/office/drawing/2014/main" id="{B1E799A7-A53F-4DD0-A331-B920C5631522}"/>
                </a:ext>
              </a:extLst>
            </p:cNvPr>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0" name="Freeform 671">
              <a:extLst>
                <a:ext uri="{FF2B5EF4-FFF2-40B4-BE49-F238E27FC236}">
                  <a16:creationId xmlns:a16="http://schemas.microsoft.com/office/drawing/2014/main" id="{3BCCB7F3-0A69-4735-8804-EA1993676A85}"/>
                </a:ext>
              </a:extLst>
            </p:cNvPr>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1" name="Freeform 672">
              <a:extLst>
                <a:ext uri="{FF2B5EF4-FFF2-40B4-BE49-F238E27FC236}">
                  <a16:creationId xmlns:a16="http://schemas.microsoft.com/office/drawing/2014/main" id="{5E8B5FE5-FAF9-4831-92A3-85C56F6B10BA}"/>
                </a:ext>
              </a:extLst>
            </p:cNvPr>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6" name="Freeform 673">
            <a:extLst>
              <a:ext uri="{FF2B5EF4-FFF2-40B4-BE49-F238E27FC236}">
                <a16:creationId xmlns:a16="http://schemas.microsoft.com/office/drawing/2014/main" id="{EF511045-E73B-4CFF-885B-23ECD1E8C178}"/>
              </a:ext>
            </a:extLst>
          </p:cNvPr>
          <p:cNvSpPr>
            <a:spLocks/>
          </p:cNvSpPr>
          <p:nvPr/>
        </p:nvSpPr>
        <p:spPr bwMode="auto">
          <a:xfrm>
            <a:off x="4480881" y="3865437"/>
            <a:ext cx="2559400" cy="831516"/>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accent3"/>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7" name="Freeform 674">
            <a:extLst>
              <a:ext uri="{FF2B5EF4-FFF2-40B4-BE49-F238E27FC236}">
                <a16:creationId xmlns:a16="http://schemas.microsoft.com/office/drawing/2014/main" id="{BF50E8F5-4960-4CF4-8383-AF42F855C8F0}"/>
              </a:ext>
            </a:extLst>
          </p:cNvPr>
          <p:cNvSpPr>
            <a:spLocks/>
          </p:cNvSpPr>
          <p:nvPr/>
        </p:nvSpPr>
        <p:spPr bwMode="auto">
          <a:xfrm>
            <a:off x="4791862" y="3755921"/>
            <a:ext cx="78840" cy="35154"/>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8" name="Freeform 675">
            <a:extLst>
              <a:ext uri="{FF2B5EF4-FFF2-40B4-BE49-F238E27FC236}">
                <a16:creationId xmlns:a16="http://schemas.microsoft.com/office/drawing/2014/main" id="{EA39EB43-A228-4F10-9D52-7DCE445E0176}"/>
              </a:ext>
            </a:extLst>
          </p:cNvPr>
          <p:cNvSpPr>
            <a:spLocks/>
          </p:cNvSpPr>
          <p:nvPr/>
        </p:nvSpPr>
        <p:spPr bwMode="auto">
          <a:xfrm>
            <a:off x="4815223" y="4106103"/>
            <a:ext cx="32120" cy="17577"/>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9" name="Freeform 676">
            <a:extLst>
              <a:ext uri="{FF2B5EF4-FFF2-40B4-BE49-F238E27FC236}">
                <a16:creationId xmlns:a16="http://schemas.microsoft.com/office/drawing/2014/main" id="{95BF0EB2-490C-4E4C-983D-DB8C80733A18}"/>
              </a:ext>
            </a:extLst>
          </p:cNvPr>
          <p:cNvSpPr>
            <a:spLocks/>
          </p:cNvSpPr>
          <p:nvPr/>
        </p:nvSpPr>
        <p:spPr bwMode="auto">
          <a:xfrm>
            <a:off x="4866324" y="4004699"/>
            <a:ext cx="97821" cy="67603"/>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0" name="Freeform 677">
            <a:extLst>
              <a:ext uri="{FF2B5EF4-FFF2-40B4-BE49-F238E27FC236}">
                <a16:creationId xmlns:a16="http://schemas.microsoft.com/office/drawing/2014/main" id="{407A864B-2946-4460-8D74-618B9CA860C4}"/>
              </a:ext>
            </a:extLst>
          </p:cNvPr>
          <p:cNvSpPr>
            <a:spLocks/>
          </p:cNvSpPr>
          <p:nvPr/>
        </p:nvSpPr>
        <p:spPr bwMode="auto">
          <a:xfrm>
            <a:off x="4901364" y="3888423"/>
            <a:ext cx="240902" cy="116277"/>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1" name="Freeform 678">
            <a:extLst>
              <a:ext uri="{FF2B5EF4-FFF2-40B4-BE49-F238E27FC236}">
                <a16:creationId xmlns:a16="http://schemas.microsoft.com/office/drawing/2014/main" id="{ADA77C41-C517-4C6A-92B8-8C800F9BABEE}"/>
              </a:ext>
            </a:extLst>
          </p:cNvPr>
          <p:cNvSpPr>
            <a:spLocks/>
          </p:cNvSpPr>
          <p:nvPr/>
        </p:nvSpPr>
        <p:spPr bwMode="auto">
          <a:xfrm>
            <a:off x="5040065" y="3741049"/>
            <a:ext cx="46720" cy="21633"/>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2" name="Freeform 679">
            <a:extLst>
              <a:ext uri="{FF2B5EF4-FFF2-40B4-BE49-F238E27FC236}">
                <a16:creationId xmlns:a16="http://schemas.microsoft.com/office/drawing/2014/main" id="{FD1F4F0E-11F9-489B-AEEE-DCA1015253E2}"/>
              </a:ext>
            </a:extLst>
          </p:cNvPr>
          <p:cNvSpPr>
            <a:spLocks/>
          </p:cNvSpPr>
          <p:nvPr/>
        </p:nvSpPr>
        <p:spPr bwMode="auto">
          <a:xfrm>
            <a:off x="5485369" y="3785666"/>
            <a:ext cx="43801" cy="14872"/>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3" name="Freeform 680">
            <a:extLst>
              <a:ext uri="{FF2B5EF4-FFF2-40B4-BE49-F238E27FC236}">
                <a16:creationId xmlns:a16="http://schemas.microsoft.com/office/drawing/2014/main" id="{691F974D-6BEA-413E-AFE8-2F8F695C9D1F}"/>
              </a:ext>
            </a:extLst>
          </p:cNvPr>
          <p:cNvSpPr>
            <a:spLocks/>
          </p:cNvSpPr>
          <p:nvPr/>
        </p:nvSpPr>
        <p:spPr bwMode="auto">
          <a:xfrm>
            <a:off x="5494130" y="3745104"/>
            <a:ext cx="100740" cy="41913"/>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4" name="Freeform 681">
            <a:extLst>
              <a:ext uri="{FF2B5EF4-FFF2-40B4-BE49-F238E27FC236}">
                <a16:creationId xmlns:a16="http://schemas.microsoft.com/office/drawing/2014/main" id="{9A782A32-53DB-445E-8E52-7A8689503316}"/>
              </a:ext>
            </a:extLst>
          </p:cNvPr>
          <p:cNvSpPr>
            <a:spLocks/>
          </p:cNvSpPr>
          <p:nvPr/>
        </p:nvSpPr>
        <p:spPr bwMode="auto">
          <a:xfrm>
            <a:off x="5514569" y="3781609"/>
            <a:ext cx="110961" cy="50027"/>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5" name="Freeform 682">
            <a:extLst>
              <a:ext uri="{FF2B5EF4-FFF2-40B4-BE49-F238E27FC236}">
                <a16:creationId xmlns:a16="http://schemas.microsoft.com/office/drawing/2014/main" id="{89889F1F-F5A9-4CDA-9661-2DABF92F0C98}"/>
              </a:ext>
            </a:extLst>
          </p:cNvPr>
          <p:cNvSpPr>
            <a:spLocks/>
          </p:cNvSpPr>
          <p:nvPr/>
        </p:nvSpPr>
        <p:spPr bwMode="auto">
          <a:xfrm>
            <a:off x="5619689" y="3807299"/>
            <a:ext cx="93441" cy="50027"/>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6" name="Freeform 683">
            <a:extLst>
              <a:ext uri="{FF2B5EF4-FFF2-40B4-BE49-F238E27FC236}">
                <a16:creationId xmlns:a16="http://schemas.microsoft.com/office/drawing/2014/main" id="{4AB652D7-26CE-4535-9304-FA5D0E7D6FEE}"/>
              </a:ext>
            </a:extLst>
          </p:cNvPr>
          <p:cNvSpPr>
            <a:spLocks/>
          </p:cNvSpPr>
          <p:nvPr/>
        </p:nvSpPr>
        <p:spPr bwMode="auto">
          <a:xfrm>
            <a:off x="6200775" y="3911407"/>
            <a:ext cx="105121" cy="48674"/>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7" name="Freeform 684">
            <a:extLst>
              <a:ext uri="{FF2B5EF4-FFF2-40B4-BE49-F238E27FC236}">
                <a16:creationId xmlns:a16="http://schemas.microsoft.com/office/drawing/2014/main" id="{5394BAFA-E989-4A31-B6CE-E7B95647C880}"/>
              </a:ext>
            </a:extLst>
          </p:cNvPr>
          <p:cNvSpPr>
            <a:spLocks/>
          </p:cNvSpPr>
          <p:nvPr/>
        </p:nvSpPr>
        <p:spPr bwMode="auto">
          <a:xfrm>
            <a:off x="6273775" y="3912760"/>
            <a:ext cx="64240" cy="35154"/>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8" name="Freeform 685">
            <a:extLst>
              <a:ext uri="{FF2B5EF4-FFF2-40B4-BE49-F238E27FC236}">
                <a16:creationId xmlns:a16="http://schemas.microsoft.com/office/drawing/2014/main" id="{CC2CD2E4-CCD1-47BB-A4BE-E08B6EE05F8A}"/>
              </a:ext>
            </a:extLst>
          </p:cNvPr>
          <p:cNvSpPr>
            <a:spLocks/>
          </p:cNvSpPr>
          <p:nvPr/>
        </p:nvSpPr>
        <p:spPr bwMode="auto">
          <a:xfrm>
            <a:off x="6279616" y="4458991"/>
            <a:ext cx="48180" cy="166302"/>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9" name="Freeform 686">
            <a:extLst>
              <a:ext uri="{FF2B5EF4-FFF2-40B4-BE49-F238E27FC236}">
                <a16:creationId xmlns:a16="http://schemas.microsoft.com/office/drawing/2014/main" id="{FA39D6F1-3E4E-4C18-8AA5-C6DEADB50CF5}"/>
              </a:ext>
            </a:extLst>
          </p:cNvPr>
          <p:cNvSpPr>
            <a:spLocks/>
          </p:cNvSpPr>
          <p:nvPr/>
        </p:nvSpPr>
        <p:spPr bwMode="auto">
          <a:xfrm>
            <a:off x="6351155" y="3933039"/>
            <a:ext cx="73000" cy="24337"/>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90" name="Group 98">
            <a:extLst>
              <a:ext uri="{FF2B5EF4-FFF2-40B4-BE49-F238E27FC236}">
                <a16:creationId xmlns:a16="http://schemas.microsoft.com/office/drawing/2014/main" id="{9CCE8B22-9644-4C67-9A90-6B439FFBAE2D}"/>
              </a:ext>
            </a:extLst>
          </p:cNvPr>
          <p:cNvGrpSpPr>
            <a:grpSpLocks/>
          </p:cNvGrpSpPr>
          <p:nvPr/>
        </p:nvGrpSpPr>
        <p:grpSpPr bwMode="auto">
          <a:xfrm>
            <a:off x="4231217" y="3769442"/>
            <a:ext cx="258423" cy="131149"/>
            <a:chOff x="3227" y="1992"/>
            <a:chExt cx="225" cy="118"/>
          </a:xfrm>
          <a:solidFill>
            <a:srgbClr val="00B050"/>
          </a:solidFill>
        </p:grpSpPr>
        <p:sp>
          <p:nvSpPr>
            <p:cNvPr id="263" name="Freeform 688">
              <a:extLst>
                <a:ext uri="{FF2B5EF4-FFF2-40B4-BE49-F238E27FC236}">
                  <a16:creationId xmlns:a16="http://schemas.microsoft.com/office/drawing/2014/main" id="{FF0D9FE9-6439-4CB6-927A-C8BD823405CF}"/>
                </a:ext>
              </a:extLst>
            </p:cNvPr>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4" name="Freeform 689">
              <a:extLst>
                <a:ext uri="{FF2B5EF4-FFF2-40B4-BE49-F238E27FC236}">
                  <a16:creationId xmlns:a16="http://schemas.microsoft.com/office/drawing/2014/main" id="{D296E5B0-88FC-4606-80CE-86DB4D92B321}"/>
                </a:ext>
              </a:extLst>
            </p:cNvPr>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5" name="Freeform 690">
              <a:extLst>
                <a:ext uri="{FF2B5EF4-FFF2-40B4-BE49-F238E27FC236}">
                  <a16:creationId xmlns:a16="http://schemas.microsoft.com/office/drawing/2014/main" id="{1C37C82C-03CE-471E-B718-979BA7E7C1F3}"/>
                </a:ext>
              </a:extLst>
            </p:cNvPr>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91" name="Freeform 691">
            <a:extLst>
              <a:ext uri="{FF2B5EF4-FFF2-40B4-BE49-F238E27FC236}">
                <a16:creationId xmlns:a16="http://schemas.microsoft.com/office/drawing/2014/main" id="{D28CFB18-6653-431F-B2ED-C546617D22A4}"/>
              </a:ext>
            </a:extLst>
          </p:cNvPr>
          <p:cNvSpPr>
            <a:spLocks/>
          </p:cNvSpPr>
          <p:nvPr/>
        </p:nvSpPr>
        <p:spPr bwMode="auto">
          <a:xfrm>
            <a:off x="5590490" y="5052543"/>
            <a:ext cx="125561" cy="233907"/>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2" name="Freeform 692">
            <a:extLst>
              <a:ext uri="{FF2B5EF4-FFF2-40B4-BE49-F238E27FC236}">
                <a16:creationId xmlns:a16="http://schemas.microsoft.com/office/drawing/2014/main" id="{9FCD6F56-B8C1-4FC0-863D-8E71A8CB23AB}"/>
              </a:ext>
            </a:extLst>
          </p:cNvPr>
          <p:cNvSpPr>
            <a:spLocks/>
          </p:cNvSpPr>
          <p:nvPr/>
        </p:nvSpPr>
        <p:spPr bwMode="auto">
          <a:xfrm>
            <a:off x="4473580" y="4694249"/>
            <a:ext cx="290543" cy="109515"/>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3" name="Freeform 693">
            <a:extLst>
              <a:ext uri="{FF2B5EF4-FFF2-40B4-BE49-F238E27FC236}">
                <a16:creationId xmlns:a16="http://schemas.microsoft.com/office/drawing/2014/main" id="{29F54C2A-36D0-421A-9230-E5196D9A16CB}"/>
              </a:ext>
            </a:extLst>
          </p:cNvPr>
          <p:cNvSpPr>
            <a:spLocks/>
          </p:cNvSpPr>
          <p:nvPr/>
        </p:nvSpPr>
        <p:spPr bwMode="auto">
          <a:xfrm>
            <a:off x="1433835" y="4054726"/>
            <a:ext cx="465745" cy="393448"/>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4" name="Freeform 694">
            <a:extLst>
              <a:ext uri="{FF2B5EF4-FFF2-40B4-BE49-F238E27FC236}">
                <a16:creationId xmlns:a16="http://schemas.microsoft.com/office/drawing/2014/main" id="{C0445C87-6890-4F17-8D40-1619FBDB78C2}"/>
              </a:ext>
            </a:extLst>
          </p:cNvPr>
          <p:cNvSpPr>
            <a:spLocks/>
          </p:cNvSpPr>
          <p:nvPr/>
        </p:nvSpPr>
        <p:spPr bwMode="auto">
          <a:xfrm>
            <a:off x="1639698" y="4384628"/>
            <a:ext cx="40881" cy="24337"/>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5" name="Freeform 695">
            <a:extLst>
              <a:ext uri="{FF2B5EF4-FFF2-40B4-BE49-F238E27FC236}">
                <a16:creationId xmlns:a16="http://schemas.microsoft.com/office/drawing/2014/main" id="{1F6DB845-3BA5-4D76-BC5C-6C9E21073F43}"/>
              </a:ext>
            </a:extLst>
          </p:cNvPr>
          <p:cNvSpPr>
            <a:spLocks/>
          </p:cNvSpPr>
          <p:nvPr/>
        </p:nvSpPr>
        <p:spPr bwMode="auto">
          <a:xfrm>
            <a:off x="1899579" y="4340011"/>
            <a:ext cx="128481" cy="110869"/>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6" name="Freeform 696">
            <a:extLst>
              <a:ext uri="{FF2B5EF4-FFF2-40B4-BE49-F238E27FC236}">
                <a16:creationId xmlns:a16="http://schemas.microsoft.com/office/drawing/2014/main" id="{C5C31C86-8CBA-4C46-B3DE-65A8CCD3267C}"/>
              </a:ext>
            </a:extLst>
          </p:cNvPr>
          <p:cNvSpPr>
            <a:spLocks/>
          </p:cNvSpPr>
          <p:nvPr/>
        </p:nvSpPr>
        <p:spPr bwMode="auto">
          <a:xfrm>
            <a:off x="1928779" y="4376515"/>
            <a:ext cx="23360" cy="18928"/>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7" name="Freeform 697">
            <a:extLst>
              <a:ext uri="{FF2B5EF4-FFF2-40B4-BE49-F238E27FC236}">
                <a16:creationId xmlns:a16="http://schemas.microsoft.com/office/drawing/2014/main" id="{CE67ACDE-6CFE-4F6E-ADB6-E5D8AF8B1F9B}"/>
              </a:ext>
            </a:extLst>
          </p:cNvPr>
          <p:cNvSpPr>
            <a:spLocks/>
          </p:cNvSpPr>
          <p:nvPr/>
        </p:nvSpPr>
        <p:spPr bwMode="auto">
          <a:xfrm>
            <a:off x="1937539" y="4391389"/>
            <a:ext cx="14600" cy="28393"/>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8" name="Freeform 698">
            <a:extLst>
              <a:ext uri="{FF2B5EF4-FFF2-40B4-BE49-F238E27FC236}">
                <a16:creationId xmlns:a16="http://schemas.microsoft.com/office/drawing/2014/main" id="{CB872E09-31AF-4938-9583-886CE3BA7AD3}"/>
              </a:ext>
            </a:extLst>
          </p:cNvPr>
          <p:cNvSpPr>
            <a:spLocks/>
          </p:cNvSpPr>
          <p:nvPr/>
        </p:nvSpPr>
        <p:spPr bwMode="auto">
          <a:xfrm>
            <a:off x="1952139" y="4377868"/>
            <a:ext cx="18980" cy="18928"/>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9" name="Freeform 699">
            <a:extLst>
              <a:ext uri="{FF2B5EF4-FFF2-40B4-BE49-F238E27FC236}">
                <a16:creationId xmlns:a16="http://schemas.microsoft.com/office/drawing/2014/main" id="{B0DCB1F1-0801-4DD1-9DC9-1D72512FF5DE}"/>
              </a:ext>
            </a:extLst>
          </p:cNvPr>
          <p:cNvSpPr>
            <a:spLocks/>
          </p:cNvSpPr>
          <p:nvPr/>
        </p:nvSpPr>
        <p:spPr bwMode="auto">
          <a:xfrm>
            <a:off x="1966741" y="4402205"/>
            <a:ext cx="13139" cy="12168"/>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0" name="Freeform 700">
            <a:extLst>
              <a:ext uri="{FF2B5EF4-FFF2-40B4-BE49-F238E27FC236}">
                <a16:creationId xmlns:a16="http://schemas.microsoft.com/office/drawing/2014/main" id="{7506D3EC-7627-4E29-8992-84797B05FEAB}"/>
              </a:ext>
            </a:extLst>
          </p:cNvPr>
          <p:cNvSpPr>
            <a:spLocks/>
          </p:cNvSpPr>
          <p:nvPr/>
        </p:nvSpPr>
        <p:spPr bwMode="auto">
          <a:xfrm>
            <a:off x="1971120" y="4417078"/>
            <a:ext cx="20440" cy="29745"/>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1" name="Freeform 701">
            <a:extLst>
              <a:ext uri="{FF2B5EF4-FFF2-40B4-BE49-F238E27FC236}">
                <a16:creationId xmlns:a16="http://schemas.microsoft.com/office/drawing/2014/main" id="{4F79DD9B-4316-48D9-B0AD-A65A6A07FBE4}"/>
              </a:ext>
            </a:extLst>
          </p:cNvPr>
          <p:cNvSpPr>
            <a:spLocks/>
          </p:cNvSpPr>
          <p:nvPr/>
        </p:nvSpPr>
        <p:spPr bwMode="auto">
          <a:xfrm>
            <a:off x="2001780" y="4426542"/>
            <a:ext cx="13139" cy="14872"/>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2" name="Freeform 702">
            <a:extLst>
              <a:ext uri="{FF2B5EF4-FFF2-40B4-BE49-F238E27FC236}">
                <a16:creationId xmlns:a16="http://schemas.microsoft.com/office/drawing/2014/main" id="{F7E30A9B-D06A-4314-A309-7CCC67FD7969}"/>
              </a:ext>
            </a:extLst>
          </p:cNvPr>
          <p:cNvSpPr>
            <a:spLocks/>
          </p:cNvSpPr>
          <p:nvPr/>
        </p:nvSpPr>
        <p:spPr bwMode="auto">
          <a:xfrm>
            <a:off x="2111281" y="4557691"/>
            <a:ext cx="903749" cy="425899"/>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3" name="Freeform 703">
            <a:extLst>
              <a:ext uri="{FF2B5EF4-FFF2-40B4-BE49-F238E27FC236}">
                <a16:creationId xmlns:a16="http://schemas.microsoft.com/office/drawing/2014/main" id="{55AC66FC-1912-4FA6-9D9B-62AA0870F6A1}"/>
              </a:ext>
            </a:extLst>
          </p:cNvPr>
          <p:cNvSpPr>
            <a:spLocks/>
          </p:cNvSpPr>
          <p:nvPr/>
        </p:nvSpPr>
        <p:spPr bwMode="auto">
          <a:xfrm>
            <a:off x="7002321" y="4252126"/>
            <a:ext cx="51101" cy="16225"/>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4" name="Freeform 704">
            <a:extLst>
              <a:ext uri="{FF2B5EF4-FFF2-40B4-BE49-F238E27FC236}">
                <a16:creationId xmlns:a16="http://schemas.microsoft.com/office/drawing/2014/main" id="{1EF74135-38F5-4B5B-8767-B58DF6090E96}"/>
              </a:ext>
            </a:extLst>
          </p:cNvPr>
          <p:cNvSpPr>
            <a:spLocks/>
          </p:cNvSpPr>
          <p:nvPr/>
        </p:nvSpPr>
        <p:spPr bwMode="auto">
          <a:xfrm>
            <a:off x="3009528" y="5086827"/>
            <a:ext cx="24138" cy="8900"/>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5" name="Freeform 705">
            <a:extLst>
              <a:ext uri="{FF2B5EF4-FFF2-40B4-BE49-F238E27FC236}">
                <a16:creationId xmlns:a16="http://schemas.microsoft.com/office/drawing/2014/main" id="{E3D9AEA2-B142-4632-B159-C828C0E799D8}"/>
              </a:ext>
            </a:extLst>
          </p:cNvPr>
          <p:cNvSpPr>
            <a:spLocks/>
          </p:cNvSpPr>
          <p:nvPr/>
        </p:nvSpPr>
        <p:spPr bwMode="auto">
          <a:xfrm>
            <a:off x="2912978" y="5702047"/>
            <a:ext cx="310339" cy="535119"/>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6" name="Freeform 706">
            <a:extLst>
              <a:ext uri="{FF2B5EF4-FFF2-40B4-BE49-F238E27FC236}">
                <a16:creationId xmlns:a16="http://schemas.microsoft.com/office/drawing/2014/main" id="{73C311A6-1A4D-4EBA-83CA-E3FF3F35E0FB}"/>
              </a:ext>
            </a:extLst>
          </p:cNvPr>
          <p:cNvSpPr>
            <a:spLocks/>
          </p:cNvSpPr>
          <p:nvPr/>
        </p:nvSpPr>
        <p:spPr bwMode="auto">
          <a:xfrm>
            <a:off x="2986540" y="6244953"/>
            <a:ext cx="56321" cy="46726"/>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7" name="Freeform 707">
            <a:extLst>
              <a:ext uri="{FF2B5EF4-FFF2-40B4-BE49-F238E27FC236}">
                <a16:creationId xmlns:a16="http://schemas.microsoft.com/office/drawing/2014/main" id="{02B694A8-55D5-4A2E-9316-39E66FF089F8}"/>
              </a:ext>
            </a:extLst>
          </p:cNvPr>
          <p:cNvSpPr>
            <a:spLocks/>
          </p:cNvSpPr>
          <p:nvPr/>
        </p:nvSpPr>
        <p:spPr bwMode="auto">
          <a:xfrm>
            <a:off x="2970448" y="5514032"/>
            <a:ext cx="189652" cy="20581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8" name="Freeform 708">
            <a:extLst>
              <a:ext uri="{FF2B5EF4-FFF2-40B4-BE49-F238E27FC236}">
                <a16:creationId xmlns:a16="http://schemas.microsoft.com/office/drawing/2014/main" id="{809A775B-E5D4-4867-B09A-C8A781646D77}"/>
              </a:ext>
            </a:extLst>
          </p:cNvPr>
          <p:cNvSpPr>
            <a:spLocks/>
          </p:cNvSpPr>
          <p:nvPr/>
        </p:nvSpPr>
        <p:spPr bwMode="auto">
          <a:xfrm>
            <a:off x="2906082" y="5291529"/>
            <a:ext cx="612633" cy="605207"/>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9" name="Freeform 709">
            <a:extLst>
              <a:ext uri="{FF2B5EF4-FFF2-40B4-BE49-F238E27FC236}">
                <a16:creationId xmlns:a16="http://schemas.microsoft.com/office/drawing/2014/main" id="{E5978EA7-ED59-430A-936F-7AAC511D80FB}"/>
              </a:ext>
            </a:extLst>
          </p:cNvPr>
          <p:cNvSpPr>
            <a:spLocks/>
          </p:cNvSpPr>
          <p:nvPr/>
        </p:nvSpPr>
        <p:spPr bwMode="auto">
          <a:xfrm>
            <a:off x="2664707" y="5086827"/>
            <a:ext cx="14942" cy="41163"/>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0" name="Freeform 710">
            <a:extLst>
              <a:ext uri="{FF2B5EF4-FFF2-40B4-BE49-F238E27FC236}">
                <a16:creationId xmlns:a16="http://schemas.microsoft.com/office/drawing/2014/main" id="{A7719609-0A29-44D8-B66E-E402A76F776A}"/>
              </a:ext>
            </a:extLst>
          </p:cNvPr>
          <p:cNvSpPr>
            <a:spLocks/>
          </p:cNvSpPr>
          <p:nvPr/>
        </p:nvSpPr>
        <p:spPr bwMode="auto">
          <a:xfrm>
            <a:off x="2878496" y="5634183"/>
            <a:ext cx="132182" cy="635245"/>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1" name="Freeform 711">
            <a:extLst>
              <a:ext uri="{FF2B5EF4-FFF2-40B4-BE49-F238E27FC236}">
                <a16:creationId xmlns:a16="http://schemas.microsoft.com/office/drawing/2014/main" id="{AE2EB892-083B-4926-A4AF-A6476C2E6D93}"/>
              </a:ext>
            </a:extLst>
          </p:cNvPr>
          <p:cNvSpPr>
            <a:spLocks/>
          </p:cNvSpPr>
          <p:nvPr/>
        </p:nvSpPr>
        <p:spPr bwMode="auto">
          <a:xfrm>
            <a:off x="2885392" y="6165965"/>
            <a:ext cx="11494" cy="24476"/>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2" name="Freeform 712">
            <a:extLst>
              <a:ext uri="{FF2B5EF4-FFF2-40B4-BE49-F238E27FC236}">
                <a16:creationId xmlns:a16="http://schemas.microsoft.com/office/drawing/2014/main" id="{E06CD000-F4B9-4678-8D0F-0F22AD97FDB2}"/>
              </a:ext>
            </a:extLst>
          </p:cNvPr>
          <p:cNvSpPr>
            <a:spLocks/>
          </p:cNvSpPr>
          <p:nvPr/>
        </p:nvSpPr>
        <p:spPr bwMode="auto">
          <a:xfrm>
            <a:off x="2896887" y="6036913"/>
            <a:ext cx="10345" cy="31151"/>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3" name="Freeform 713">
            <a:extLst>
              <a:ext uri="{FF2B5EF4-FFF2-40B4-BE49-F238E27FC236}">
                <a16:creationId xmlns:a16="http://schemas.microsoft.com/office/drawing/2014/main" id="{E43B555A-3022-4CDD-B5AC-2524555140D9}"/>
              </a:ext>
            </a:extLst>
          </p:cNvPr>
          <p:cNvSpPr>
            <a:spLocks/>
          </p:cNvSpPr>
          <p:nvPr/>
        </p:nvSpPr>
        <p:spPr bwMode="auto">
          <a:xfrm>
            <a:off x="2907231" y="6260528"/>
            <a:ext cx="21839" cy="1446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4" name="Freeform 714">
            <a:extLst>
              <a:ext uri="{FF2B5EF4-FFF2-40B4-BE49-F238E27FC236}">
                <a16:creationId xmlns:a16="http://schemas.microsoft.com/office/drawing/2014/main" id="{926AFD02-FCE4-4DC8-B6DD-C5839ECD5A46}"/>
              </a:ext>
            </a:extLst>
          </p:cNvPr>
          <p:cNvSpPr>
            <a:spLocks/>
          </p:cNvSpPr>
          <p:nvPr/>
        </p:nvSpPr>
        <p:spPr bwMode="auto">
          <a:xfrm>
            <a:off x="2911829" y="6230491"/>
            <a:ext cx="32184" cy="31151"/>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5" name="Freeform 715">
            <a:extLst>
              <a:ext uri="{FF2B5EF4-FFF2-40B4-BE49-F238E27FC236}">
                <a16:creationId xmlns:a16="http://schemas.microsoft.com/office/drawing/2014/main" id="{6D5E84FF-0D77-4C0F-9A8C-8AC9C2395F79}"/>
              </a:ext>
            </a:extLst>
          </p:cNvPr>
          <p:cNvSpPr>
            <a:spLocks/>
          </p:cNvSpPr>
          <p:nvPr/>
        </p:nvSpPr>
        <p:spPr bwMode="auto">
          <a:xfrm>
            <a:off x="2933667" y="6270541"/>
            <a:ext cx="18390" cy="8900"/>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6" name="Freeform 716">
            <a:extLst>
              <a:ext uri="{FF2B5EF4-FFF2-40B4-BE49-F238E27FC236}">
                <a16:creationId xmlns:a16="http://schemas.microsoft.com/office/drawing/2014/main" id="{D53E2190-2974-43B0-A06A-0D8F1220AE31}"/>
              </a:ext>
            </a:extLst>
          </p:cNvPr>
          <p:cNvSpPr>
            <a:spLocks/>
          </p:cNvSpPr>
          <p:nvPr/>
        </p:nvSpPr>
        <p:spPr bwMode="auto">
          <a:xfrm>
            <a:off x="2945161" y="6244953"/>
            <a:ext cx="44827" cy="46726"/>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7" name="Freeform 717">
            <a:extLst>
              <a:ext uri="{FF2B5EF4-FFF2-40B4-BE49-F238E27FC236}">
                <a16:creationId xmlns:a16="http://schemas.microsoft.com/office/drawing/2014/main" id="{44ED2386-1DC3-4623-A6DA-1C996E2D987B}"/>
              </a:ext>
            </a:extLst>
          </p:cNvPr>
          <p:cNvSpPr>
            <a:spLocks/>
          </p:cNvSpPr>
          <p:nvPr/>
        </p:nvSpPr>
        <p:spPr bwMode="auto">
          <a:xfrm>
            <a:off x="2827922" y="5181390"/>
            <a:ext cx="188503" cy="251428"/>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8" name="Freeform 718">
            <a:extLst>
              <a:ext uri="{FF2B5EF4-FFF2-40B4-BE49-F238E27FC236}">
                <a16:creationId xmlns:a16="http://schemas.microsoft.com/office/drawing/2014/main" id="{76BC809E-3675-4C34-9947-BCBD6C81CC3E}"/>
              </a:ext>
            </a:extLst>
          </p:cNvPr>
          <p:cNvSpPr>
            <a:spLocks/>
          </p:cNvSpPr>
          <p:nvPr/>
        </p:nvSpPr>
        <p:spPr bwMode="auto">
          <a:xfrm>
            <a:off x="2719878" y="5202528"/>
            <a:ext cx="50574" cy="41163"/>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9" name="Freeform 719">
            <a:extLst>
              <a:ext uri="{FF2B5EF4-FFF2-40B4-BE49-F238E27FC236}">
                <a16:creationId xmlns:a16="http://schemas.microsoft.com/office/drawing/2014/main" id="{EB91065C-D149-407F-A0DD-DA4D4B39AA87}"/>
              </a:ext>
            </a:extLst>
          </p:cNvPr>
          <p:cNvSpPr>
            <a:spLocks/>
          </p:cNvSpPr>
          <p:nvPr/>
        </p:nvSpPr>
        <p:spPr bwMode="auto">
          <a:xfrm>
            <a:off x="2731372" y="5014513"/>
            <a:ext cx="170112" cy="52288"/>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0" name="Freeform 720">
            <a:extLst>
              <a:ext uri="{FF2B5EF4-FFF2-40B4-BE49-F238E27FC236}">
                <a16:creationId xmlns:a16="http://schemas.microsoft.com/office/drawing/2014/main" id="{715873A8-606D-4F59-8F16-F318092F4BB8}"/>
              </a:ext>
            </a:extLst>
          </p:cNvPr>
          <p:cNvSpPr>
            <a:spLocks/>
          </p:cNvSpPr>
          <p:nvPr/>
        </p:nvSpPr>
        <p:spPr bwMode="auto">
          <a:xfrm>
            <a:off x="2937116" y="5065689"/>
            <a:ext cx="54022" cy="30038"/>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1" name="Freeform 721">
            <a:extLst>
              <a:ext uri="{FF2B5EF4-FFF2-40B4-BE49-F238E27FC236}">
                <a16:creationId xmlns:a16="http://schemas.microsoft.com/office/drawing/2014/main" id="{A07C7D0C-846B-4236-BB14-43D756165867}"/>
              </a:ext>
            </a:extLst>
          </p:cNvPr>
          <p:cNvSpPr>
            <a:spLocks/>
          </p:cNvSpPr>
          <p:nvPr/>
        </p:nvSpPr>
        <p:spPr bwMode="auto">
          <a:xfrm>
            <a:off x="2796888" y="5348267"/>
            <a:ext cx="88504" cy="9567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2" name="Freeform 722">
            <a:extLst>
              <a:ext uri="{FF2B5EF4-FFF2-40B4-BE49-F238E27FC236}">
                <a16:creationId xmlns:a16="http://schemas.microsoft.com/office/drawing/2014/main" id="{B3A0DCF1-8E21-4CAD-AA10-1ED0A6683CFE}"/>
              </a:ext>
            </a:extLst>
          </p:cNvPr>
          <p:cNvSpPr>
            <a:spLocks/>
          </p:cNvSpPr>
          <p:nvPr/>
        </p:nvSpPr>
        <p:spPr bwMode="auto">
          <a:xfrm>
            <a:off x="2650913" y="5149128"/>
            <a:ext cx="37930" cy="16687"/>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3" name="Freeform 723">
            <a:extLst>
              <a:ext uri="{FF2B5EF4-FFF2-40B4-BE49-F238E27FC236}">
                <a16:creationId xmlns:a16="http://schemas.microsoft.com/office/drawing/2014/main" id="{A3DD26C8-3E62-4801-9288-F886BA845551}"/>
              </a:ext>
            </a:extLst>
          </p:cNvPr>
          <p:cNvSpPr>
            <a:spLocks/>
          </p:cNvSpPr>
          <p:nvPr/>
        </p:nvSpPr>
        <p:spPr bwMode="auto">
          <a:xfrm>
            <a:off x="3109526" y="6219365"/>
            <a:ext cx="25287" cy="1446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4" name="Freeform 724">
            <a:extLst>
              <a:ext uri="{FF2B5EF4-FFF2-40B4-BE49-F238E27FC236}">
                <a16:creationId xmlns:a16="http://schemas.microsoft.com/office/drawing/2014/main" id="{638676B9-2514-4195-9A72-8F37B541FA0E}"/>
              </a:ext>
            </a:extLst>
          </p:cNvPr>
          <p:cNvSpPr>
            <a:spLocks/>
          </p:cNvSpPr>
          <p:nvPr/>
        </p:nvSpPr>
        <p:spPr bwMode="auto">
          <a:xfrm>
            <a:off x="3129066" y="6217140"/>
            <a:ext cx="28735" cy="17800"/>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5" name="Freeform 725">
            <a:extLst>
              <a:ext uri="{FF2B5EF4-FFF2-40B4-BE49-F238E27FC236}">
                <a16:creationId xmlns:a16="http://schemas.microsoft.com/office/drawing/2014/main" id="{2874D011-86B6-4115-9010-5D873F9E1291}"/>
              </a:ext>
            </a:extLst>
          </p:cNvPr>
          <p:cNvSpPr>
            <a:spLocks/>
          </p:cNvSpPr>
          <p:nvPr/>
        </p:nvSpPr>
        <p:spPr bwMode="auto">
          <a:xfrm>
            <a:off x="3210674" y="5284854"/>
            <a:ext cx="47126" cy="53401"/>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6" name="Freeform 726">
            <a:extLst>
              <a:ext uri="{FF2B5EF4-FFF2-40B4-BE49-F238E27FC236}">
                <a16:creationId xmlns:a16="http://schemas.microsoft.com/office/drawing/2014/main" id="{BC4F0A17-7082-4D6A-BCA4-A2FEB3B6763B}"/>
              </a:ext>
            </a:extLst>
          </p:cNvPr>
          <p:cNvSpPr>
            <a:spLocks/>
          </p:cNvSpPr>
          <p:nvPr/>
        </p:nvSpPr>
        <p:spPr bwMode="auto">
          <a:xfrm>
            <a:off x="2616431" y="5095727"/>
            <a:ext cx="63217" cy="66751"/>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7" name="Freeform 727">
            <a:extLst>
              <a:ext uri="{FF2B5EF4-FFF2-40B4-BE49-F238E27FC236}">
                <a16:creationId xmlns:a16="http://schemas.microsoft.com/office/drawing/2014/main" id="{19664302-30E7-4D9B-8029-61C3CA584B30}"/>
              </a:ext>
            </a:extLst>
          </p:cNvPr>
          <p:cNvSpPr>
            <a:spLocks/>
          </p:cNvSpPr>
          <p:nvPr/>
        </p:nvSpPr>
        <p:spPr bwMode="auto">
          <a:xfrm>
            <a:off x="3103779" y="5242579"/>
            <a:ext cx="75861" cy="104576"/>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8" name="Freeform 728">
            <a:extLst>
              <a:ext uri="{FF2B5EF4-FFF2-40B4-BE49-F238E27FC236}">
                <a16:creationId xmlns:a16="http://schemas.microsoft.com/office/drawing/2014/main" id="{2BF712B0-C7C2-42AE-B132-6C35AEB2CFB3}"/>
              </a:ext>
            </a:extLst>
          </p:cNvPr>
          <p:cNvSpPr>
            <a:spLocks/>
          </p:cNvSpPr>
          <p:nvPr/>
        </p:nvSpPr>
        <p:spPr bwMode="auto">
          <a:xfrm>
            <a:off x="2896887" y="5065689"/>
            <a:ext cx="41378" cy="30038"/>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9" name="Freeform 729">
            <a:extLst>
              <a:ext uri="{FF2B5EF4-FFF2-40B4-BE49-F238E27FC236}">
                <a16:creationId xmlns:a16="http://schemas.microsoft.com/office/drawing/2014/main" id="{C64552A8-000A-42EA-A41A-842C50A3E75C}"/>
              </a:ext>
            </a:extLst>
          </p:cNvPr>
          <p:cNvSpPr>
            <a:spLocks/>
          </p:cNvSpPr>
          <p:nvPr/>
        </p:nvSpPr>
        <p:spPr bwMode="auto">
          <a:xfrm>
            <a:off x="2661258" y="5126877"/>
            <a:ext cx="97700" cy="46726"/>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0" name="Freeform 730">
            <a:extLst>
              <a:ext uri="{FF2B5EF4-FFF2-40B4-BE49-F238E27FC236}">
                <a16:creationId xmlns:a16="http://schemas.microsoft.com/office/drawing/2014/main" id="{25211B52-F394-4B97-B910-E8F00FAA4379}"/>
              </a:ext>
            </a:extLst>
          </p:cNvPr>
          <p:cNvSpPr>
            <a:spLocks/>
          </p:cNvSpPr>
          <p:nvPr/>
        </p:nvSpPr>
        <p:spPr bwMode="auto">
          <a:xfrm>
            <a:off x="2694591" y="5141340"/>
            <a:ext cx="64367" cy="63413"/>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1" name="Freeform 731">
            <a:extLst>
              <a:ext uri="{FF2B5EF4-FFF2-40B4-BE49-F238E27FC236}">
                <a16:creationId xmlns:a16="http://schemas.microsoft.com/office/drawing/2014/main" id="{1353AF21-9142-444E-B4D4-3937D3BC0265}"/>
              </a:ext>
            </a:extLst>
          </p:cNvPr>
          <p:cNvSpPr>
            <a:spLocks/>
          </p:cNvSpPr>
          <p:nvPr/>
        </p:nvSpPr>
        <p:spPr bwMode="auto">
          <a:xfrm>
            <a:off x="2762406" y="5222553"/>
            <a:ext cx="88504" cy="38938"/>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2" name="Freeform 732">
            <a:extLst>
              <a:ext uri="{FF2B5EF4-FFF2-40B4-BE49-F238E27FC236}">
                <a16:creationId xmlns:a16="http://schemas.microsoft.com/office/drawing/2014/main" id="{06B49306-A228-40E0-A62A-F4152D2EF65C}"/>
              </a:ext>
            </a:extLst>
          </p:cNvPr>
          <p:cNvSpPr>
            <a:spLocks/>
          </p:cNvSpPr>
          <p:nvPr/>
        </p:nvSpPr>
        <p:spPr bwMode="auto">
          <a:xfrm>
            <a:off x="3081940" y="5588023"/>
            <a:ext cx="128733" cy="276999"/>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133" name="Freeform 733">
            <a:extLst>
              <a:ext uri="{FF2B5EF4-FFF2-40B4-BE49-F238E27FC236}">
                <a16:creationId xmlns:a16="http://schemas.microsoft.com/office/drawing/2014/main" id="{9E6D7F6A-7952-44F2-9895-244DA66F7758}"/>
              </a:ext>
            </a:extLst>
          </p:cNvPr>
          <p:cNvSpPr>
            <a:spLocks/>
          </p:cNvSpPr>
          <p:nvPr/>
        </p:nvSpPr>
        <p:spPr bwMode="auto">
          <a:xfrm>
            <a:off x="2788842" y="5370518"/>
            <a:ext cx="197698" cy="274791"/>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4" name="Freeform 734">
            <a:extLst>
              <a:ext uri="{FF2B5EF4-FFF2-40B4-BE49-F238E27FC236}">
                <a16:creationId xmlns:a16="http://schemas.microsoft.com/office/drawing/2014/main" id="{FD2B5EB3-F3EB-4406-993B-782ECD460A2E}"/>
              </a:ext>
            </a:extLst>
          </p:cNvPr>
          <p:cNvSpPr>
            <a:spLocks/>
          </p:cNvSpPr>
          <p:nvPr/>
        </p:nvSpPr>
        <p:spPr bwMode="auto">
          <a:xfrm>
            <a:off x="3153204" y="5280404"/>
            <a:ext cx="65516" cy="60076"/>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5" name="Freeform 735">
            <a:extLst>
              <a:ext uri="{FF2B5EF4-FFF2-40B4-BE49-F238E27FC236}">
                <a16:creationId xmlns:a16="http://schemas.microsoft.com/office/drawing/2014/main" id="{97C8E616-A639-4342-AB7C-2BA723919038}"/>
              </a:ext>
            </a:extLst>
          </p:cNvPr>
          <p:cNvSpPr>
            <a:spLocks/>
          </p:cNvSpPr>
          <p:nvPr/>
        </p:nvSpPr>
        <p:spPr bwMode="auto">
          <a:xfrm>
            <a:off x="3092285" y="5205866"/>
            <a:ext cx="16091" cy="12238"/>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6" name="Freeform 736">
            <a:extLst>
              <a:ext uri="{FF2B5EF4-FFF2-40B4-BE49-F238E27FC236}">
                <a16:creationId xmlns:a16="http://schemas.microsoft.com/office/drawing/2014/main" id="{545FB3BD-6F68-47F3-8B2A-9A4D3CED8999}"/>
              </a:ext>
            </a:extLst>
          </p:cNvPr>
          <p:cNvSpPr>
            <a:spLocks/>
          </p:cNvSpPr>
          <p:nvPr/>
        </p:nvSpPr>
        <p:spPr bwMode="auto">
          <a:xfrm>
            <a:off x="3147457" y="5834436"/>
            <a:ext cx="82757" cy="82326"/>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7" name="Freeform 737">
            <a:extLst>
              <a:ext uri="{FF2B5EF4-FFF2-40B4-BE49-F238E27FC236}">
                <a16:creationId xmlns:a16="http://schemas.microsoft.com/office/drawing/2014/main" id="{A595BE95-CA86-4E4A-97BC-8ECDAC59BA69}"/>
              </a:ext>
            </a:extLst>
          </p:cNvPr>
          <p:cNvSpPr>
            <a:spLocks/>
          </p:cNvSpPr>
          <p:nvPr/>
        </p:nvSpPr>
        <p:spPr bwMode="auto">
          <a:xfrm>
            <a:off x="2915277" y="5183616"/>
            <a:ext cx="211491" cy="174664"/>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8" name="Freeform 738">
            <a:extLst>
              <a:ext uri="{FF2B5EF4-FFF2-40B4-BE49-F238E27FC236}">
                <a16:creationId xmlns:a16="http://schemas.microsoft.com/office/drawing/2014/main" id="{CE364E54-2E11-4C63-A303-5EB591D6D012}"/>
              </a:ext>
            </a:extLst>
          </p:cNvPr>
          <p:cNvSpPr>
            <a:spLocks/>
          </p:cNvSpPr>
          <p:nvPr/>
        </p:nvSpPr>
        <p:spPr bwMode="auto">
          <a:xfrm>
            <a:off x="5660570" y="5014686"/>
            <a:ext cx="109500" cy="22579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9" name="Freeform 739">
            <a:extLst>
              <a:ext uri="{FF2B5EF4-FFF2-40B4-BE49-F238E27FC236}">
                <a16:creationId xmlns:a16="http://schemas.microsoft.com/office/drawing/2014/main" id="{1EFA42D7-4448-4E18-A729-6CF3DBA94A34}"/>
              </a:ext>
            </a:extLst>
          </p:cNvPr>
          <p:cNvSpPr>
            <a:spLocks/>
          </p:cNvSpPr>
          <p:nvPr/>
        </p:nvSpPr>
        <p:spPr bwMode="auto">
          <a:xfrm>
            <a:off x="4669221" y="4653688"/>
            <a:ext cx="116801" cy="51378"/>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0" name="Freeform 740">
            <a:extLst>
              <a:ext uri="{FF2B5EF4-FFF2-40B4-BE49-F238E27FC236}">
                <a16:creationId xmlns:a16="http://schemas.microsoft.com/office/drawing/2014/main" id="{8C2C812B-C909-499A-B3F4-D6BA4928BD00}"/>
              </a:ext>
            </a:extLst>
          </p:cNvPr>
          <p:cNvSpPr>
            <a:spLocks/>
          </p:cNvSpPr>
          <p:nvPr/>
        </p:nvSpPr>
        <p:spPr bwMode="auto">
          <a:xfrm>
            <a:off x="4752443" y="4682080"/>
            <a:ext cx="96360" cy="77068"/>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1" name="Freeform 741">
            <a:extLst>
              <a:ext uri="{FF2B5EF4-FFF2-40B4-BE49-F238E27FC236}">
                <a16:creationId xmlns:a16="http://schemas.microsoft.com/office/drawing/2014/main" id="{34849A92-9597-49BF-977B-9951D462FED2}"/>
              </a:ext>
            </a:extLst>
          </p:cNvPr>
          <p:cNvSpPr>
            <a:spLocks/>
          </p:cNvSpPr>
          <p:nvPr/>
        </p:nvSpPr>
        <p:spPr bwMode="auto">
          <a:xfrm>
            <a:off x="4730542" y="4696953"/>
            <a:ext cx="68622" cy="47322"/>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2" name="Freeform 742">
            <a:extLst>
              <a:ext uri="{FF2B5EF4-FFF2-40B4-BE49-F238E27FC236}">
                <a16:creationId xmlns:a16="http://schemas.microsoft.com/office/drawing/2014/main" id="{DDEA1F90-0863-42CA-BDC2-92B238A78A85}"/>
              </a:ext>
            </a:extLst>
          </p:cNvPr>
          <p:cNvSpPr>
            <a:spLocks/>
          </p:cNvSpPr>
          <p:nvPr/>
        </p:nvSpPr>
        <p:spPr bwMode="auto">
          <a:xfrm>
            <a:off x="4768503" y="4436007"/>
            <a:ext cx="654085" cy="274468"/>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3" name="Freeform 743">
            <a:extLst>
              <a:ext uri="{FF2B5EF4-FFF2-40B4-BE49-F238E27FC236}">
                <a16:creationId xmlns:a16="http://schemas.microsoft.com/office/drawing/2014/main" id="{D8C37E11-C4BD-4A84-BF63-578417B77BEB}"/>
              </a:ext>
            </a:extLst>
          </p:cNvPr>
          <p:cNvSpPr>
            <a:spLocks/>
          </p:cNvSpPr>
          <p:nvPr/>
        </p:nvSpPr>
        <p:spPr bwMode="auto">
          <a:xfrm>
            <a:off x="4926183" y="4614477"/>
            <a:ext cx="287623" cy="169007"/>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4" name="Freeform 744">
            <a:extLst>
              <a:ext uri="{FF2B5EF4-FFF2-40B4-BE49-F238E27FC236}">
                <a16:creationId xmlns:a16="http://schemas.microsoft.com/office/drawing/2014/main" id="{C375A887-D5E3-4F99-9950-A79EB6CA9A6B}"/>
              </a:ext>
            </a:extLst>
          </p:cNvPr>
          <p:cNvSpPr>
            <a:spLocks/>
          </p:cNvSpPr>
          <p:nvPr/>
        </p:nvSpPr>
        <p:spPr bwMode="auto">
          <a:xfrm>
            <a:off x="4886764" y="4667208"/>
            <a:ext cx="220462" cy="150078"/>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5" name="Freeform 745">
            <a:extLst>
              <a:ext uri="{FF2B5EF4-FFF2-40B4-BE49-F238E27FC236}">
                <a16:creationId xmlns:a16="http://schemas.microsoft.com/office/drawing/2014/main" id="{D68A8DB0-4D69-4C87-A962-C8F9E969D524}"/>
              </a:ext>
            </a:extLst>
          </p:cNvPr>
          <p:cNvSpPr>
            <a:spLocks/>
          </p:cNvSpPr>
          <p:nvPr/>
        </p:nvSpPr>
        <p:spPr bwMode="auto">
          <a:xfrm>
            <a:off x="5134965" y="4665855"/>
            <a:ext cx="181042" cy="77068"/>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6" name="Freeform 746">
            <a:extLst>
              <a:ext uri="{FF2B5EF4-FFF2-40B4-BE49-F238E27FC236}">
                <a16:creationId xmlns:a16="http://schemas.microsoft.com/office/drawing/2014/main" id="{B027E49D-713A-4007-8722-5D14C2C7EACA}"/>
              </a:ext>
            </a:extLst>
          </p:cNvPr>
          <p:cNvSpPr>
            <a:spLocks/>
          </p:cNvSpPr>
          <p:nvPr/>
        </p:nvSpPr>
        <p:spPr bwMode="auto">
          <a:xfrm>
            <a:off x="5117445" y="4713178"/>
            <a:ext cx="116801" cy="79771"/>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7" name="Freeform 747">
            <a:extLst>
              <a:ext uri="{FF2B5EF4-FFF2-40B4-BE49-F238E27FC236}">
                <a16:creationId xmlns:a16="http://schemas.microsoft.com/office/drawing/2014/main" id="{8043C5E2-C7CB-4A63-B4D5-162D9FF00E21}"/>
              </a:ext>
            </a:extLst>
          </p:cNvPr>
          <p:cNvSpPr>
            <a:spLocks/>
          </p:cNvSpPr>
          <p:nvPr/>
        </p:nvSpPr>
        <p:spPr bwMode="auto">
          <a:xfrm>
            <a:off x="4333418" y="4638814"/>
            <a:ext cx="56941" cy="54083"/>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8" name="Freeform 748">
            <a:extLst>
              <a:ext uri="{FF2B5EF4-FFF2-40B4-BE49-F238E27FC236}">
                <a16:creationId xmlns:a16="http://schemas.microsoft.com/office/drawing/2014/main" id="{B55A0DD7-4E48-406D-93E4-0B3AE2F1CEF9}"/>
              </a:ext>
            </a:extLst>
          </p:cNvPr>
          <p:cNvSpPr>
            <a:spLocks/>
          </p:cNvSpPr>
          <p:nvPr/>
        </p:nvSpPr>
        <p:spPr bwMode="auto">
          <a:xfrm>
            <a:off x="4362618" y="4686137"/>
            <a:ext cx="29201" cy="52729"/>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9" name="Freeform 749">
            <a:extLst>
              <a:ext uri="{FF2B5EF4-FFF2-40B4-BE49-F238E27FC236}">
                <a16:creationId xmlns:a16="http://schemas.microsoft.com/office/drawing/2014/main" id="{91F4980C-1E3A-4BE7-A200-8DEF8ABE3F9D}"/>
              </a:ext>
            </a:extLst>
          </p:cNvPr>
          <p:cNvSpPr>
            <a:spLocks/>
          </p:cNvSpPr>
          <p:nvPr/>
        </p:nvSpPr>
        <p:spPr bwMode="auto">
          <a:xfrm>
            <a:off x="4209318" y="4567156"/>
            <a:ext cx="119721" cy="47322"/>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0" name="Freeform 750">
            <a:extLst>
              <a:ext uri="{FF2B5EF4-FFF2-40B4-BE49-F238E27FC236}">
                <a16:creationId xmlns:a16="http://schemas.microsoft.com/office/drawing/2014/main" id="{E211A3E5-A626-4167-82E1-6D2198386F44}"/>
              </a:ext>
            </a:extLst>
          </p:cNvPr>
          <p:cNvSpPr>
            <a:spLocks/>
          </p:cNvSpPr>
          <p:nvPr/>
        </p:nvSpPr>
        <p:spPr bwMode="auto">
          <a:xfrm>
            <a:off x="4107117" y="4515778"/>
            <a:ext cx="52561" cy="39209"/>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1" name="Freeform 751">
            <a:extLst>
              <a:ext uri="{FF2B5EF4-FFF2-40B4-BE49-F238E27FC236}">
                <a16:creationId xmlns:a16="http://schemas.microsoft.com/office/drawing/2014/main" id="{131EE606-1F8D-4B48-8188-352E524DF4AE}"/>
              </a:ext>
            </a:extLst>
          </p:cNvPr>
          <p:cNvSpPr>
            <a:spLocks/>
          </p:cNvSpPr>
          <p:nvPr/>
        </p:nvSpPr>
        <p:spPr bwMode="auto">
          <a:xfrm>
            <a:off x="4412258" y="4656392"/>
            <a:ext cx="99281" cy="52729"/>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2" name="Freeform 752">
            <a:extLst>
              <a:ext uri="{FF2B5EF4-FFF2-40B4-BE49-F238E27FC236}">
                <a16:creationId xmlns:a16="http://schemas.microsoft.com/office/drawing/2014/main" id="{7436FE4F-A3CC-4C95-902D-8B1D92D535B1}"/>
              </a:ext>
            </a:extLst>
          </p:cNvPr>
          <p:cNvSpPr>
            <a:spLocks/>
          </p:cNvSpPr>
          <p:nvPr/>
        </p:nvSpPr>
        <p:spPr bwMode="auto">
          <a:xfrm>
            <a:off x="4323199" y="4552282"/>
            <a:ext cx="90522" cy="37857"/>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3" name="Group 167">
            <a:extLst>
              <a:ext uri="{FF2B5EF4-FFF2-40B4-BE49-F238E27FC236}">
                <a16:creationId xmlns:a16="http://schemas.microsoft.com/office/drawing/2014/main" id="{DE3B1FBB-4F24-4945-9D06-9819C9B568DC}"/>
              </a:ext>
            </a:extLst>
          </p:cNvPr>
          <p:cNvGrpSpPr>
            <a:grpSpLocks/>
          </p:cNvGrpSpPr>
          <p:nvPr/>
        </p:nvGrpSpPr>
        <p:grpSpPr bwMode="auto">
          <a:xfrm>
            <a:off x="4188877" y="4385980"/>
            <a:ext cx="71541" cy="62194"/>
            <a:chOff x="3191" y="2547"/>
            <a:chExt cx="63" cy="55"/>
          </a:xfrm>
          <a:solidFill>
            <a:srgbClr val="00B050"/>
          </a:solidFill>
        </p:grpSpPr>
        <p:sp>
          <p:nvSpPr>
            <p:cNvPr id="260" name="Freeform 754">
              <a:extLst>
                <a:ext uri="{FF2B5EF4-FFF2-40B4-BE49-F238E27FC236}">
                  <a16:creationId xmlns:a16="http://schemas.microsoft.com/office/drawing/2014/main" id="{848A4F6B-0C2A-4B12-BC5C-BFB1B79291F2}"/>
                </a:ext>
              </a:extLst>
            </p:cNvPr>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1" name="Freeform 755">
              <a:extLst>
                <a:ext uri="{FF2B5EF4-FFF2-40B4-BE49-F238E27FC236}">
                  <a16:creationId xmlns:a16="http://schemas.microsoft.com/office/drawing/2014/main" id="{3B6A42B4-0FA5-4494-8935-4A0A8D921406}"/>
                </a:ext>
              </a:extLst>
            </p:cNvPr>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2" name="Freeform 756">
              <a:extLst>
                <a:ext uri="{FF2B5EF4-FFF2-40B4-BE49-F238E27FC236}">
                  <a16:creationId xmlns:a16="http://schemas.microsoft.com/office/drawing/2014/main" id="{C21EF6C5-637A-41A6-999A-A123A9FF536F}"/>
                </a:ext>
              </a:extLst>
            </p:cNvPr>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4" name="Freeform 757">
            <a:extLst>
              <a:ext uri="{FF2B5EF4-FFF2-40B4-BE49-F238E27FC236}">
                <a16:creationId xmlns:a16="http://schemas.microsoft.com/office/drawing/2014/main" id="{78505EE0-DBC4-400C-A718-6C2C024583C9}"/>
              </a:ext>
            </a:extLst>
          </p:cNvPr>
          <p:cNvSpPr>
            <a:spLocks/>
          </p:cNvSpPr>
          <p:nvPr/>
        </p:nvSpPr>
        <p:spPr bwMode="auto">
          <a:xfrm>
            <a:off x="4384520" y="4089879"/>
            <a:ext cx="170821" cy="250131"/>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5" name="Group 172">
            <a:extLst>
              <a:ext uri="{FF2B5EF4-FFF2-40B4-BE49-F238E27FC236}">
                <a16:creationId xmlns:a16="http://schemas.microsoft.com/office/drawing/2014/main" id="{ACD6C047-D92B-451C-881A-8F071319D4E8}"/>
              </a:ext>
            </a:extLst>
          </p:cNvPr>
          <p:cNvGrpSpPr>
            <a:grpSpLocks/>
          </p:cNvGrpSpPr>
          <p:nvPr/>
        </p:nvGrpSpPr>
        <p:grpSpPr bwMode="auto">
          <a:xfrm>
            <a:off x="3990316" y="4523903"/>
            <a:ext cx="219002" cy="185232"/>
            <a:chOff x="3019" y="2670"/>
            <a:chExt cx="190" cy="167"/>
          </a:xfrm>
          <a:solidFill>
            <a:srgbClr val="00B050"/>
          </a:solidFill>
        </p:grpSpPr>
        <p:sp>
          <p:nvSpPr>
            <p:cNvPr id="258" name="Freeform 759">
              <a:extLst>
                <a:ext uri="{FF2B5EF4-FFF2-40B4-BE49-F238E27FC236}">
                  <a16:creationId xmlns:a16="http://schemas.microsoft.com/office/drawing/2014/main" id="{BD7C503B-09D3-483C-BDBC-F26FD18A18F4}"/>
                </a:ext>
              </a:extLst>
            </p:cNvPr>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9" name="Freeform 760">
              <a:extLst>
                <a:ext uri="{FF2B5EF4-FFF2-40B4-BE49-F238E27FC236}">
                  <a16:creationId xmlns:a16="http://schemas.microsoft.com/office/drawing/2014/main" id="{33404832-32D5-4822-ABB4-AD4E015DE594}"/>
                </a:ext>
              </a:extLst>
            </p:cNvPr>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6" name="Freeform 761">
            <a:extLst>
              <a:ext uri="{FF2B5EF4-FFF2-40B4-BE49-F238E27FC236}">
                <a16:creationId xmlns:a16="http://schemas.microsoft.com/office/drawing/2014/main" id="{88B98B20-4520-41ED-9304-72DC955877E3}"/>
              </a:ext>
            </a:extLst>
          </p:cNvPr>
          <p:cNvSpPr>
            <a:spLocks/>
          </p:cNvSpPr>
          <p:nvPr/>
        </p:nvSpPr>
        <p:spPr bwMode="auto">
          <a:xfrm>
            <a:off x="4156757" y="4446822"/>
            <a:ext cx="132860" cy="147375"/>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7" name="Group 176">
            <a:extLst>
              <a:ext uri="{FF2B5EF4-FFF2-40B4-BE49-F238E27FC236}">
                <a16:creationId xmlns:a16="http://schemas.microsoft.com/office/drawing/2014/main" id="{1E8CE4FC-8542-4C58-AEAC-96EB4CD31F91}"/>
              </a:ext>
            </a:extLst>
          </p:cNvPr>
          <p:cNvGrpSpPr>
            <a:grpSpLocks/>
          </p:cNvGrpSpPr>
          <p:nvPr/>
        </p:nvGrpSpPr>
        <p:grpSpPr bwMode="auto">
          <a:xfrm>
            <a:off x="4377219" y="4699657"/>
            <a:ext cx="100741" cy="117629"/>
            <a:chOff x="3356" y="2828"/>
            <a:chExt cx="86" cy="106"/>
          </a:xfrm>
          <a:solidFill>
            <a:srgbClr val="00B050"/>
          </a:solidFill>
        </p:grpSpPr>
        <p:sp>
          <p:nvSpPr>
            <p:cNvPr id="256" name="Freeform 763">
              <a:extLst>
                <a:ext uri="{FF2B5EF4-FFF2-40B4-BE49-F238E27FC236}">
                  <a16:creationId xmlns:a16="http://schemas.microsoft.com/office/drawing/2014/main" id="{4AC67763-A7E7-44D7-BB4F-F145A5B5E7CC}"/>
                </a:ext>
              </a:extLst>
            </p:cNvPr>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7" name="Freeform 764">
              <a:extLst>
                <a:ext uri="{FF2B5EF4-FFF2-40B4-BE49-F238E27FC236}">
                  <a16:creationId xmlns:a16="http://schemas.microsoft.com/office/drawing/2014/main" id="{1313848B-8C14-4024-BD20-CE60618ECDBE}"/>
                </a:ext>
              </a:extLst>
            </p:cNvPr>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8" name="Freeform 765">
            <a:extLst>
              <a:ext uri="{FF2B5EF4-FFF2-40B4-BE49-F238E27FC236}">
                <a16:creationId xmlns:a16="http://schemas.microsoft.com/office/drawing/2014/main" id="{9E8DA2CC-D49D-41A6-B0D6-42D3BDA7D0F4}"/>
              </a:ext>
            </a:extLst>
          </p:cNvPr>
          <p:cNvSpPr>
            <a:spLocks/>
          </p:cNvSpPr>
          <p:nvPr/>
        </p:nvSpPr>
        <p:spPr bwMode="auto">
          <a:xfrm>
            <a:off x="4311519" y="4575268"/>
            <a:ext cx="108042" cy="52729"/>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9" name="Group 180">
            <a:extLst>
              <a:ext uri="{FF2B5EF4-FFF2-40B4-BE49-F238E27FC236}">
                <a16:creationId xmlns:a16="http://schemas.microsoft.com/office/drawing/2014/main" id="{155A94F1-B6C3-4A95-9ED1-AF256CBD2141}"/>
              </a:ext>
            </a:extLst>
          </p:cNvPr>
          <p:cNvGrpSpPr>
            <a:grpSpLocks/>
          </p:cNvGrpSpPr>
          <p:nvPr/>
        </p:nvGrpSpPr>
        <p:grpSpPr bwMode="auto">
          <a:xfrm>
            <a:off x="4166977" y="4602310"/>
            <a:ext cx="185421" cy="190639"/>
            <a:chOff x="3172" y="2740"/>
            <a:chExt cx="161" cy="170"/>
          </a:xfrm>
          <a:solidFill>
            <a:srgbClr val="00B050"/>
          </a:solidFill>
        </p:grpSpPr>
        <p:sp>
          <p:nvSpPr>
            <p:cNvPr id="253" name="Freeform 767">
              <a:extLst>
                <a:ext uri="{FF2B5EF4-FFF2-40B4-BE49-F238E27FC236}">
                  <a16:creationId xmlns:a16="http://schemas.microsoft.com/office/drawing/2014/main" id="{BB015216-6946-4F91-A441-9A7C82F9FFDE}"/>
                </a:ext>
              </a:extLst>
            </p:cNvPr>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4" name="Freeform 768">
              <a:extLst>
                <a:ext uri="{FF2B5EF4-FFF2-40B4-BE49-F238E27FC236}">
                  <a16:creationId xmlns:a16="http://schemas.microsoft.com/office/drawing/2014/main" id="{6D16BABE-42DC-4409-AD87-E6921DA14DCC}"/>
                </a:ext>
              </a:extLst>
            </p:cNvPr>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5" name="Freeform 769">
              <a:extLst>
                <a:ext uri="{FF2B5EF4-FFF2-40B4-BE49-F238E27FC236}">
                  <a16:creationId xmlns:a16="http://schemas.microsoft.com/office/drawing/2014/main" id="{884A3FEA-302A-4650-B628-684E3877AEB4}"/>
                </a:ext>
              </a:extLst>
            </p:cNvPr>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60" name="Freeform 770">
            <a:extLst>
              <a:ext uri="{FF2B5EF4-FFF2-40B4-BE49-F238E27FC236}">
                <a16:creationId xmlns:a16="http://schemas.microsoft.com/office/drawing/2014/main" id="{5C3FA1B3-B4AC-48D4-B714-2D1BA93D0790}"/>
              </a:ext>
            </a:extLst>
          </p:cNvPr>
          <p:cNvSpPr>
            <a:spLocks/>
          </p:cNvSpPr>
          <p:nvPr/>
        </p:nvSpPr>
        <p:spPr bwMode="auto">
          <a:xfrm>
            <a:off x="4150918" y="4542819"/>
            <a:ext cx="8760" cy="14872"/>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1" name="Freeform 771">
            <a:extLst>
              <a:ext uri="{FF2B5EF4-FFF2-40B4-BE49-F238E27FC236}">
                <a16:creationId xmlns:a16="http://schemas.microsoft.com/office/drawing/2014/main" id="{541E197F-4044-4204-8FDA-395AE323CACE}"/>
              </a:ext>
            </a:extLst>
          </p:cNvPr>
          <p:cNvSpPr>
            <a:spLocks/>
          </p:cNvSpPr>
          <p:nvPr/>
        </p:nvSpPr>
        <p:spPr bwMode="auto">
          <a:xfrm>
            <a:off x="4117337" y="4479272"/>
            <a:ext cx="58401" cy="54083"/>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2" name="Freeform 772">
            <a:extLst>
              <a:ext uri="{FF2B5EF4-FFF2-40B4-BE49-F238E27FC236}">
                <a16:creationId xmlns:a16="http://schemas.microsoft.com/office/drawing/2014/main" id="{87E0E64E-A590-4A08-8106-4F02B5C7D002}"/>
              </a:ext>
            </a:extLst>
          </p:cNvPr>
          <p:cNvSpPr>
            <a:spLocks/>
          </p:cNvSpPr>
          <p:nvPr/>
        </p:nvSpPr>
        <p:spPr bwMode="auto">
          <a:xfrm>
            <a:off x="4139237" y="4061487"/>
            <a:ext cx="405884" cy="316381"/>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3" name="Freeform 773">
            <a:extLst>
              <a:ext uri="{FF2B5EF4-FFF2-40B4-BE49-F238E27FC236}">
                <a16:creationId xmlns:a16="http://schemas.microsoft.com/office/drawing/2014/main" id="{71EA5F10-6A1F-4BE6-B877-E41B6C053DD0}"/>
              </a:ext>
            </a:extLst>
          </p:cNvPr>
          <p:cNvSpPr>
            <a:spLocks/>
          </p:cNvSpPr>
          <p:nvPr/>
        </p:nvSpPr>
        <p:spPr bwMode="auto">
          <a:xfrm>
            <a:off x="4282318" y="4449527"/>
            <a:ext cx="156221" cy="117629"/>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4" name="Freeform 774">
            <a:extLst>
              <a:ext uri="{FF2B5EF4-FFF2-40B4-BE49-F238E27FC236}">
                <a16:creationId xmlns:a16="http://schemas.microsoft.com/office/drawing/2014/main" id="{F0F68B0B-B377-4B7D-9268-E3F776C48BF9}"/>
              </a:ext>
            </a:extLst>
          </p:cNvPr>
          <p:cNvSpPr>
            <a:spLocks/>
          </p:cNvSpPr>
          <p:nvPr/>
        </p:nvSpPr>
        <p:spPr bwMode="auto">
          <a:xfrm>
            <a:off x="3918775" y="4699657"/>
            <a:ext cx="49641" cy="85178"/>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5" name="Freeform 775">
            <a:extLst>
              <a:ext uri="{FF2B5EF4-FFF2-40B4-BE49-F238E27FC236}">
                <a16:creationId xmlns:a16="http://schemas.microsoft.com/office/drawing/2014/main" id="{C5E2B2CD-FB89-4C8F-B686-E9E311344422}"/>
              </a:ext>
            </a:extLst>
          </p:cNvPr>
          <p:cNvSpPr>
            <a:spLocks/>
          </p:cNvSpPr>
          <p:nvPr/>
        </p:nvSpPr>
        <p:spPr bwMode="auto">
          <a:xfrm>
            <a:off x="4377219" y="4580676"/>
            <a:ext cx="148921" cy="85178"/>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6" name="Freeform 776">
            <a:extLst>
              <a:ext uri="{FF2B5EF4-FFF2-40B4-BE49-F238E27FC236}">
                <a16:creationId xmlns:a16="http://schemas.microsoft.com/office/drawing/2014/main" id="{08CE1BAD-B909-4C15-B25E-0DB0122FF7B0}"/>
              </a:ext>
            </a:extLst>
          </p:cNvPr>
          <p:cNvSpPr>
            <a:spLocks/>
          </p:cNvSpPr>
          <p:nvPr/>
        </p:nvSpPr>
        <p:spPr bwMode="auto">
          <a:xfrm>
            <a:off x="3920236" y="4665855"/>
            <a:ext cx="192721" cy="135206"/>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7" name="Freeform 777">
            <a:extLst>
              <a:ext uri="{FF2B5EF4-FFF2-40B4-BE49-F238E27FC236}">
                <a16:creationId xmlns:a16="http://schemas.microsoft.com/office/drawing/2014/main" id="{DA557A7B-858E-40EE-A7F1-8A77F519D6EA}"/>
              </a:ext>
            </a:extLst>
          </p:cNvPr>
          <p:cNvSpPr>
            <a:spLocks/>
          </p:cNvSpPr>
          <p:nvPr/>
        </p:nvSpPr>
        <p:spPr bwMode="auto">
          <a:xfrm>
            <a:off x="4237057" y="4115569"/>
            <a:ext cx="201481" cy="320437"/>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8" name="Freeform 778">
            <a:extLst>
              <a:ext uri="{FF2B5EF4-FFF2-40B4-BE49-F238E27FC236}">
                <a16:creationId xmlns:a16="http://schemas.microsoft.com/office/drawing/2014/main" id="{01515CE9-46BA-4B0A-951F-C33D9C9A402F}"/>
              </a:ext>
            </a:extLst>
          </p:cNvPr>
          <p:cNvSpPr>
            <a:spLocks/>
          </p:cNvSpPr>
          <p:nvPr/>
        </p:nvSpPr>
        <p:spPr bwMode="auto">
          <a:xfrm>
            <a:off x="4156757" y="4591493"/>
            <a:ext cx="70080" cy="35154"/>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9" name="Freeform 779">
            <a:extLst>
              <a:ext uri="{FF2B5EF4-FFF2-40B4-BE49-F238E27FC236}">
                <a16:creationId xmlns:a16="http://schemas.microsoft.com/office/drawing/2014/main" id="{3F8CDBC1-9629-45C2-A85E-CA02DB9041EA}"/>
              </a:ext>
            </a:extLst>
          </p:cNvPr>
          <p:cNvSpPr>
            <a:spLocks/>
          </p:cNvSpPr>
          <p:nvPr/>
        </p:nvSpPr>
        <p:spPr bwMode="auto">
          <a:xfrm>
            <a:off x="4470660" y="4699657"/>
            <a:ext cx="43801" cy="32449"/>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70" name="Group 194">
            <a:extLst>
              <a:ext uri="{FF2B5EF4-FFF2-40B4-BE49-F238E27FC236}">
                <a16:creationId xmlns:a16="http://schemas.microsoft.com/office/drawing/2014/main" id="{80B637A0-BA7C-425C-A0AF-B3E80B4AEC83}"/>
              </a:ext>
            </a:extLst>
          </p:cNvPr>
          <p:cNvGrpSpPr>
            <a:grpSpLocks/>
          </p:cNvGrpSpPr>
          <p:nvPr/>
        </p:nvGrpSpPr>
        <p:grpSpPr bwMode="auto">
          <a:xfrm>
            <a:off x="3904207" y="4368361"/>
            <a:ext cx="186884" cy="178469"/>
            <a:chOff x="2942" y="2530"/>
            <a:chExt cx="163" cy="161"/>
          </a:xfrm>
          <a:solidFill>
            <a:srgbClr val="00B050"/>
          </a:solidFill>
        </p:grpSpPr>
        <p:sp>
          <p:nvSpPr>
            <p:cNvPr id="248" name="Freeform 781">
              <a:extLst>
                <a:ext uri="{FF2B5EF4-FFF2-40B4-BE49-F238E27FC236}">
                  <a16:creationId xmlns:a16="http://schemas.microsoft.com/office/drawing/2014/main" id="{FB4D28D9-4023-4A47-99FC-62C7EC792373}"/>
                </a:ext>
              </a:extLst>
            </p:cNvPr>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9" name="Freeform 782">
              <a:extLst>
                <a:ext uri="{FF2B5EF4-FFF2-40B4-BE49-F238E27FC236}">
                  <a16:creationId xmlns:a16="http://schemas.microsoft.com/office/drawing/2014/main" id="{B1394C94-FF2C-4788-8280-D38679147605}"/>
                </a:ext>
              </a:extLst>
            </p:cNvPr>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0" name="Freeform 783">
              <a:extLst>
                <a:ext uri="{FF2B5EF4-FFF2-40B4-BE49-F238E27FC236}">
                  <a16:creationId xmlns:a16="http://schemas.microsoft.com/office/drawing/2014/main" id="{816DF731-9397-45CC-9DE6-BB914CD9AA52}"/>
                </a:ext>
              </a:extLst>
            </p:cNvPr>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1" name="Freeform 784">
              <a:extLst>
                <a:ext uri="{FF2B5EF4-FFF2-40B4-BE49-F238E27FC236}">
                  <a16:creationId xmlns:a16="http://schemas.microsoft.com/office/drawing/2014/main" id="{E5AA8E9A-B1B5-4B37-8D2F-1CEA3595297D}"/>
                </a:ext>
              </a:extLst>
            </p:cNvPr>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2" name="Freeform 785">
              <a:extLst>
                <a:ext uri="{FF2B5EF4-FFF2-40B4-BE49-F238E27FC236}">
                  <a16:creationId xmlns:a16="http://schemas.microsoft.com/office/drawing/2014/main" id="{0F32216C-9D5C-4ABD-BA85-DCF960936CA7}"/>
                </a:ext>
              </a:extLst>
            </p:cNvPr>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71" name="Freeform 786">
            <a:extLst>
              <a:ext uri="{FF2B5EF4-FFF2-40B4-BE49-F238E27FC236}">
                <a16:creationId xmlns:a16="http://schemas.microsoft.com/office/drawing/2014/main" id="{963AD41B-26F5-4D47-AD53-8AC2972B2A93}"/>
              </a:ext>
            </a:extLst>
          </p:cNvPr>
          <p:cNvSpPr>
            <a:spLocks/>
          </p:cNvSpPr>
          <p:nvPr/>
        </p:nvSpPr>
        <p:spPr bwMode="auto">
          <a:xfrm>
            <a:off x="4426858" y="4427893"/>
            <a:ext cx="125561" cy="98700"/>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2" name="Freeform 787">
            <a:extLst>
              <a:ext uri="{FF2B5EF4-FFF2-40B4-BE49-F238E27FC236}">
                <a16:creationId xmlns:a16="http://schemas.microsoft.com/office/drawing/2014/main" id="{A95BECF4-65E0-4E20-8E81-BF2D70CA24FA}"/>
              </a:ext>
            </a:extLst>
          </p:cNvPr>
          <p:cNvSpPr>
            <a:spLocks/>
          </p:cNvSpPr>
          <p:nvPr/>
        </p:nvSpPr>
        <p:spPr bwMode="auto">
          <a:xfrm>
            <a:off x="4409339" y="4498200"/>
            <a:ext cx="275943" cy="155487"/>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3" name="Freeform 788">
            <a:extLst>
              <a:ext uri="{FF2B5EF4-FFF2-40B4-BE49-F238E27FC236}">
                <a16:creationId xmlns:a16="http://schemas.microsoft.com/office/drawing/2014/main" id="{A82C2CB6-9C1B-463B-B201-2EDC9A84F804}"/>
              </a:ext>
            </a:extLst>
          </p:cNvPr>
          <p:cNvSpPr>
            <a:spLocks/>
          </p:cNvSpPr>
          <p:nvPr/>
        </p:nvSpPr>
        <p:spPr bwMode="auto">
          <a:xfrm>
            <a:off x="4479420" y="4577971"/>
            <a:ext cx="51101" cy="55434"/>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4" name="Freeform 789">
            <a:extLst>
              <a:ext uri="{FF2B5EF4-FFF2-40B4-BE49-F238E27FC236}">
                <a16:creationId xmlns:a16="http://schemas.microsoft.com/office/drawing/2014/main" id="{F13E0817-830A-4419-9E5B-A121B77DA6DD}"/>
              </a:ext>
            </a:extLst>
          </p:cNvPr>
          <p:cNvSpPr>
            <a:spLocks/>
          </p:cNvSpPr>
          <p:nvPr/>
        </p:nvSpPr>
        <p:spPr bwMode="auto">
          <a:xfrm>
            <a:off x="4429779" y="4340011"/>
            <a:ext cx="80301" cy="52729"/>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5" name="Freeform 790">
            <a:extLst>
              <a:ext uri="{FF2B5EF4-FFF2-40B4-BE49-F238E27FC236}">
                <a16:creationId xmlns:a16="http://schemas.microsoft.com/office/drawing/2014/main" id="{8E6C7D94-2CCA-4C44-B3CB-82E170208E8E}"/>
              </a:ext>
            </a:extLst>
          </p:cNvPr>
          <p:cNvSpPr>
            <a:spLocks/>
          </p:cNvSpPr>
          <p:nvPr/>
        </p:nvSpPr>
        <p:spPr bwMode="auto">
          <a:xfrm>
            <a:off x="4368459" y="4408965"/>
            <a:ext cx="125561" cy="62194"/>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6" name="Freeform 791">
            <a:extLst>
              <a:ext uri="{FF2B5EF4-FFF2-40B4-BE49-F238E27FC236}">
                <a16:creationId xmlns:a16="http://schemas.microsoft.com/office/drawing/2014/main" id="{D658C2E5-253C-49B8-9139-B1A75693B43B}"/>
              </a:ext>
            </a:extLst>
          </p:cNvPr>
          <p:cNvSpPr>
            <a:spLocks/>
          </p:cNvSpPr>
          <p:nvPr/>
        </p:nvSpPr>
        <p:spPr bwMode="auto">
          <a:xfrm>
            <a:off x="4390358" y="4384627"/>
            <a:ext cx="108042" cy="43265"/>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7" name="Freeform 792">
            <a:extLst>
              <a:ext uri="{FF2B5EF4-FFF2-40B4-BE49-F238E27FC236}">
                <a16:creationId xmlns:a16="http://schemas.microsoft.com/office/drawing/2014/main" id="{59202752-5754-4DE6-B2D6-DF32F10E5DC8}"/>
              </a:ext>
            </a:extLst>
          </p:cNvPr>
          <p:cNvSpPr>
            <a:spLocks/>
          </p:cNvSpPr>
          <p:nvPr/>
        </p:nvSpPr>
        <p:spPr bwMode="auto">
          <a:xfrm>
            <a:off x="4276478" y="4605013"/>
            <a:ext cx="52561" cy="28393"/>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8" name="Freeform 793">
            <a:extLst>
              <a:ext uri="{FF2B5EF4-FFF2-40B4-BE49-F238E27FC236}">
                <a16:creationId xmlns:a16="http://schemas.microsoft.com/office/drawing/2014/main" id="{7D1A9FB2-D060-4515-BD88-6FCAEAF225BE}"/>
              </a:ext>
            </a:extLst>
          </p:cNvPr>
          <p:cNvSpPr>
            <a:spLocks/>
          </p:cNvSpPr>
          <p:nvPr/>
        </p:nvSpPr>
        <p:spPr bwMode="auto">
          <a:xfrm>
            <a:off x="4385979" y="4695601"/>
            <a:ext cx="39420" cy="21633"/>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9" name="Freeform 794">
            <a:extLst>
              <a:ext uri="{FF2B5EF4-FFF2-40B4-BE49-F238E27FC236}">
                <a16:creationId xmlns:a16="http://schemas.microsoft.com/office/drawing/2014/main" id="{A4200E5E-8CC9-48B5-AA45-0716870EB5D3}"/>
              </a:ext>
            </a:extLst>
          </p:cNvPr>
          <p:cNvSpPr>
            <a:spLocks/>
          </p:cNvSpPr>
          <p:nvPr/>
        </p:nvSpPr>
        <p:spPr bwMode="auto">
          <a:xfrm>
            <a:off x="4352399" y="4621237"/>
            <a:ext cx="67161" cy="86532"/>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0" name="Freeform 795">
            <a:extLst>
              <a:ext uri="{FF2B5EF4-FFF2-40B4-BE49-F238E27FC236}">
                <a16:creationId xmlns:a16="http://schemas.microsoft.com/office/drawing/2014/main" id="{88387600-1A81-43F5-A5F6-E595CC546449}"/>
              </a:ext>
            </a:extLst>
          </p:cNvPr>
          <p:cNvSpPr>
            <a:spLocks/>
          </p:cNvSpPr>
          <p:nvPr/>
        </p:nvSpPr>
        <p:spPr bwMode="auto">
          <a:xfrm>
            <a:off x="4273559" y="4615830"/>
            <a:ext cx="108042" cy="75715"/>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1" name="Freeform 796">
            <a:extLst>
              <a:ext uri="{FF2B5EF4-FFF2-40B4-BE49-F238E27FC236}">
                <a16:creationId xmlns:a16="http://schemas.microsoft.com/office/drawing/2014/main" id="{992FA9DF-63EC-429A-BF35-AE164E2FF638}"/>
              </a:ext>
            </a:extLst>
          </p:cNvPr>
          <p:cNvSpPr>
            <a:spLocks/>
          </p:cNvSpPr>
          <p:nvPr/>
        </p:nvSpPr>
        <p:spPr bwMode="auto">
          <a:xfrm>
            <a:off x="3928435" y="4784959"/>
            <a:ext cx="318103" cy="295042"/>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2" name="Freeform 797">
            <a:extLst>
              <a:ext uri="{FF2B5EF4-FFF2-40B4-BE49-F238E27FC236}">
                <a16:creationId xmlns:a16="http://schemas.microsoft.com/office/drawing/2014/main" id="{92554E69-034D-4A5C-9380-796DF5D21CBE}"/>
              </a:ext>
            </a:extLst>
          </p:cNvPr>
          <p:cNvSpPr>
            <a:spLocks/>
          </p:cNvSpPr>
          <p:nvPr/>
        </p:nvSpPr>
        <p:spPr bwMode="auto">
          <a:xfrm>
            <a:off x="4666480" y="4779393"/>
            <a:ext cx="155619" cy="139171"/>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3" name="Freeform 798">
            <a:extLst>
              <a:ext uri="{FF2B5EF4-FFF2-40B4-BE49-F238E27FC236}">
                <a16:creationId xmlns:a16="http://schemas.microsoft.com/office/drawing/2014/main" id="{D33F1956-7744-4394-A0B6-5DC6187179A1}"/>
              </a:ext>
            </a:extLst>
          </p:cNvPr>
          <p:cNvSpPr>
            <a:spLocks/>
          </p:cNvSpPr>
          <p:nvPr/>
        </p:nvSpPr>
        <p:spPr bwMode="auto">
          <a:xfrm>
            <a:off x="4603546" y="4866236"/>
            <a:ext cx="329546" cy="267209"/>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4" name="Freeform 799">
            <a:extLst>
              <a:ext uri="{FF2B5EF4-FFF2-40B4-BE49-F238E27FC236}">
                <a16:creationId xmlns:a16="http://schemas.microsoft.com/office/drawing/2014/main" id="{C4D285CB-4C4F-400C-B984-87DC8A9E1D18}"/>
              </a:ext>
            </a:extLst>
          </p:cNvPr>
          <p:cNvSpPr>
            <a:spLocks/>
          </p:cNvSpPr>
          <p:nvPr/>
        </p:nvSpPr>
        <p:spPr bwMode="auto">
          <a:xfrm>
            <a:off x="4616133" y="4781620"/>
            <a:ext cx="112137" cy="83502"/>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5" name="Freeform 800">
            <a:extLst>
              <a:ext uri="{FF2B5EF4-FFF2-40B4-BE49-F238E27FC236}">
                <a16:creationId xmlns:a16="http://schemas.microsoft.com/office/drawing/2014/main" id="{2BE5A517-FA3C-44CF-972A-C5B15864EF7F}"/>
              </a:ext>
            </a:extLst>
          </p:cNvPr>
          <p:cNvSpPr>
            <a:spLocks/>
          </p:cNvSpPr>
          <p:nvPr/>
        </p:nvSpPr>
        <p:spPr bwMode="auto">
          <a:xfrm>
            <a:off x="4859859" y="4966439"/>
            <a:ext cx="82387" cy="55669"/>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6" name="Freeform 801">
            <a:extLst>
              <a:ext uri="{FF2B5EF4-FFF2-40B4-BE49-F238E27FC236}">
                <a16:creationId xmlns:a16="http://schemas.microsoft.com/office/drawing/2014/main" id="{2AF56B3E-A4A0-4E78-9F27-6E1F86480A6E}"/>
              </a:ext>
            </a:extLst>
          </p:cNvPr>
          <p:cNvSpPr>
            <a:spLocks/>
          </p:cNvSpPr>
          <p:nvPr/>
        </p:nvSpPr>
        <p:spPr bwMode="auto">
          <a:xfrm>
            <a:off x="4740857" y="5078889"/>
            <a:ext cx="151042" cy="99090"/>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7" name="Freeform 802">
            <a:extLst>
              <a:ext uri="{FF2B5EF4-FFF2-40B4-BE49-F238E27FC236}">
                <a16:creationId xmlns:a16="http://schemas.microsoft.com/office/drawing/2014/main" id="{65BAB392-D000-4FDD-8FB1-AE51D60AF3F4}"/>
              </a:ext>
            </a:extLst>
          </p:cNvPr>
          <p:cNvSpPr>
            <a:spLocks/>
          </p:cNvSpPr>
          <p:nvPr/>
        </p:nvSpPr>
        <p:spPr bwMode="auto">
          <a:xfrm>
            <a:off x="4728270" y="5104496"/>
            <a:ext cx="58357" cy="73483"/>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8" name="Freeform 803">
            <a:extLst>
              <a:ext uri="{FF2B5EF4-FFF2-40B4-BE49-F238E27FC236}">
                <a16:creationId xmlns:a16="http://schemas.microsoft.com/office/drawing/2014/main" id="{D02BDEA7-490D-491D-ADE1-354D74062D97}"/>
              </a:ext>
            </a:extLst>
          </p:cNvPr>
          <p:cNvSpPr>
            <a:spLocks/>
          </p:cNvSpPr>
          <p:nvPr/>
        </p:nvSpPr>
        <p:spPr bwMode="auto">
          <a:xfrm>
            <a:off x="4243106" y="5455207"/>
            <a:ext cx="199100" cy="189272"/>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9" name="Freeform 804">
            <a:extLst>
              <a:ext uri="{FF2B5EF4-FFF2-40B4-BE49-F238E27FC236}">
                <a16:creationId xmlns:a16="http://schemas.microsoft.com/office/drawing/2014/main" id="{E6CC3D2F-DB61-47E2-8F82-35A70A7033D1}"/>
              </a:ext>
            </a:extLst>
          </p:cNvPr>
          <p:cNvSpPr>
            <a:spLocks/>
          </p:cNvSpPr>
          <p:nvPr/>
        </p:nvSpPr>
        <p:spPr bwMode="auto">
          <a:xfrm>
            <a:off x="4248827" y="5439620"/>
            <a:ext cx="17164" cy="16700"/>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0" name="Freeform 805">
            <a:extLst>
              <a:ext uri="{FF2B5EF4-FFF2-40B4-BE49-F238E27FC236}">
                <a16:creationId xmlns:a16="http://schemas.microsoft.com/office/drawing/2014/main" id="{A13D6358-E032-4D42-8B3A-BB647533A52A}"/>
              </a:ext>
            </a:extLst>
          </p:cNvPr>
          <p:cNvSpPr>
            <a:spLocks/>
          </p:cNvSpPr>
          <p:nvPr/>
        </p:nvSpPr>
        <p:spPr bwMode="auto">
          <a:xfrm>
            <a:off x="4373551" y="5638913"/>
            <a:ext cx="146465" cy="142511"/>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1" name="Freeform 806">
            <a:extLst>
              <a:ext uri="{FF2B5EF4-FFF2-40B4-BE49-F238E27FC236}">
                <a16:creationId xmlns:a16="http://schemas.microsoft.com/office/drawing/2014/main" id="{2B54C7EB-4521-4D8E-8CC8-3C3AFB6C9D5D}"/>
              </a:ext>
            </a:extLst>
          </p:cNvPr>
          <p:cNvSpPr>
            <a:spLocks/>
          </p:cNvSpPr>
          <p:nvPr/>
        </p:nvSpPr>
        <p:spPr bwMode="auto">
          <a:xfrm>
            <a:off x="4516583" y="5403992"/>
            <a:ext cx="28607" cy="31174"/>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2" name="Freeform 807">
            <a:extLst>
              <a:ext uri="{FF2B5EF4-FFF2-40B4-BE49-F238E27FC236}">
                <a16:creationId xmlns:a16="http://schemas.microsoft.com/office/drawing/2014/main" id="{56F9B48F-62FA-48FD-A47B-AEF05EC56DEE}"/>
              </a:ext>
            </a:extLst>
          </p:cNvPr>
          <p:cNvSpPr>
            <a:spLocks/>
          </p:cNvSpPr>
          <p:nvPr/>
        </p:nvSpPr>
        <p:spPr bwMode="auto">
          <a:xfrm>
            <a:off x="4193903" y="5175752"/>
            <a:ext cx="121291" cy="170345"/>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3" name="Freeform 808">
            <a:extLst>
              <a:ext uri="{FF2B5EF4-FFF2-40B4-BE49-F238E27FC236}">
                <a16:creationId xmlns:a16="http://schemas.microsoft.com/office/drawing/2014/main" id="{4462D747-86EA-41CA-8F26-DE6608A116F0}"/>
              </a:ext>
            </a:extLst>
          </p:cNvPr>
          <p:cNvSpPr>
            <a:spLocks/>
          </p:cNvSpPr>
          <p:nvPr/>
        </p:nvSpPr>
        <p:spPr bwMode="auto">
          <a:xfrm>
            <a:off x="4290020" y="5202473"/>
            <a:ext cx="203678" cy="123584"/>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4" name="Freeform 809">
            <a:extLst>
              <a:ext uri="{FF2B5EF4-FFF2-40B4-BE49-F238E27FC236}">
                <a16:creationId xmlns:a16="http://schemas.microsoft.com/office/drawing/2014/main" id="{DBBD5777-1E56-4ABE-BA16-5C74CE9A0EA7}"/>
              </a:ext>
            </a:extLst>
          </p:cNvPr>
          <p:cNvSpPr>
            <a:spLocks/>
          </p:cNvSpPr>
          <p:nvPr/>
        </p:nvSpPr>
        <p:spPr bwMode="auto">
          <a:xfrm>
            <a:off x="4271712" y="5008747"/>
            <a:ext cx="168205" cy="249395"/>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5" name="Freeform 810">
            <a:extLst>
              <a:ext uri="{FF2B5EF4-FFF2-40B4-BE49-F238E27FC236}">
                <a16:creationId xmlns:a16="http://schemas.microsoft.com/office/drawing/2014/main" id="{7D7286B1-9422-4310-B4C2-615AF19EAACA}"/>
              </a:ext>
            </a:extLst>
          </p:cNvPr>
          <p:cNvSpPr>
            <a:spLocks/>
          </p:cNvSpPr>
          <p:nvPr/>
        </p:nvSpPr>
        <p:spPr bwMode="auto">
          <a:xfrm>
            <a:off x="4236240" y="5312696"/>
            <a:ext cx="119002" cy="132491"/>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6" name="Freeform 811">
            <a:extLst>
              <a:ext uri="{FF2B5EF4-FFF2-40B4-BE49-F238E27FC236}">
                <a16:creationId xmlns:a16="http://schemas.microsoft.com/office/drawing/2014/main" id="{D40F5B22-E2AA-4258-9265-F1FF9ED960F4}"/>
              </a:ext>
            </a:extLst>
          </p:cNvPr>
          <p:cNvSpPr>
            <a:spLocks/>
          </p:cNvSpPr>
          <p:nvPr/>
        </p:nvSpPr>
        <p:spPr bwMode="auto">
          <a:xfrm>
            <a:off x="4254548" y="5291543"/>
            <a:ext cx="297506" cy="278342"/>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7" name="Freeform 812">
            <a:extLst>
              <a:ext uri="{FF2B5EF4-FFF2-40B4-BE49-F238E27FC236}">
                <a16:creationId xmlns:a16="http://schemas.microsoft.com/office/drawing/2014/main" id="{AD4D240B-D50A-4D70-8C0B-977F83984D3A}"/>
              </a:ext>
            </a:extLst>
          </p:cNvPr>
          <p:cNvSpPr>
            <a:spLocks/>
          </p:cNvSpPr>
          <p:nvPr/>
        </p:nvSpPr>
        <p:spPr bwMode="auto">
          <a:xfrm>
            <a:off x="4568074" y="4807227"/>
            <a:ext cx="37760" cy="20041"/>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8" name="Freeform 813">
            <a:extLst>
              <a:ext uri="{FF2B5EF4-FFF2-40B4-BE49-F238E27FC236}">
                <a16:creationId xmlns:a16="http://schemas.microsoft.com/office/drawing/2014/main" id="{6CE44318-CD7E-445D-B758-E7779777C82F}"/>
              </a:ext>
            </a:extLst>
          </p:cNvPr>
          <p:cNvSpPr>
            <a:spLocks/>
          </p:cNvSpPr>
          <p:nvPr/>
        </p:nvSpPr>
        <p:spPr bwMode="auto">
          <a:xfrm>
            <a:off x="4077188" y="5180206"/>
            <a:ext cx="43481" cy="94637"/>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9" name="Freeform 814">
            <a:extLst>
              <a:ext uri="{FF2B5EF4-FFF2-40B4-BE49-F238E27FC236}">
                <a16:creationId xmlns:a16="http://schemas.microsoft.com/office/drawing/2014/main" id="{1F0F724B-E44F-41E4-8A14-AE2C600D3B37}"/>
              </a:ext>
            </a:extLst>
          </p:cNvPr>
          <p:cNvSpPr>
            <a:spLocks/>
          </p:cNvSpPr>
          <p:nvPr/>
        </p:nvSpPr>
        <p:spPr bwMode="auto">
          <a:xfrm>
            <a:off x="4209922" y="5334964"/>
            <a:ext cx="29751" cy="20041"/>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0" name="Freeform 815">
            <a:extLst>
              <a:ext uri="{FF2B5EF4-FFF2-40B4-BE49-F238E27FC236}">
                <a16:creationId xmlns:a16="http://schemas.microsoft.com/office/drawing/2014/main" id="{86E37F85-C5A4-488E-B339-0F0F15565748}"/>
              </a:ext>
            </a:extLst>
          </p:cNvPr>
          <p:cNvSpPr>
            <a:spLocks/>
          </p:cNvSpPr>
          <p:nvPr/>
        </p:nvSpPr>
        <p:spPr bwMode="auto">
          <a:xfrm>
            <a:off x="4577228" y="5093363"/>
            <a:ext cx="236861" cy="223787"/>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1" name="Freeform 816">
            <a:extLst>
              <a:ext uri="{FF2B5EF4-FFF2-40B4-BE49-F238E27FC236}">
                <a16:creationId xmlns:a16="http://schemas.microsoft.com/office/drawing/2014/main" id="{B1F3E296-E0F1-42B3-8EB5-18834C3DEF2D}"/>
              </a:ext>
            </a:extLst>
          </p:cNvPr>
          <p:cNvSpPr>
            <a:spLocks/>
          </p:cNvSpPr>
          <p:nvPr/>
        </p:nvSpPr>
        <p:spPr bwMode="auto">
          <a:xfrm>
            <a:off x="4715683" y="5175752"/>
            <a:ext cx="25174" cy="30061"/>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2" name="Freeform 817">
            <a:extLst>
              <a:ext uri="{FF2B5EF4-FFF2-40B4-BE49-F238E27FC236}">
                <a16:creationId xmlns:a16="http://schemas.microsoft.com/office/drawing/2014/main" id="{BCB202AA-2A16-4C5C-AA67-6AFAFA8F6938}"/>
              </a:ext>
            </a:extLst>
          </p:cNvPr>
          <p:cNvSpPr>
            <a:spLocks/>
          </p:cNvSpPr>
          <p:nvPr/>
        </p:nvSpPr>
        <p:spPr bwMode="auto">
          <a:xfrm>
            <a:off x="4198479" y="5334964"/>
            <a:ext cx="88108" cy="94637"/>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3" name="Freeform 818">
            <a:extLst>
              <a:ext uri="{FF2B5EF4-FFF2-40B4-BE49-F238E27FC236}">
                <a16:creationId xmlns:a16="http://schemas.microsoft.com/office/drawing/2014/main" id="{0C93BDFC-9980-4906-BF18-DAD7D5B3E82D}"/>
              </a:ext>
            </a:extLst>
          </p:cNvPr>
          <p:cNvSpPr>
            <a:spLocks/>
          </p:cNvSpPr>
          <p:nvPr/>
        </p:nvSpPr>
        <p:spPr bwMode="auto">
          <a:xfrm>
            <a:off x="3801422" y="5162392"/>
            <a:ext cx="48059" cy="8907"/>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4" name="Freeform 819">
            <a:extLst>
              <a:ext uri="{FF2B5EF4-FFF2-40B4-BE49-F238E27FC236}">
                <a16:creationId xmlns:a16="http://schemas.microsoft.com/office/drawing/2014/main" id="{2483B080-5A2E-4F13-B9A0-DEDEF8079900}"/>
              </a:ext>
            </a:extLst>
          </p:cNvPr>
          <p:cNvSpPr>
            <a:spLocks/>
          </p:cNvSpPr>
          <p:nvPr/>
        </p:nvSpPr>
        <p:spPr bwMode="auto">
          <a:xfrm>
            <a:off x="4015399" y="5199133"/>
            <a:ext cx="67511" cy="99090"/>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5" name="Freeform 820">
            <a:extLst>
              <a:ext uri="{FF2B5EF4-FFF2-40B4-BE49-F238E27FC236}">
                <a16:creationId xmlns:a16="http://schemas.microsoft.com/office/drawing/2014/main" id="{7F1B88CC-77FA-4556-9E9A-EBE75920496C}"/>
              </a:ext>
            </a:extLst>
          </p:cNvPr>
          <p:cNvSpPr>
            <a:spLocks/>
          </p:cNvSpPr>
          <p:nvPr/>
        </p:nvSpPr>
        <p:spPr bwMode="auto">
          <a:xfrm>
            <a:off x="3828885" y="5175752"/>
            <a:ext cx="115570" cy="82389"/>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6" name="Freeform 821">
            <a:extLst>
              <a:ext uri="{FF2B5EF4-FFF2-40B4-BE49-F238E27FC236}">
                <a16:creationId xmlns:a16="http://schemas.microsoft.com/office/drawing/2014/main" id="{003FC4C7-BA5E-490B-A4F1-1C0EFED6FB87}"/>
              </a:ext>
            </a:extLst>
          </p:cNvPr>
          <p:cNvSpPr>
            <a:spLocks/>
          </p:cNvSpPr>
          <p:nvPr/>
        </p:nvSpPr>
        <p:spPr bwMode="auto">
          <a:xfrm>
            <a:off x="4761453" y="4915224"/>
            <a:ext cx="29751" cy="8907"/>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7" name="Freeform 822">
            <a:extLst>
              <a:ext uri="{FF2B5EF4-FFF2-40B4-BE49-F238E27FC236}">
                <a16:creationId xmlns:a16="http://schemas.microsoft.com/office/drawing/2014/main" id="{9BD2EF94-3A1F-4B1E-8B71-180E83DE23F4}"/>
              </a:ext>
            </a:extLst>
          </p:cNvPr>
          <p:cNvSpPr>
            <a:spLocks/>
          </p:cNvSpPr>
          <p:nvPr/>
        </p:nvSpPr>
        <p:spPr bwMode="auto">
          <a:xfrm>
            <a:off x="4593248" y="4849535"/>
            <a:ext cx="25174" cy="64575"/>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8" name="Freeform 823">
            <a:extLst>
              <a:ext uri="{FF2B5EF4-FFF2-40B4-BE49-F238E27FC236}">
                <a16:creationId xmlns:a16="http://schemas.microsoft.com/office/drawing/2014/main" id="{EAEDBD41-082E-45BA-8113-5C661357A1E7}"/>
              </a:ext>
            </a:extLst>
          </p:cNvPr>
          <p:cNvSpPr>
            <a:spLocks/>
          </p:cNvSpPr>
          <p:nvPr/>
        </p:nvSpPr>
        <p:spPr bwMode="auto">
          <a:xfrm>
            <a:off x="3929579" y="5205813"/>
            <a:ext cx="92684" cy="96863"/>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9" name="Freeform 824">
            <a:extLst>
              <a:ext uri="{FF2B5EF4-FFF2-40B4-BE49-F238E27FC236}">
                <a16:creationId xmlns:a16="http://schemas.microsoft.com/office/drawing/2014/main" id="{BC07ED43-92C0-4463-BE91-75D378245AC3}"/>
              </a:ext>
            </a:extLst>
          </p:cNvPr>
          <p:cNvSpPr>
            <a:spLocks/>
          </p:cNvSpPr>
          <p:nvPr/>
        </p:nvSpPr>
        <p:spPr bwMode="auto">
          <a:xfrm>
            <a:off x="4605834" y="4846195"/>
            <a:ext cx="68655" cy="72369"/>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0" name="Freeform 825">
            <a:extLst>
              <a:ext uri="{FF2B5EF4-FFF2-40B4-BE49-F238E27FC236}">
                <a16:creationId xmlns:a16="http://schemas.microsoft.com/office/drawing/2014/main" id="{193E87B5-9C63-4375-B210-A66A1AFCCF6F}"/>
              </a:ext>
            </a:extLst>
          </p:cNvPr>
          <p:cNvSpPr>
            <a:spLocks/>
          </p:cNvSpPr>
          <p:nvPr/>
        </p:nvSpPr>
        <p:spPr bwMode="auto">
          <a:xfrm>
            <a:off x="4593248" y="5299336"/>
            <a:ext cx="124724" cy="140284"/>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1" name="Freeform 826">
            <a:extLst>
              <a:ext uri="{FF2B5EF4-FFF2-40B4-BE49-F238E27FC236}">
                <a16:creationId xmlns:a16="http://schemas.microsoft.com/office/drawing/2014/main" id="{793AFA17-087D-46AE-869B-60FF321E751B}"/>
              </a:ext>
            </a:extLst>
          </p:cNvPr>
          <p:cNvSpPr>
            <a:spLocks/>
          </p:cNvSpPr>
          <p:nvPr/>
        </p:nvSpPr>
        <p:spPr bwMode="auto">
          <a:xfrm>
            <a:off x="4790060" y="4902977"/>
            <a:ext cx="28607" cy="24494"/>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2" name="Freeform 827">
            <a:extLst>
              <a:ext uri="{FF2B5EF4-FFF2-40B4-BE49-F238E27FC236}">
                <a16:creationId xmlns:a16="http://schemas.microsoft.com/office/drawing/2014/main" id="{84307B0E-2C20-4123-9CAA-1D24370C93CD}"/>
              </a:ext>
            </a:extLst>
          </p:cNvPr>
          <p:cNvSpPr>
            <a:spLocks/>
          </p:cNvSpPr>
          <p:nvPr/>
        </p:nvSpPr>
        <p:spPr bwMode="auto">
          <a:xfrm>
            <a:off x="4609267" y="4823927"/>
            <a:ext cx="25174" cy="27834"/>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3" name="Freeform 828">
            <a:extLst>
              <a:ext uri="{FF2B5EF4-FFF2-40B4-BE49-F238E27FC236}">
                <a16:creationId xmlns:a16="http://schemas.microsoft.com/office/drawing/2014/main" id="{77A30CF6-910C-42F4-A2AF-820286EDA0EC}"/>
              </a:ext>
            </a:extLst>
          </p:cNvPr>
          <p:cNvSpPr>
            <a:spLocks/>
          </p:cNvSpPr>
          <p:nvPr/>
        </p:nvSpPr>
        <p:spPr bwMode="auto">
          <a:xfrm>
            <a:off x="3884953" y="5241441"/>
            <a:ext cx="62934" cy="6123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4" name="Freeform 829">
            <a:extLst>
              <a:ext uri="{FF2B5EF4-FFF2-40B4-BE49-F238E27FC236}">
                <a16:creationId xmlns:a16="http://schemas.microsoft.com/office/drawing/2014/main" id="{3F674640-2E1D-4DFF-B01D-3A3488930238}"/>
              </a:ext>
            </a:extLst>
          </p:cNvPr>
          <p:cNvSpPr>
            <a:spLocks/>
          </p:cNvSpPr>
          <p:nvPr/>
        </p:nvSpPr>
        <p:spPr bwMode="auto">
          <a:xfrm>
            <a:off x="4208778" y="4850649"/>
            <a:ext cx="244871" cy="221560"/>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5" name="Freeform 830">
            <a:extLst>
              <a:ext uri="{FF2B5EF4-FFF2-40B4-BE49-F238E27FC236}">
                <a16:creationId xmlns:a16="http://schemas.microsoft.com/office/drawing/2014/main" id="{85D81B0A-8416-497A-99DC-67F35F0AD3D9}"/>
              </a:ext>
            </a:extLst>
          </p:cNvPr>
          <p:cNvSpPr>
            <a:spLocks/>
          </p:cNvSpPr>
          <p:nvPr/>
        </p:nvSpPr>
        <p:spPr bwMode="auto">
          <a:xfrm>
            <a:off x="4735135" y="5553184"/>
            <a:ext cx="110993" cy="21154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6" name="Freeform 831">
            <a:extLst>
              <a:ext uri="{FF2B5EF4-FFF2-40B4-BE49-F238E27FC236}">
                <a16:creationId xmlns:a16="http://schemas.microsoft.com/office/drawing/2014/main" id="{C18ABAB0-2722-4783-84A2-5634D23EAA75}"/>
              </a:ext>
            </a:extLst>
          </p:cNvPr>
          <p:cNvSpPr>
            <a:spLocks/>
          </p:cNvSpPr>
          <p:nvPr/>
        </p:nvSpPr>
        <p:spPr bwMode="auto">
          <a:xfrm>
            <a:off x="4573795" y="5510876"/>
            <a:ext cx="51492" cy="119130"/>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7" name="Freeform 832">
            <a:extLst>
              <a:ext uri="{FF2B5EF4-FFF2-40B4-BE49-F238E27FC236}">
                <a16:creationId xmlns:a16="http://schemas.microsoft.com/office/drawing/2014/main" id="{EFCB03DB-03D6-4A91-8CBD-792B0C10DE69}"/>
              </a:ext>
            </a:extLst>
          </p:cNvPr>
          <p:cNvSpPr>
            <a:spLocks/>
          </p:cNvSpPr>
          <p:nvPr/>
        </p:nvSpPr>
        <p:spPr bwMode="auto">
          <a:xfrm>
            <a:off x="3874655" y="4984252"/>
            <a:ext cx="252881" cy="231581"/>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8" name="Freeform 833">
            <a:extLst>
              <a:ext uri="{FF2B5EF4-FFF2-40B4-BE49-F238E27FC236}">
                <a16:creationId xmlns:a16="http://schemas.microsoft.com/office/drawing/2014/main" id="{C59BD9FB-1B30-423F-B1D7-751A58E65F2D}"/>
              </a:ext>
            </a:extLst>
          </p:cNvPr>
          <p:cNvSpPr>
            <a:spLocks/>
          </p:cNvSpPr>
          <p:nvPr/>
        </p:nvSpPr>
        <p:spPr bwMode="auto">
          <a:xfrm>
            <a:off x="3797990" y="4947511"/>
            <a:ext cx="191090" cy="197066"/>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9" name="Freeform 834">
            <a:extLst>
              <a:ext uri="{FF2B5EF4-FFF2-40B4-BE49-F238E27FC236}">
                <a16:creationId xmlns:a16="http://schemas.microsoft.com/office/drawing/2014/main" id="{EFA08614-7E06-47B4-99AF-2865D4F47977}"/>
              </a:ext>
            </a:extLst>
          </p:cNvPr>
          <p:cNvSpPr>
            <a:spLocks/>
          </p:cNvSpPr>
          <p:nvPr/>
        </p:nvSpPr>
        <p:spPr bwMode="auto">
          <a:xfrm>
            <a:off x="3859780" y="4807227"/>
            <a:ext cx="184226" cy="135831"/>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0" name="Freeform 835">
            <a:extLst>
              <a:ext uri="{FF2B5EF4-FFF2-40B4-BE49-F238E27FC236}">
                <a16:creationId xmlns:a16="http://schemas.microsoft.com/office/drawing/2014/main" id="{444A65E3-4F6F-4AFB-87EC-33F20023A968}"/>
              </a:ext>
            </a:extLst>
          </p:cNvPr>
          <p:cNvSpPr>
            <a:spLocks/>
          </p:cNvSpPr>
          <p:nvPr/>
        </p:nvSpPr>
        <p:spPr bwMode="auto">
          <a:xfrm>
            <a:off x="4530313" y="5527576"/>
            <a:ext cx="165917" cy="25384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1" name="Freeform 836">
            <a:extLst>
              <a:ext uri="{FF2B5EF4-FFF2-40B4-BE49-F238E27FC236}">
                <a16:creationId xmlns:a16="http://schemas.microsoft.com/office/drawing/2014/main" id="{E4377BC2-14F9-4CD6-A14C-C44A4E3AA617}"/>
              </a:ext>
            </a:extLst>
          </p:cNvPr>
          <p:cNvSpPr>
            <a:spLocks/>
          </p:cNvSpPr>
          <p:nvPr/>
        </p:nvSpPr>
        <p:spPr bwMode="auto">
          <a:xfrm>
            <a:off x="4065746" y="5007634"/>
            <a:ext cx="248303" cy="184819"/>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2" name="Freeform 837">
            <a:extLst>
              <a:ext uri="{FF2B5EF4-FFF2-40B4-BE49-F238E27FC236}">
                <a16:creationId xmlns:a16="http://schemas.microsoft.com/office/drawing/2014/main" id="{5CCF650A-0F72-4561-8E58-2343C3DBFEBE}"/>
              </a:ext>
            </a:extLst>
          </p:cNvPr>
          <p:cNvSpPr>
            <a:spLocks/>
          </p:cNvSpPr>
          <p:nvPr/>
        </p:nvSpPr>
        <p:spPr bwMode="auto">
          <a:xfrm>
            <a:off x="4106939" y="5159051"/>
            <a:ext cx="181937" cy="146965"/>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3" name="Freeform 838">
            <a:extLst>
              <a:ext uri="{FF2B5EF4-FFF2-40B4-BE49-F238E27FC236}">
                <a16:creationId xmlns:a16="http://schemas.microsoft.com/office/drawing/2014/main" id="{63CA195B-A87C-444E-8191-3ECC991AB875}"/>
              </a:ext>
            </a:extLst>
          </p:cNvPr>
          <p:cNvSpPr>
            <a:spLocks/>
          </p:cNvSpPr>
          <p:nvPr/>
        </p:nvSpPr>
        <p:spPr bwMode="auto">
          <a:xfrm>
            <a:off x="3801422" y="5175752"/>
            <a:ext cx="48059" cy="28947"/>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4" name="Freeform 839">
            <a:extLst>
              <a:ext uri="{FF2B5EF4-FFF2-40B4-BE49-F238E27FC236}">
                <a16:creationId xmlns:a16="http://schemas.microsoft.com/office/drawing/2014/main" id="{1BF71304-587F-4508-A321-52BEFDF494DC}"/>
              </a:ext>
            </a:extLst>
          </p:cNvPr>
          <p:cNvSpPr>
            <a:spLocks/>
          </p:cNvSpPr>
          <p:nvPr/>
        </p:nvSpPr>
        <p:spPr bwMode="auto">
          <a:xfrm>
            <a:off x="4855282" y="4966439"/>
            <a:ext cx="10298" cy="25608"/>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5" name="Freeform 840">
            <a:extLst>
              <a:ext uri="{FF2B5EF4-FFF2-40B4-BE49-F238E27FC236}">
                <a16:creationId xmlns:a16="http://schemas.microsoft.com/office/drawing/2014/main" id="{D74CE2DA-D7AA-4661-A52B-C9D5B3290A9A}"/>
              </a:ext>
            </a:extLst>
          </p:cNvPr>
          <p:cNvSpPr>
            <a:spLocks/>
          </p:cNvSpPr>
          <p:nvPr/>
        </p:nvSpPr>
        <p:spPr bwMode="auto">
          <a:xfrm>
            <a:off x="4516583" y="5383952"/>
            <a:ext cx="27462" cy="25608"/>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6" name="Freeform 841">
            <a:extLst>
              <a:ext uri="{FF2B5EF4-FFF2-40B4-BE49-F238E27FC236}">
                <a16:creationId xmlns:a16="http://schemas.microsoft.com/office/drawing/2014/main" id="{551F1F9D-E21B-4640-B8C7-C60950AB302D}"/>
              </a:ext>
            </a:extLst>
          </p:cNvPr>
          <p:cNvSpPr>
            <a:spLocks/>
          </p:cNvSpPr>
          <p:nvPr/>
        </p:nvSpPr>
        <p:spPr bwMode="auto">
          <a:xfrm>
            <a:off x="3788836" y="5115630"/>
            <a:ext cx="98406" cy="64575"/>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7" name="Freeform 842">
            <a:extLst>
              <a:ext uri="{FF2B5EF4-FFF2-40B4-BE49-F238E27FC236}">
                <a16:creationId xmlns:a16="http://schemas.microsoft.com/office/drawing/2014/main" id="{936ED875-F3AB-4A18-8E6A-F9C7C270CF02}"/>
              </a:ext>
            </a:extLst>
          </p:cNvPr>
          <p:cNvSpPr>
            <a:spLocks/>
          </p:cNvSpPr>
          <p:nvPr/>
        </p:nvSpPr>
        <p:spPr bwMode="auto">
          <a:xfrm>
            <a:off x="3855202" y="5218060"/>
            <a:ext cx="50347" cy="46761"/>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8" name="Freeform 843">
            <a:extLst>
              <a:ext uri="{FF2B5EF4-FFF2-40B4-BE49-F238E27FC236}">
                <a16:creationId xmlns:a16="http://schemas.microsoft.com/office/drawing/2014/main" id="{430A0786-7BD9-46DA-A610-519693964F01}"/>
              </a:ext>
            </a:extLst>
          </p:cNvPr>
          <p:cNvSpPr>
            <a:spLocks/>
          </p:cNvSpPr>
          <p:nvPr/>
        </p:nvSpPr>
        <p:spPr bwMode="auto">
          <a:xfrm>
            <a:off x="4704240" y="5187999"/>
            <a:ext cx="160196" cy="2070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9" name="Freeform 844">
            <a:extLst>
              <a:ext uri="{FF2B5EF4-FFF2-40B4-BE49-F238E27FC236}">
                <a16:creationId xmlns:a16="http://schemas.microsoft.com/office/drawing/2014/main" id="{DBAC6905-1A25-4E2C-90D6-5580DDEDDB85}"/>
              </a:ext>
            </a:extLst>
          </p:cNvPr>
          <p:cNvSpPr>
            <a:spLocks/>
          </p:cNvSpPr>
          <p:nvPr/>
        </p:nvSpPr>
        <p:spPr bwMode="auto">
          <a:xfrm>
            <a:off x="4454793" y="5605513"/>
            <a:ext cx="123580" cy="110224"/>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0" name="Freeform 845">
            <a:extLst>
              <a:ext uri="{FF2B5EF4-FFF2-40B4-BE49-F238E27FC236}">
                <a16:creationId xmlns:a16="http://schemas.microsoft.com/office/drawing/2014/main" id="{63E38F12-2AAD-4FA1-88BA-4655424B7ABA}"/>
              </a:ext>
            </a:extLst>
          </p:cNvPr>
          <p:cNvSpPr>
            <a:spLocks/>
          </p:cNvSpPr>
          <p:nvPr/>
        </p:nvSpPr>
        <p:spPr bwMode="auto">
          <a:xfrm>
            <a:off x="4243106" y="5625553"/>
            <a:ext cx="212832" cy="194840"/>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1" name="Freeform 846">
            <a:extLst>
              <a:ext uri="{FF2B5EF4-FFF2-40B4-BE49-F238E27FC236}">
                <a16:creationId xmlns:a16="http://schemas.microsoft.com/office/drawing/2014/main" id="{4BD50ED2-1085-45E9-834B-CC17883DC947}"/>
              </a:ext>
            </a:extLst>
          </p:cNvPr>
          <p:cNvSpPr>
            <a:spLocks/>
          </p:cNvSpPr>
          <p:nvPr/>
        </p:nvSpPr>
        <p:spPr bwMode="auto">
          <a:xfrm>
            <a:off x="3797990" y="4939718"/>
            <a:ext cx="132734" cy="1079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2" name="Freeform 847">
            <a:extLst>
              <a:ext uri="{FF2B5EF4-FFF2-40B4-BE49-F238E27FC236}">
                <a16:creationId xmlns:a16="http://schemas.microsoft.com/office/drawing/2014/main" id="{6E77A66E-2021-43C9-8F5F-B91B3DF1E257}"/>
              </a:ext>
            </a:extLst>
          </p:cNvPr>
          <p:cNvSpPr>
            <a:spLocks/>
          </p:cNvSpPr>
          <p:nvPr/>
        </p:nvSpPr>
        <p:spPr bwMode="auto">
          <a:xfrm>
            <a:off x="4405590" y="5014313"/>
            <a:ext cx="259746" cy="30061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3" name="Freeform 848">
            <a:extLst>
              <a:ext uri="{FF2B5EF4-FFF2-40B4-BE49-F238E27FC236}">
                <a16:creationId xmlns:a16="http://schemas.microsoft.com/office/drawing/2014/main" id="{EBD29889-D0B4-43B9-8442-B91A3B9BE83C}"/>
              </a:ext>
            </a:extLst>
          </p:cNvPr>
          <p:cNvSpPr>
            <a:spLocks/>
          </p:cNvSpPr>
          <p:nvPr/>
        </p:nvSpPr>
        <p:spPr bwMode="auto">
          <a:xfrm>
            <a:off x="4544045" y="5764724"/>
            <a:ext cx="19452" cy="25608"/>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4" name="Freeform 849">
            <a:extLst>
              <a:ext uri="{FF2B5EF4-FFF2-40B4-BE49-F238E27FC236}">
                <a16:creationId xmlns:a16="http://schemas.microsoft.com/office/drawing/2014/main" id="{21F0D43F-287D-4CDA-B746-2C8A66A82376}"/>
              </a:ext>
            </a:extLst>
          </p:cNvPr>
          <p:cNvSpPr>
            <a:spLocks/>
          </p:cNvSpPr>
          <p:nvPr/>
        </p:nvSpPr>
        <p:spPr bwMode="auto">
          <a:xfrm>
            <a:off x="4526881" y="5382839"/>
            <a:ext cx="169350" cy="162552"/>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5" name="Freeform 850">
            <a:extLst>
              <a:ext uri="{FF2B5EF4-FFF2-40B4-BE49-F238E27FC236}">
                <a16:creationId xmlns:a16="http://schemas.microsoft.com/office/drawing/2014/main" id="{ABF8C690-9AB9-49DF-AC8F-3A1B953C7881}"/>
              </a:ext>
            </a:extLst>
          </p:cNvPr>
          <p:cNvSpPr>
            <a:spLocks/>
          </p:cNvSpPr>
          <p:nvPr/>
        </p:nvSpPr>
        <p:spPr bwMode="auto">
          <a:xfrm>
            <a:off x="4060024" y="5199133"/>
            <a:ext cx="34328" cy="79049"/>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6" name="Freeform 851">
            <a:extLst>
              <a:ext uri="{FF2B5EF4-FFF2-40B4-BE49-F238E27FC236}">
                <a16:creationId xmlns:a16="http://schemas.microsoft.com/office/drawing/2014/main" id="{E3F0EFE2-BC71-410C-B51D-B34F896014ED}"/>
              </a:ext>
            </a:extLst>
          </p:cNvPr>
          <p:cNvSpPr>
            <a:spLocks/>
          </p:cNvSpPr>
          <p:nvPr/>
        </p:nvSpPr>
        <p:spPr bwMode="auto">
          <a:xfrm>
            <a:off x="4526881" y="5308243"/>
            <a:ext cx="84675" cy="81276"/>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7" name="Freeform 852">
            <a:extLst>
              <a:ext uri="{FF2B5EF4-FFF2-40B4-BE49-F238E27FC236}">
                <a16:creationId xmlns:a16="http://schemas.microsoft.com/office/drawing/2014/main" id="{54372FEB-36D5-41EF-9588-6403ECD97FEB}"/>
              </a:ext>
            </a:extLst>
          </p:cNvPr>
          <p:cNvSpPr>
            <a:spLocks/>
          </p:cNvSpPr>
          <p:nvPr/>
        </p:nvSpPr>
        <p:spPr bwMode="auto">
          <a:xfrm>
            <a:off x="4445639" y="4875142"/>
            <a:ext cx="176215" cy="160325"/>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8" name="Freeform 853">
            <a:extLst>
              <a:ext uri="{FF2B5EF4-FFF2-40B4-BE49-F238E27FC236}">
                <a16:creationId xmlns:a16="http://schemas.microsoft.com/office/drawing/2014/main" id="{EF6C8537-8511-49E7-A9E1-0022384E5493}"/>
              </a:ext>
            </a:extLst>
          </p:cNvPr>
          <p:cNvSpPr>
            <a:spLocks/>
          </p:cNvSpPr>
          <p:nvPr/>
        </p:nvSpPr>
        <p:spPr bwMode="auto">
          <a:xfrm>
            <a:off x="3982215" y="5141237"/>
            <a:ext cx="117858" cy="8461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9" name="Freeform 854">
            <a:extLst>
              <a:ext uri="{FF2B5EF4-FFF2-40B4-BE49-F238E27FC236}">
                <a16:creationId xmlns:a16="http://schemas.microsoft.com/office/drawing/2014/main" id="{469F0A00-47B2-4DDD-BF87-88A646D345DE}"/>
              </a:ext>
            </a:extLst>
          </p:cNvPr>
          <p:cNvSpPr>
            <a:spLocks/>
          </p:cNvSpPr>
          <p:nvPr/>
        </p:nvSpPr>
        <p:spPr bwMode="auto">
          <a:xfrm>
            <a:off x="4405590" y="5491948"/>
            <a:ext cx="185370" cy="149191"/>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0" name="Freeform 855">
            <a:extLst>
              <a:ext uri="{FF2B5EF4-FFF2-40B4-BE49-F238E27FC236}">
                <a16:creationId xmlns:a16="http://schemas.microsoft.com/office/drawing/2014/main" id="{30CB3E4B-42C8-4DF2-B739-CF227DDC8E73}"/>
              </a:ext>
            </a:extLst>
          </p:cNvPr>
          <p:cNvSpPr>
            <a:spLocks/>
          </p:cNvSpPr>
          <p:nvPr/>
        </p:nvSpPr>
        <p:spPr bwMode="auto">
          <a:xfrm>
            <a:off x="4319771" y="5707942"/>
            <a:ext cx="256314" cy="200407"/>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1" name="Freeform 856">
            <a:extLst>
              <a:ext uri="{FF2B5EF4-FFF2-40B4-BE49-F238E27FC236}">
                <a16:creationId xmlns:a16="http://schemas.microsoft.com/office/drawing/2014/main" id="{3CFFF04C-0086-4A1E-9B0B-90F93BCE689C}"/>
              </a:ext>
            </a:extLst>
          </p:cNvPr>
          <p:cNvSpPr>
            <a:spLocks/>
          </p:cNvSpPr>
          <p:nvPr/>
        </p:nvSpPr>
        <p:spPr bwMode="auto">
          <a:xfrm>
            <a:off x="4484543" y="5814826"/>
            <a:ext cx="36616" cy="36741"/>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2" name="Freeform 857">
            <a:extLst>
              <a:ext uri="{FF2B5EF4-FFF2-40B4-BE49-F238E27FC236}">
                <a16:creationId xmlns:a16="http://schemas.microsoft.com/office/drawing/2014/main" id="{796536A7-650A-470B-B60A-89CB4DCDAE12}"/>
              </a:ext>
            </a:extLst>
          </p:cNvPr>
          <p:cNvSpPr>
            <a:spLocks/>
          </p:cNvSpPr>
          <p:nvPr/>
        </p:nvSpPr>
        <p:spPr bwMode="auto">
          <a:xfrm>
            <a:off x="4200768" y="4825041"/>
            <a:ext cx="49203" cy="30061"/>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3" name="Freeform 858">
            <a:extLst>
              <a:ext uri="{FF2B5EF4-FFF2-40B4-BE49-F238E27FC236}">
                <a16:creationId xmlns:a16="http://schemas.microsoft.com/office/drawing/2014/main" id="{28B07DF0-DD4F-4107-9049-E64C336BD23E}"/>
              </a:ext>
            </a:extLst>
          </p:cNvPr>
          <p:cNvSpPr>
            <a:spLocks/>
          </p:cNvSpPr>
          <p:nvPr/>
        </p:nvSpPr>
        <p:spPr bwMode="auto">
          <a:xfrm>
            <a:off x="4177883" y="4783846"/>
            <a:ext cx="62934" cy="114677"/>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4" name="Freeform 859">
            <a:extLst>
              <a:ext uri="{FF2B5EF4-FFF2-40B4-BE49-F238E27FC236}">
                <a16:creationId xmlns:a16="http://schemas.microsoft.com/office/drawing/2014/main" id="{6222FCC7-32FF-4D0B-84C0-6C5967B837B7}"/>
              </a:ext>
            </a:extLst>
          </p:cNvPr>
          <p:cNvSpPr>
            <a:spLocks/>
          </p:cNvSpPr>
          <p:nvPr/>
        </p:nvSpPr>
        <p:spPr bwMode="auto">
          <a:xfrm>
            <a:off x="4247281" y="4523887"/>
            <a:ext cx="105121" cy="45970"/>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5" name="Freeform 860">
            <a:extLst>
              <a:ext uri="{FF2B5EF4-FFF2-40B4-BE49-F238E27FC236}">
                <a16:creationId xmlns:a16="http://schemas.microsoft.com/office/drawing/2014/main" id="{E86832F6-2D52-4754-BB9D-E56F6A7E8713}"/>
              </a:ext>
            </a:extLst>
          </p:cNvPr>
          <p:cNvSpPr>
            <a:spLocks/>
          </p:cNvSpPr>
          <p:nvPr/>
        </p:nvSpPr>
        <p:spPr bwMode="auto">
          <a:xfrm>
            <a:off x="4393287" y="4408949"/>
            <a:ext cx="89061" cy="66251"/>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6" name="Freeform 861">
            <a:extLst>
              <a:ext uri="{FF2B5EF4-FFF2-40B4-BE49-F238E27FC236}">
                <a16:creationId xmlns:a16="http://schemas.microsoft.com/office/drawing/2014/main" id="{1D89F624-F74E-456A-AF09-7B4A51BE1AA0}"/>
              </a:ext>
            </a:extLst>
          </p:cNvPr>
          <p:cNvSpPr>
            <a:spLocks/>
          </p:cNvSpPr>
          <p:nvPr/>
        </p:nvSpPr>
        <p:spPr bwMode="auto">
          <a:xfrm>
            <a:off x="4368478" y="4430582"/>
            <a:ext cx="51101" cy="32449"/>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7" name="Freeform 862">
            <a:extLst>
              <a:ext uri="{FF2B5EF4-FFF2-40B4-BE49-F238E27FC236}">
                <a16:creationId xmlns:a16="http://schemas.microsoft.com/office/drawing/2014/main" id="{4F937EC5-8BD0-4FB5-A35C-E02B89B93606}"/>
              </a:ext>
            </a:extLst>
          </p:cNvPr>
          <p:cNvSpPr/>
          <p:nvPr/>
        </p:nvSpPr>
        <p:spPr bwMode="auto">
          <a:xfrm>
            <a:off x="5352654" y="5920384"/>
            <a:ext cx="115174" cy="186522"/>
          </a:xfrm>
          <a:custGeom>
            <a:avLst/>
            <a:gdLst>
              <a:gd name="connsiteX0" fmla="*/ 91373 w 171041"/>
              <a:gd name="connsiteY0" fmla="*/ 28656 h 209754"/>
              <a:gd name="connsiteX1" fmla="*/ 156688 w 171041"/>
              <a:gd name="connsiteY1" fmla="*/ 13583 h 209754"/>
              <a:gd name="connsiteX2" fmla="*/ 156688 w 171041"/>
              <a:gd name="connsiteY2" fmla="*/ 204502 h 209754"/>
              <a:gd name="connsiteX3" fmla="*/ 938 w 171041"/>
              <a:gd name="connsiteY3" fmla="*/ 154260 h 209754"/>
              <a:gd name="connsiteX4" fmla="*/ 91373 w 171041"/>
              <a:gd name="connsiteY4" fmla="*/ 134164 h 209754"/>
              <a:gd name="connsiteX5" fmla="*/ 91373 w 171041"/>
              <a:gd name="connsiteY5" fmla="*/ 28656 h 20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041" h="209754">
                <a:moveTo>
                  <a:pt x="91373" y="28656"/>
                </a:moveTo>
                <a:cubicBezTo>
                  <a:pt x="102259" y="8559"/>
                  <a:pt x="145802" y="-15725"/>
                  <a:pt x="156688" y="13583"/>
                </a:cubicBezTo>
                <a:cubicBezTo>
                  <a:pt x="167574" y="42891"/>
                  <a:pt x="182646" y="181056"/>
                  <a:pt x="156688" y="204502"/>
                </a:cubicBezTo>
                <a:cubicBezTo>
                  <a:pt x="130730" y="227948"/>
                  <a:pt x="11824" y="165983"/>
                  <a:pt x="938" y="154260"/>
                </a:cubicBezTo>
                <a:cubicBezTo>
                  <a:pt x="-9948" y="142537"/>
                  <a:pt x="77138" y="150911"/>
                  <a:pt x="91373" y="134164"/>
                </a:cubicBezTo>
                <a:cubicBezTo>
                  <a:pt x="105608" y="117417"/>
                  <a:pt x="80487" y="48753"/>
                  <a:pt x="91373" y="28656"/>
                </a:cubicBezTo>
                <a:close/>
              </a:path>
            </a:pathLst>
          </a:custGeom>
          <a:solidFill>
            <a:srgbClr val="00B050"/>
          </a:solidFill>
          <a:ln w="12700">
            <a:solidFill>
              <a:srgbClr val="FFFFFF"/>
            </a:solidFill>
            <a:round/>
            <a:headEnd/>
            <a:tailEnd/>
          </a:ln>
        </p:spPr>
        <p:txBody>
          <a:bodyPr lIns="0" tIns="0" rIns="0" bIns="0" anchor="ctr">
            <a:spAutoFit/>
          </a:bodyPr>
          <a:lstStyle/>
          <a:p>
            <a:endParaRPr lang="en-US" kern="0" dirty="0">
              <a:solidFill>
                <a:sysClr val="windowText" lastClr="000000"/>
              </a:solidFill>
            </a:endParaRPr>
          </a:p>
        </p:txBody>
      </p:sp>
      <p:sp>
        <p:nvSpPr>
          <p:cNvPr id="317" name="Graphic 7" descr="Rating Star with solid fill">
            <a:extLst>
              <a:ext uri="{FF2B5EF4-FFF2-40B4-BE49-F238E27FC236}">
                <a16:creationId xmlns:a16="http://schemas.microsoft.com/office/drawing/2014/main" id="{57846E48-217C-4B20-8EAA-F792C5644C39}"/>
              </a:ext>
            </a:extLst>
          </p:cNvPr>
          <p:cNvSpPr/>
          <p:nvPr/>
        </p:nvSpPr>
        <p:spPr>
          <a:xfrm>
            <a:off x="8166351"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sp>
        <p:nvSpPr>
          <p:cNvPr id="318" name="Graphic 7" descr="Rating Star with solid fill">
            <a:extLst>
              <a:ext uri="{FF2B5EF4-FFF2-40B4-BE49-F238E27FC236}">
                <a16:creationId xmlns:a16="http://schemas.microsoft.com/office/drawing/2014/main" id="{7DCF6023-52B1-4514-840B-3C2A31F07EAD}"/>
              </a:ext>
            </a:extLst>
          </p:cNvPr>
          <p:cNvSpPr/>
          <p:nvPr/>
        </p:nvSpPr>
        <p:spPr>
          <a:xfrm>
            <a:off x="8757478"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pic>
        <p:nvPicPr>
          <p:cNvPr id="10" name="Picture 9">
            <a:extLst>
              <a:ext uri="{FF2B5EF4-FFF2-40B4-BE49-F238E27FC236}">
                <a16:creationId xmlns:a16="http://schemas.microsoft.com/office/drawing/2014/main" id="{A0DB830C-4F68-4EF8-8A4E-2C8D67FD264F}"/>
              </a:ext>
            </a:extLst>
          </p:cNvPr>
          <p:cNvPicPr>
            <a:picLocks noChangeAspect="1"/>
          </p:cNvPicPr>
          <p:nvPr/>
        </p:nvPicPr>
        <p:blipFill rotWithShape="1">
          <a:blip r:embed="rId6"/>
          <a:srcRect t="1" r="49909" b="-904"/>
          <a:stretch/>
        </p:blipFill>
        <p:spPr>
          <a:xfrm>
            <a:off x="9042650" y="2116831"/>
            <a:ext cx="439751" cy="295275"/>
          </a:xfrm>
          <a:prstGeom prst="rect">
            <a:avLst/>
          </a:prstGeom>
        </p:spPr>
      </p:pic>
      <p:sp>
        <p:nvSpPr>
          <p:cNvPr id="11" name="TextBox 10">
            <a:extLst>
              <a:ext uri="{FF2B5EF4-FFF2-40B4-BE49-F238E27FC236}">
                <a16:creationId xmlns:a16="http://schemas.microsoft.com/office/drawing/2014/main" id="{1C1B8EC1-2923-4978-A61D-27E28146FFD1}"/>
              </a:ext>
            </a:extLst>
          </p:cNvPr>
          <p:cNvSpPr txBox="1"/>
          <p:nvPr/>
        </p:nvSpPr>
        <p:spPr>
          <a:xfrm>
            <a:off x="9647425" y="2026005"/>
            <a:ext cx="932873" cy="523220"/>
          </a:xfrm>
          <a:prstGeom prst="rect">
            <a:avLst/>
          </a:prstGeom>
          <a:noFill/>
        </p:spPr>
        <p:txBody>
          <a:bodyPr wrap="square" rtlCol="0">
            <a:spAutoFit/>
          </a:bodyPr>
          <a:lstStyle/>
          <a:p>
            <a:r>
              <a:rPr lang="en-US" sz="2800" dirty="0">
                <a:solidFill>
                  <a:srgbClr val="00B050"/>
                </a:solidFill>
              </a:rPr>
              <a:t>4.8</a:t>
            </a:r>
          </a:p>
        </p:txBody>
      </p:sp>
      <p:pic>
        <p:nvPicPr>
          <p:cNvPr id="320" name="Picture 319">
            <a:extLst>
              <a:ext uri="{FF2B5EF4-FFF2-40B4-BE49-F238E27FC236}">
                <a16:creationId xmlns:a16="http://schemas.microsoft.com/office/drawing/2014/main" id="{CA5C0783-F7AB-4755-937B-E03E5BC4DC33}"/>
              </a:ext>
            </a:extLst>
          </p:cNvPr>
          <p:cNvPicPr>
            <a:picLocks noChangeAspect="1"/>
          </p:cNvPicPr>
          <p:nvPr/>
        </p:nvPicPr>
        <p:blipFill rotWithShape="1">
          <a:blip r:embed="rId7"/>
          <a:srcRect b="9558"/>
          <a:stretch/>
        </p:blipFill>
        <p:spPr>
          <a:xfrm>
            <a:off x="799165" y="2041433"/>
            <a:ext cx="6948204" cy="544747"/>
          </a:xfrm>
          <a:prstGeom prst="rect">
            <a:avLst/>
          </a:prstGeom>
        </p:spPr>
      </p:pic>
      <p:sp>
        <p:nvSpPr>
          <p:cNvPr id="321" name="Rectangle 320">
            <a:extLst>
              <a:ext uri="{FF2B5EF4-FFF2-40B4-BE49-F238E27FC236}">
                <a16:creationId xmlns:a16="http://schemas.microsoft.com/office/drawing/2014/main" id="{D18F414A-28FD-4A65-AF72-CEB65BAF1E6A}"/>
              </a:ext>
            </a:extLst>
          </p:cNvPr>
          <p:cNvSpPr/>
          <p:nvPr/>
        </p:nvSpPr>
        <p:spPr>
          <a:xfrm>
            <a:off x="8087873" y="4321473"/>
            <a:ext cx="3508381" cy="2086865"/>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2" name="TextBox 321">
            <a:extLst>
              <a:ext uri="{FF2B5EF4-FFF2-40B4-BE49-F238E27FC236}">
                <a16:creationId xmlns:a16="http://schemas.microsoft.com/office/drawing/2014/main" id="{5CDF6503-1C7D-45A1-A8DF-D8E13276A75E}"/>
              </a:ext>
            </a:extLst>
          </p:cNvPr>
          <p:cNvSpPr txBox="1"/>
          <p:nvPr/>
        </p:nvSpPr>
        <p:spPr>
          <a:xfrm>
            <a:off x="8064688" y="4347830"/>
            <a:ext cx="3602468" cy="1354217"/>
          </a:xfrm>
          <a:prstGeom prst="rect">
            <a:avLst/>
          </a:prstGeom>
          <a:noFill/>
        </p:spPr>
        <p:txBody>
          <a:bodyPr wrap="square" rtlCol="0">
            <a:spAutoFit/>
          </a:bodyPr>
          <a:lstStyle/>
          <a:p>
            <a:r>
              <a:rPr lang="en-US" dirty="0"/>
              <a:t>Daily rate of our ex-McKinsey, Deloitte and BCG Management Consultants</a:t>
            </a:r>
          </a:p>
          <a:p>
            <a:r>
              <a:rPr lang="en-US" sz="2800" dirty="0">
                <a:solidFill>
                  <a:srgbClr val="00B050"/>
                </a:solidFill>
              </a:rPr>
              <a:t>$3k-$4k</a:t>
            </a:r>
          </a:p>
        </p:txBody>
      </p:sp>
      <p:sp>
        <p:nvSpPr>
          <p:cNvPr id="316" name="Title 1">
            <a:extLst>
              <a:ext uri="{FF2B5EF4-FFF2-40B4-BE49-F238E27FC236}">
                <a16:creationId xmlns:a16="http://schemas.microsoft.com/office/drawing/2014/main" id="{E1807DFC-6E0A-41E9-BAC7-1EE85BC2BECF}"/>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t>Join the 200,000+ Executives, Consultants &amp; Entrepreneurs already leveraging our Business &amp; Consulting Toolkits to improve the performance of their organization and boost their own career</a:t>
            </a:r>
            <a:r>
              <a:rPr lang="en-US" dirty="0"/>
              <a:t>. </a:t>
            </a:r>
            <a:endParaRPr lang="en-US" b="0" kern="0" dirty="0"/>
          </a:p>
        </p:txBody>
      </p:sp>
    </p:spTree>
    <p:extLst>
      <p:ext uri="{BB962C8B-B14F-4D97-AF65-F5344CB8AC3E}">
        <p14:creationId xmlns:p14="http://schemas.microsoft.com/office/powerpoint/2010/main" val="12528262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46</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88ED2B-BEA3-4D03-95DE-285838A9FD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additional help on top of our Management Consulting Toolkits? </a:t>
            </a:r>
            <a:br>
              <a:rPr lang="en-US" sz="2400" dirty="0">
                <a:latin typeface="+mn-lt"/>
              </a:rPr>
            </a:br>
            <a:r>
              <a:rPr lang="en-US" sz="2000" b="0" dirty="0">
                <a:latin typeface="+mn-lt"/>
              </a:rPr>
              <a:t>Send us a brief and we’ll find you the right talent from our network of 500 tier-1 Management Consultants (the average daily rate is $3k)</a:t>
            </a:r>
            <a:endParaRPr lang="en-US" sz="2400" b="0" dirty="0">
              <a:latin typeface="+mn-lt"/>
            </a:endParaRPr>
          </a:p>
        </p:txBody>
      </p:sp>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a:xfrm>
            <a:off x="9181195" y="6632713"/>
            <a:ext cx="2743200" cy="1800000"/>
          </a:xfrm>
        </p:spPr>
        <p:txBody>
          <a:bodyPr/>
          <a:lstStyle/>
          <a:p>
            <a:fld id="{37F5C94B-8C55-478B-B509-BAE6A06B2E2A}" type="slidenum">
              <a:rPr lang="en-US" sz="1000" smtClean="0">
                <a:solidFill>
                  <a:srgbClr val="ADAFBB"/>
                </a:solidFill>
              </a:rPr>
              <a:pPr/>
              <a:t>47</a:t>
            </a:fld>
            <a:endParaRPr lang="en-US" sz="1000" dirty="0">
              <a:solidFill>
                <a:srgbClr val="ADAFBB"/>
              </a:solidFill>
            </a:endParaRP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782000" y="618093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Click here to send us a Project Brief</a:t>
            </a:r>
          </a:p>
        </p:txBody>
      </p:sp>
      <p:pic>
        <p:nvPicPr>
          <p:cNvPr id="18" name="Picture 17">
            <a:extLst>
              <a:ext uri="{FF2B5EF4-FFF2-40B4-BE49-F238E27FC236}">
                <a16:creationId xmlns:a16="http://schemas.microsoft.com/office/drawing/2014/main" id="{3A26D682-5264-B706-F6AF-0D72378DBAC9}"/>
              </a:ext>
            </a:extLst>
          </p:cNvPr>
          <p:cNvPicPr>
            <a:picLocks noChangeAspect="1"/>
          </p:cNvPicPr>
          <p:nvPr/>
        </p:nvPicPr>
        <p:blipFill>
          <a:blip r:embed="rId8"/>
          <a:stretch>
            <a:fillRect/>
          </a:stretch>
        </p:blipFill>
        <p:spPr>
          <a:xfrm>
            <a:off x="1015918" y="1696030"/>
            <a:ext cx="3187864" cy="2140060"/>
          </a:xfrm>
          <a:prstGeom prst="rect">
            <a:avLst/>
          </a:prstGeom>
        </p:spPr>
      </p:pic>
      <p:pic>
        <p:nvPicPr>
          <p:cNvPr id="20" name="Picture 19">
            <a:extLst>
              <a:ext uri="{FF2B5EF4-FFF2-40B4-BE49-F238E27FC236}">
                <a16:creationId xmlns:a16="http://schemas.microsoft.com/office/drawing/2014/main" id="{611A84D5-7403-36BA-1766-D2F531D22681}"/>
              </a:ext>
            </a:extLst>
          </p:cNvPr>
          <p:cNvPicPr>
            <a:picLocks noChangeAspect="1"/>
          </p:cNvPicPr>
          <p:nvPr/>
        </p:nvPicPr>
        <p:blipFill>
          <a:blip r:embed="rId9"/>
          <a:stretch>
            <a:fillRect/>
          </a:stretch>
        </p:blipFill>
        <p:spPr>
          <a:xfrm>
            <a:off x="4444918" y="1696030"/>
            <a:ext cx="3187864" cy="2133710"/>
          </a:xfrm>
          <a:prstGeom prst="rect">
            <a:avLst/>
          </a:prstGeom>
        </p:spPr>
      </p:pic>
      <p:pic>
        <p:nvPicPr>
          <p:cNvPr id="22" name="Picture 21">
            <a:extLst>
              <a:ext uri="{FF2B5EF4-FFF2-40B4-BE49-F238E27FC236}">
                <a16:creationId xmlns:a16="http://schemas.microsoft.com/office/drawing/2014/main" id="{72DEE20F-275F-C091-1F85-E12BC455C0BA}"/>
              </a:ext>
            </a:extLst>
          </p:cNvPr>
          <p:cNvPicPr>
            <a:picLocks noChangeAspect="1"/>
          </p:cNvPicPr>
          <p:nvPr/>
        </p:nvPicPr>
        <p:blipFill>
          <a:blip r:embed="rId10"/>
          <a:stretch>
            <a:fillRect/>
          </a:stretch>
        </p:blipFill>
        <p:spPr>
          <a:xfrm>
            <a:off x="7873918" y="1696030"/>
            <a:ext cx="3187864" cy="2152761"/>
          </a:xfrm>
          <a:prstGeom prst="rect">
            <a:avLst/>
          </a:prstGeom>
        </p:spPr>
      </p:pic>
      <p:pic>
        <p:nvPicPr>
          <p:cNvPr id="24" name="Picture 23">
            <a:extLst>
              <a:ext uri="{FF2B5EF4-FFF2-40B4-BE49-F238E27FC236}">
                <a16:creationId xmlns:a16="http://schemas.microsoft.com/office/drawing/2014/main" id="{14A2B9D2-D853-FE69-FBE1-01DA776C2EF9}"/>
              </a:ext>
            </a:extLst>
          </p:cNvPr>
          <p:cNvPicPr>
            <a:picLocks noChangeAspect="1"/>
          </p:cNvPicPr>
          <p:nvPr/>
        </p:nvPicPr>
        <p:blipFill>
          <a:blip r:embed="rId11"/>
          <a:stretch>
            <a:fillRect/>
          </a:stretch>
        </p:blipFill>
        <p:spPr>
          <a:xfrm>
            <a:off x="1015918" y="4012597"/>
            <a:ext cx="3181514" cy="2133710"/>
          </a:xfrm>
          <a:prstGeom prst="rect">
            <a:avLst/>
          </a:prstGeom>
        </p:spPr>
      </p:pic>
      <p:pic>
        <p:nvPicPr>
          <p:cNvPr id="26" name="Picture 25">
            <a:extLst>
              <a:ext uri="{FF2B5EF4-FFF2-40B4-BE49-F238E27FC236}">
                <a16:creationId xmlns:a16="http://schemas.microsoft.com/office/drawing/2014/main" id="{6855FA9D-ABAE-4A3D-DC8B-78877AE4B608}"/>
              </a:ext>
            </a:extLst>
          </p:cNvPr>
          <p:cNvPicPr>
            <a:picLocks noChangeAspect="1"/>
          </p:cNvPicPr>
          <p:nvPr/>
        </p:nvPicPr>
        <p:blipFill>
          <a:blip r:embed="rId12"/>
          <a:stretch>
            <a:fillRect/>
          </a:stretch>
        </p:blipFill>
        <p:spPr>
          <a:xfrm>
            <a:off x="4444918" y="4012597"/>
            <a:ext cx="3168813" cy="2121009"/>
          </a:xfrm>
          <a:prstGeom prst="rect">
            <a:avLst/>
          </a:prstGeom>
        </p:spPr>
      </p:pic>
      <p:pic>
        <p:nvPicPr>
          <p:cNvPr id="28" name="Picture 27">
            <a:extLst>
              <a:ext uri="{FF2B5EF4-FFF2-40B4-BE49-F238E27FC236}">
                <a16:creationId xmlns:a16="http://schemas.microsoft.com/office/drawing/2014/main" id="{6894912F-62D0-D110-AAA1-7996F52565A5}"/>
              </a:ext>
            </a:extLst>
          </p:cNvPr>
          <p:cNvPicPr>
            <a:picLocks noChangeAspect="1"/>
          </p:cNvPicPr>
          <p:nvPr/>
        </p:nvPicPr>
        <p:blipFill>
          <a:blip r:embed="rId13"/>
          <a:stretch>
            <a:fillRect/>
          </a:stretch>
        </p:blipFill>
        <p:spPr>
          <a:xfrm>
            <a:off x="7861217" y="4012597"/>
            <a:ext cx="3181514" cy="2114659"/>
          </a:xfrm>
          <a:prstGeom prst="rect">
            <a:avLst/>
          </a:prstGeom>
        </p:spPr>
      </p:pic>
    </p:spTree>
    <p:extLst>
      <p:ext uri="{BB962C8B-B14F-4D97-AF65-F5344CB8AC3E}">
        <p14:creationId xmlns:p14="http://schemas.microsoft.com/office/powerpoint/2010/main" val="15343998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4BA8F5-D233-6F88-C267-EBFA42ECB72D}"/>
              </a:ext>
            </a:extLst>
          </p:cNvPr>
          <p:cNvPicPr>
            <a:picLocks noChangeAspect="1"/>
          </p:cNvPicPr>
          <p:nvPr/>
        </p:nvPicPr>
        <p:blipFill>
          <a:blip r:embed="rId5"/>
          <a:stretch>
            <a:fillRect/>
          </a:stretch>
        </p:blipFill>
        <p:spPr>
          <a:xfrm>
            <a:off x="3568900" y="3172775"/>
            <a:ext cx="4717062" cy="1087968"/>
          </a:xfrm>
          <a:prstGeom prst="rect">
            <a:avLst/>
          </a:prstGeom>
        </p:spPr>
      </p:pic>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dirty="0">
                <a:latin typeface="+mn-lt"/>
              </a:rPr>
              <a:t>Thank you for your attention.</a:t>
            </a:r>
            <a:endParaRPr lang="en-US" dirty="0">
              <a:latin typeface="+mn-lt"/>
            </a:endParaRP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48</a:t>
            </a:fld>
            <a:endParaRPr lang="en-US" sz="1000" dirty="0">
              <a:solidFill>
                <a:srgbClr val="ADAFBB"/>
              </a:solidFill>
            </a:endParaRPr>
          </a:p>
        </p:txBody>
      </p:sp>
      <p:sp>
        <p:nvSpPr>
          <p:cNvPr id="11" name="TextBox 10">
            <a:extLst>
              <a:ext uri="{FF2B5EF4-FFF2-40B4-BE49-F238E27FC236}">
                <a16:creationId xmlns:a16="http://schemas.microsoft.com/office/drawing/2014/main" id="{6F4EE5F8-9590-D51A-8C97-146730CFCC30}"/>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8"/>
              </a:rPr>
              <a:t>www.domontconsulting.com</a:t>
            </a:r>
            <a:r>
              <a:rPr lang="en-US" dirty="0">
                <a:solidFill>
                  <a:srgbClr val="00B0F0"/>
                </a:solidFill>
              </a:rPr>
              <a:t> </a:t>
            </a:r>
          </a:p>
        </p:txBody>
      </p:sp>
    </p:spTree>
    <p:extLst>
      <p:ext uri="{BB962C8B-B14F-4D97-AF65-F5344CB8AC3E}">
        <p14:creationId xmlns:p14="http://schemas.microsoft.com/office/powerpoint/2010/main" val="2853806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Our Solution</a:t>
            </a:r>
            <a:br>
              <a:rPr lang="en-US" sz="2400" dirty="0"/>
            </a:br>
            <a:r>
              <a:rPr lang="en-GB" sz="1800" b="0" dirty="0"/>
              <a:t>Our management consulting firm decided to create a Change &amp; Project Management Toolkit that will help you increase the change and project management capabilities of your organization (or your client if you are a management consultant).</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2" name="Shape 59118">
            <a:extLst>
              <a:ext uri="{FF2B5EF4-FFF2-40B4-BE49-F238E27FC236}">
                <a16:creationId xmlns:a16="http://schemas.microsoft.com/office/drawing/2014/main" id="{D94CA5E2-DC9A-974F-568B-3F150BB05731}"/>
              </a:ext>
            </a:extLst>
          </p:cNvPr>
          <p:cNvSpPr/>
          <p:nvPr/>
        </p:nvSpPr>
        <p:spPr>
          <a:xfrm>
            <a:off x="4535764" y="160672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3" name="Shape 59119">
            <a:extLst>
              <a:ext uri="{FF2B5EF4-FFF2-40B4-BE49-F238E27FC236}">
                <a16:creationId xmlns:a16="http://schemas.microsoft.com/office/drawing/2014/main" id="{031230EE-BD61-E848-7557-CA81844C95D7}"/>
              </a:ext>
            </a:extLst>
          </p:cNvPr>
          <p:cNvSpPr/>
          <p:nvPr/>
        </p:nvSpPr>
        <p:spPr>
          <a:xfrm>
            <a:off x="3839920" y="2310937"/>
            <a:ext cx="1748041" cy="1595195"/>
          </a:xfrm>
          <a:custGeom>
            <a:avLst/>
            <a:gdLst/>
            <a:ahLst/>
            <a:cxnLst>
              <a:cxn ang="0">
                <a:pos x="wd2" y="hd2"/>
              </a:cxn>
              <a:cxn ang="5400000">
                <a:pos x="wd2" y="hd2"/>
              </a:cxn>
              <a:cxn ang="10800000">
                <a:pos x="wd2" y="hd2"/>
              </a:cxn>
              <a:cxn ang="16200000">
                <a:pos x="wd2" y="hd2"/>
              </a:cxn>
            </a:cxnLst>
            <a:rect l="0" t="0" r="r" b="b"/>
            <a:pathLst>
              <a:path w="21600" h="21600" extrusionOk="0">
                <a:moveTo>
                  <a:pt x="8251" y="0"/>
                </a:moveTo>
                <a:cubicBezTo>
                  <a:pt x="5770" y="2801"/>
                  <a:pt x="3749" y="6098"/>
                  <a:pt x="2329" y="9742"/>
                </a:cubicBezTo>
                <a:cubicBezTo>
                  <a:pt x="909" y="13385"/>
                  <a:pt x="88" y="17377"/>
                  <a:pt x="0" y="21573"/>
                </a:cubicBezTo>
                <a:lnTo>
                  <a:pt x="18974" y="21600"/>
                </a:lnTo>
                <a:cubicBezTo>
                  <a:pt x="19085" y="20283"/>
                  <a:pt x="19372" y="19028"/>
                  <a:pt x="19808" y="17861"/>
                </a:cubicBezTo>
                <a:cubicBezTo>
                  <a:pt x="20255" y="16665"/>
                  <a:pt x="20861" y="15555"/>
                  <a:pt x="21600" y="14565"/>
                </a:cubicBezTo>
                <a:lnTo>
                  <a:pt x="8251"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4" name="Shape 59120">
            <a:extLst>
              <a:ext uri="{FF2B5EF4-FFF2-40B4-BE49-F238E27FC236}">
                <a16:creationId xmlns:a16="http://schemas.microsoft.com/office/drawing/2014/main" id="{D601CAFE-6BB8-1B4B-A074-F7F090261945}"/>
              </a:ext>
            </a:extLst>
          </p:cNvPr>
          <p:cNvSpPr/>
          <p:nvPr/>
        </p:nvSpPr>
        <p:spPr>
          <a:xfrm>
            <a:off x="4535764" y="450674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6" name="Shape 59121">
            <a:extLst>
              <a:ext uri="{FF2B5EF4-FFF2-40B4-BE49-F238E27FC236}">
                <a16:creationId xmlns:a16="http://schemas.microsoft.com/office/drawing/2014/main" id="{27649308-7E5D-40C9-4A3A-092042ADD8B8}"/>
              </a:ext>
            </a:extLst>
          </p:cNvPr>
          <p:cNvSpPr/>
          <p:nvPr/>
        </p:nvSpPr>
        <p:spPr>
          <a:xfrm>
            <a:off x="3836459" y="3959230"/>
            <a:ext cx="1753117" cy="1595195"/>
          </a:xfrm>
          <a:custGeom>
            <a:avLst/>
            <a:gdLst/>
            <a:ahLst/>
            <a:cxnLst>
              <a:cxn ang="0">
                <a:pos x="wd2" y="hd2"/>
              </a:cxn>
              <a:cxn ang="5400000">
                <a:pos x="wd2" y="hd2"/>
              </a:cxn>
              <a:cxn ang="10800000">
                <a:pos x="wd2" y="hd2"/>
              </a:cxn>
              <a:cxn ang="16200000">
                <a:pos x="wd2" y="hd2"/>
              </a:cxn>
            </a:cxnLst>
            <a:rect l="0" t="0" r="r" b="b"/>
            <a:pathLst>
              <a:path w="21600" h="21600" extrusionOk="0">
                <a:moveTo>
                  <a:pt x="8142" y="21600"/>
                </a:moveTo>
                <a:cubicBezTo>
                  <a:pt x="5658" y="18808"/>
                  <a:pt x="3642" y="15510"/>
                  <a:pt x="2238" y="11858"/>
                </a:cubicBezTo>
                <a:cubicBezTo>
                  <a:pt x="834" y="8207"/>
                  <a:pt x="42" y="4202"/>
                  <a:pt x="0" y="0"/>
                </a:cubicBezTo>
                <a:lnTo>
                  <a:pt x="18834" y="0"/>
                </a:lnTo>
                <a:cubicBezTo>
                  <a:pt x="18902" y="1327"/>
                  <a:pt x="19193" y="2588"/>
                  <a:pt x="19666" y="3739"/>
                </a:cubicBezTo>
                <a:cubicBezTo>
                  <a:pt x="20140" y="4889"/>
                  <a:pt x="20798" y="5928"/>
                  <a:pt x="21600" y="6810"/>
                </a:cubicBezTo>
                <a:lnTo>
                  <a:pt x="8142"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7" name="Shape 59122">
            <a:extLst>
              <a:ext uri="{FF2B5EF4-FFF2-40B4-BE49-F238E27FC236}">
                <a16:creationId xmlns:a16="http://schemas.microsoft.com/office/drawing/2014/main" id="{896607FE-41E0-8EDC-0509-E9CC4CF9079B}"/>
              </a:ext>
            </a:extLst>
          </p:cNvPr>
          <p:cNvSpPr/>
          <p:nvPr/>
        </p:nvSpPr>
        <p:spPr>
          <a:xfrm flipH="1">
            <a:off x="6182603" y="160672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8" name="Shape 59123">
            <a:extLst>
              <a:ext uri="{FF2B5EF4-FFF2-40B4-BE49-F238E27FC236}">
                <a16:creationId xmlns:a16="http://schemas.microsoft.com/office/drawing/2014/main" id="{2849E573-1E53-8138-A997-8423614879D8}"/>
              </a:ext>
            </a:extLst>
          </p:cNvPr>
          <p:cNvSpPr/>
          <p:nvPr/>
        </p:nvSpPr>
        <p:spPr>
          <a:xfrm flipH="1">
            <a:off x="6720787" y="2310937"/>
            <a:ext cx="1746084" cy="1595195"/>
          </a:xfrm>
          <a:custGeom>
            <a:avLst/>
            <a:gdLst/>
            <a:ahLst/>
            <a:cxnLst>
              <a:cxn ang="0">
                <a:pos x="wd2" y="hd2"/>
              </a:cxn>
              <a:cxn ang="5400000">
                <a:pos x="wd2" y="hd2"/>
              </a:cxn>
              <a:cxn ang="10800000">
                <a:pos x="wd2" y="hd2"/>
              </a:cxn>
              <a:cxn ang="16200000">
                <a:pos x="wd2" y="hd2"/>
              </a:cxn>
            </a:cxnLst>
            <a:rect l="0" t="0" r="r" b="b"/>
            <a:pathLst>
              <a:path w="21600" h="21600" extrusionOk="0">
                <a:moveTo>
                  <a:pt x="8175" y="0"/>
                </a:moveTo>
                <a:cubicBezTo>
                  <a:pt x="5681" y="2792"/>
                  <a:pt x="3656" y="6090"/>
                  <a:pt x="2247" y="9742"/>
                </a:cubicBezTo>
                <a:cubicBezTo>
                  <a:pt x="837" y="13393"/>
                  <a:pt x="42" y="17398"/>
                  <a:pt x="0" y="21600"/>
                </a:cubicBezTo>
                <a:lnTo>
                  <a:pt x="18910" y="21600"/>
                </a:lnTo>
                <a:cubicBezTo>
                  <a:pt x="18996" y="20277"/>
                  <a:pt x="19286" y="19018"/>
                  <a:pt x="19746" y="17861"/>
                </a:cubicBezTo>
                <a:cubicBezTo>
                  <a:pt x="20204" y="16707"/>
                  <a:pt x="20833" y="15651"/>
                  <a:pt x="21600" y="14733"/>
                </a:cubicBezTo>
                <a:lnTo>
                  <a:pt x="8175"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9" name="Shape 59124">
            <a:extLst>
              <a:ext uri="{FF2B5EF4-FFF2-40B4-BE49-F238E27FC236}">
                <a16:creationId xmlns:a16="http://schemas.microsoft.com/office/drawing/2014/main" id="{AEE3211B-9B19-FC97-57D5-741F260DD883}"/>
              </a:ext>
            </a:extLst>
          </p:cNvPr>
          <p:cNvSpPr/>
          <p:nvPr/>
        </p:nvSpPr>
        <p:spPr>
          <a:xfrm flipH="1">
            <a:off x="6182603" y="450674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0" name="Shape 59125">
            <a:extLst>
              <a:ext uri="{FF2B5EF4-FFF2-40B4-BE49-F238E27FC236}">
                <a16:creationId xmlns:a16="http://schemas.microsoft.com/office/drawing/2014/main" id="{1573E357-CB63-3DB7-EC12-05A4CB97DBC6}"/>
              </a:ext>
            </a:extLst>
          </p:cNvPr>
          <p:cNvSpPr/>
          <p:nvPr/>
        </p:nvSpPr>
        <p:spPr>
          <a:xfrm flipH="1">
            <a:off x="6733928" y="3959230"/>
            <a:ext cx="1743255" cy="1595195"/>
          </a:xfrm>
          <a:custGeom>
            <a:avLst/>
            <a:gdLst/>
            <a:ahLst/>
            <a:cxnLst>
              <a:cxn ang="0">
                <a:pos x="wd2" y="hd2"/>
              </a:cxn>
              <a:cxn ang="5400000">
                <a:pos x="wd2" y="hd2"/>
              </a:cxn>
              <a:cxn ang="10800000">
                <a:pos x="wd2" y="hd2"/>
              </a:cxn>
              <a:cxn ang="16200000">
                <a:pos x="wd2" y="hd2"/>
              </a:cxn>
            </a:cxnLst>
            <a:rect l="0" t="0" r="r" b="b"/>
            <a:pathLst>
              <a:path w="21600" h="21600" extrusionOk="0">
                <a:moveTo>
                  <a:pt x="8189" y="21600"/>
                </a:moveTo>
                <a:cubicBezTo>
                  <a:pt x="5690" y="18808"/>
                  <a:pt x="3662" y="15510"/>
                  <a:pt x="2250" y="11858"/>
                </a:cubicBezTo>
                <a:cubicBezTo>
                  <a:pt x="839" y="8207"/>
                  <a:pt x="42" y="4202"/>
                  <a:pt x="0" y="0"/>
                </a:cubicBezTo>
                <a:lnTo>
                  <a:pt x="18941" y="0"/>
                </a:lnTo>
                <a:cubicBezTo>
                  <a:pt x="19037" y="1321"/>
                  <a:pt x="19326" y="2578"/>
                  <a:pt x="19778" y="3739"/>
                </a:cubicBezTo>
                <a:cubicBezTo>
                  <a:pt x="20230" y="4902"/>
                  <a:pt x="20847" y="5973"/>
                  <a:pt x="21600" y="6914"/>
                </a:cubicBezTo>
                <a:lnTo>
                  <a:pt x="8189"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1" name="TextBox 10">
            <a:extLst>
              <a:ext uri="{FF2B5EF4-FFF2-40B4-BE49-F238E27FC236}">
                <a16:creationId xmlns:a16="http://schemas.microsoft.com/office/drawing/2014/main" id="{61C6BB3E-C380-9A95-AA14-C542CCA1A594}"/>
              </a:ext>
            </a:extLst>
          </p:cNvPr>
          <p:cNvSpPr txBox="1"/>
          <p:nvPr/>
        </p:nvSpPr>
        <p:spPr>
          <a:xfrm>
            <a:off x="6154005" y="2438586"/>
            <a:ext cx="1158512" cy="276999"/>
          </a:xfrm>
          <a:prstGeom prst="rect">
            <a:avLst/>
          </a:prstGeom>
          <a:noFill/>
        </p:spPr>
        <p:txBody>
          <a:bodyPr wrap="square" rtlCol="0">
            <a:spAutoFit/>
          </a:bodyPr>
          <a:lstStyle/>
          <a:p>
            <a:pPr algn="ctr"/>
            <a:r>
              <a:rPr lang="en-US" sz="1200" b="1" dirty="0">
                <a:solidFill>
                  <a:schemeClr val="bg1"/>
                </a:solidFill>
              </a:rPr>
              <a:t>Frameworks</a:t>
            </a:r>
          </a:p>
        </p:txBody>
      </p:sp>
      <p:sp>
        <p:nvSpPr>
          <p:cNvPr id="12" name="TextBox 11">
            <a:extLst>
              <a:ext uri="{FF2B5EF4-FFF2-40B4-BE49-F238E27FC236}">
                <a16:creationId xmlns:a16="http://schemas.microsoft.com/office/drawing/2014/main" id="{6F154BA1-0F52-81DC-49DE-3A2B003A2CCD}"/>
              </a:ext>
            </a:extLst>
          </p:cNvPr>
          <p:cNvSpPr txBox="1"/>
          <p:nvPr/>
        </p:nvSpPr>
        <p:spPr>
          <a:xfrm>
            <a:off x="6995112" y="3414317"/>
            <a:ext cx="1317412" cy="276999"/>
          </a:xfrm>
          <a:prstGeom prst="rect">
            <a:avLst/>
          </a:prstGeom>
          <a:noFill/>
        </p:spPr>
        <p:txBody>
          <a:bodyPr wrap="square" rtlCol="0">
            <a:spAutoFit/>
          </a:bodyPr>
          <a:lstStyle/>
          <a:p>
            <a:pPr algn="ctr"/>
            <a:r>
              <a:rPr lang="en-US" sz="1200" b="1" dirty="0">
                <a:solidFill>
                  <a:schemeClr val="bg1"/>
                </a:solidFill>
              </a:rPr>
              <a:t>Tools</a:t>
            </a:r>
          </a:p>
        </p:txBody>
      </p:sp>
      <p:sp>
        <p:nvSpPr>
          <p:cNvPr id="14" name="TextBox 13">
            <a:extLst>
              <a:ext uri="{FF2B5EF4-FFF2-40B4-BE49-F238E27FC236}">
                <a16:creationId xmlns:a16="http://schemas.microsoft.com/office/drawing/2014/main" id="{571085C8-C9D7-0D19-69BC-F77C27D02AD9}"/>
              </a:ext>
            </a:extLst>
          </p:cNvPr>
          <p:cNvSpPr txBox="1"/>
          <p:nvPr/>
        </p:nvSpPr>
        <p:spPr>
          <a:xfrm>
            <a:off x="6956315" y="4612780"/>
            <a:ext cx="1317412" cy="276999"/>
          </a:xfrm>
          <a:prstGeom prst="rect">
            <a:avLst/>
          </a:prstGeom>
          <a:noFill/>
        </p:spPr>
        <p:txBody>
          <a:bodyPr wrap="square" rtlCol="0">
            <a:spAutoFit/>
          </a:bodyPr>
          <a:lstStyle/>
          <a:p>
            <a:pPr algn="ctr"/>
            <a:r>
              <a:rPr lang="en-GB" sz="1200" b="1" dirty="0">
                <a:solidFill>
                  <a:schemeClr val="bg1"/>
                </a:solidFill>
              </a:rPr>
              <a:t>Templates</a:t>
            </a:r>
            <a:endParaRPr lang="en-US" sz="1200" b="1" dirty="0">
              <a:solidFill>
                <a:schemeClr val="bg1"/>
              </a:solidFill>
            </a:endParaRPr>
          </a:p>
        </p:txBody>
      </p:sp>
      <p:sp>
        <p:nvSpPr>
          <p:cNvPr id="15" name="TextBox 14">
            <a:extLst>
              <a:ext uri="{FF2B5EF4-FFF2-40B4-BE49-F238E27FC236}">
                <a16:creationId xmlns:a16="http://schemas.microsoft.com/office/drawing/2014/main" id="{51F58C69-DF56-C3F9-1304-689C5D35FC8E}"/>
              </a:ext>
            </a:extLst>
          </p:cNvPr>
          <p:cNvSpPr txBox="1"/>
          <p:nvPr/>
        </p:nvSpPr>
        <p:spPr>
          <a:xfrm>
            <a:off x="6062081" y="5523448"/>
            <a:ext cx="1317412" cy="461665"/>
          </a:xfrm>
          <a:prstGeom prst="rect">
            <a:avLst/>
          </a:prstGeom>
          <a:noFill/>
        </p:spPr>
        <p:txBody>
          <a:bodyPr wrap="square" rtlCol="0">
            <a:spAutoFit/>
          </a:bodyPr>
          <a:lstStyle/>
          <a:p>
            <a:pPr algn="ctr"/>
            <a:r>
              <a:rPr lang="en-US" sz="1200" b="1" dirty="0">
                <a:solidFill>
                  <a:schemeClr val="bg1"/>
                </a:solidFill>
              </a:rPr>
              <a:t>Step-by-step tutorials</a:t>
            </a:r>
          </a:p>
        </p:txBody>
      </p:sp>
      <p:sp>
        <p:nvSpPr>
          <p:cNvPr id="17" name="TextBox 16">
            <a:extLst>
              <a:ext uri="{FF2B5EF4-FFF2-40B4-BE49-F238E27FC236}">
                <a16:creationId xmlns:a16="http://schemas.microsoft.com/office/drawing/2014/main" id="{6D98DD28-3A3A-475E-FC3B-CAF1E0DCA4D0}"/>
              </a:ext>
            </a:extLst>
          </p:cNvPr>
          <p:cNvSpPr txBox="1"/>
          <p:nvPr/>
        </p:nvSpPr>
        <p:spPr>
          <a:xfrm>
            <a:off x="4834421" y="5439712"/>
            <a:ext cx="1317412" cy="276999"/>
          </a:xfrm>
          <a:prstGeom prst="rect">
            <a:avLst/>
          </a:prstGeom>
          <a:noFill/>
        </p:spPr>
        <p:txBody>
          <a:bodyPr wrap="square" rtlCol="0">
            <a:spAutoFit/>
          </a:bodyPr>
          <a:lstStyle/>
          <a:p>
            <a:pPr algn="ctr"/>
            <a:r>
              <a:rPr lang="en-US" sz="1200" b="1" dirty="0">
                <a:solidFill>
                  <a:schemeClr val="bg1"/>
                </a:solidFill>
              </a:rPr>
              <a:t>Video Training</a:t>
            </a:r>
          </a:p>
        </p:txBody>
      </p:sp>
      <p:sp>
        <p:nvSpPr>
          <p:cNvPr id="18" name="TextBox 17">
            <a:extLst>
              <a:ext uri="{FF2B5EF4-FFF2-40B4-BE49-F238E27FC236}">
                <a16:creationId xmlns:a16="http://schemas.microsoft.com/office/drawing/2014/main" id="{6D2822B5-3889-FC67-C4AA-0A87FE4AD423}"/>
              </a:ext>
            </a:extLst>
          </p:cNvPr>
          <p:cNvSpPr txBox="1"/>
          <p:nvPr/>
        </p:nvSpPr>
        <p:spPr>
          <a:xfrm>
            <a:off x="3941736" y="4566347"/>
            <a:ext cx="1317412" cy="461665"/>
          </a:xfrm>
          <a:prstGeom prst="rect">
            <a:avLst/>
          </a:prstGeom>
          <a:noFill/>
        </p:spPr>
        <p:txBody>
          <a:bodyPr wrap="square" rtlCol="0">
            <a:spAutoFit/>
          </a:bodyPr>
          <a:lstStyle/>
          <a:p>
            <a:pPr algn="ctr"/>
            <a:r>
              <a:rPr lang="en-US" sz="1200" b="1" dirty="0">
                <a:solidFill>
                  <a:schemeClr val="bg1"/>
                </a:solidFill>
              </a:rPr>
              <a:t>Real-life examples</a:t>
            </a:r>
          </a:p>
        </p:txBody>
      </p:sp>
      <p:sp>
        <p:nvSpPr>
          <p:cNvPr id="19" name="TextBox 18">
            <a:extLst>
              <a:ext uri="{FF2B5EF4-FFF2-40B4-BE49-F238E27FC236}">
                <a16:creationId xmlns:a16="http://schemas.microsoft.com/office/drawing/2014/main" id="{118779F3-396B-EBE9-7F1A-0D2380140C1E}"/>
              </a:ext>
            </a:extLst>
          </p:cNvPr>
          <p:cNvSpPr txBox="1"/>
          <p:nvPr/>
        </p:nvSpPr>
        <p:spPr>
          <a:xfrm>
            <a:off x="4872973" y="2423785"/>
            <a:ext cx="1317412" cy="276999"/>
          </a:xfrm>
          <a:prstGeom prst="rect">
            <a:avLst/>
          </a:prstGeom>
          <a:noFill/>
        </p:spPr>
        <p:txBody>
          <a:bodyPr wrap="square" rtlCol="0">
            <a:spAutoFit/>
          </a:bodyPr>
          <a:lstStyle/>
          <a:p>
            <a:pPr algn="ctr"/>
            <a:r>
              <a:rPr lang="en-US" sz="1200" b="1" dirty="0">
                <a:solidFill>
                  <a:schemeClr val="bg1"/>
                </a:solidFill>
              </a:rPr>
              <a:t>Best practices</a:t>
            </a:r>
          </a:p>
        </p:txBody>
      </p:sp>
      <p:sp>
        <p:nvSpPr>
          <p:cNvPr id="20" name="TextBox 19">
            <a:extLst>
              <a:ext uri="{FF2B5EF4-FFF2-40B4-BE49-F238E27FC236}">
                <a16:creationId xmlns:a16="http://schemas.microsoft.com/office/drawing/2014/main" id="{A68F1A8D-CDB7-DB55-4955-2BC8CCA3AD45}"/>
              </a:ext>
            </a:extLst>
          </p:cNvPr>
          <p:cNvSpPr txBox="1"/>
          <p:nvPr/>
        </p:nvSpPr>
        <p:spPr>
          <a:xfrm>
            <a:off x="3908017" y="3141137"/>
            <a:ext cx="1330004" cy="600164"/>
          </a:xfrm>
          <a:prstGeom prst="rect">
            <a:avLst/>
          </a:prstGeom>
          <a:noFill/>
        </p:spPr>
        <p:txBody>
          <a:bodyPr wrap="square" rtlCol="0">
            <a:spAutoFit/>
          </a:bodyPr>
          <a:lstStyle/>
          <a:p>
            <a:pPr algn="ctr"/>
            <a:r>
              <a:rPr lang="en-GB" sz="1100" b="1" dirty="0">
                <a:solidFill>
                  <a:schemeClr val="bg1"/>
                </a:solidFill>
              </a:rPr>
              <a:t>Advise from tier-1 management consultants</a:t>
            </a:r>
          </a:p>
        </p:txBody>
      </p:sp>
      <p:sp>
        <p:nvSpPr>
          <p:cNvPr id="21" name="Oval 20">
            <a:extLst>
              <a:ext uri="{FF2B5EF4-FFF2-40B4-BE49-F238E27FC236}">
                <a16:creationId xmlns:a16="http://schemas.microsoft.com/office/drawing/2014/main" id="{66F0DAB8-53E8-17C9-4DD0-E8AF7C2E52E1}"/>
              </a:ext>
            </a:extLst>
          </p:cNvPr>
          <p:cNvSpPr/>
          <p:nvPr/>
        </p:nvSpPr>
        <p:spPr>
          <a:xfrm>
            <a:off x="5134694" y="2928094"/>
            <a:ext cx="1980000" cy="198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b="1" kern="0" dirty="0"/>
              <a:t>What’s inside our Toolkits?</a:t>
            </a:r>
            <a:endParaRPr lang="en-US" b="1" dirty="0"/>
          </a:p>
        </p:txBody>
      </p:sp>
      <p:pic>
        <p:nvPicPr>
          <p:cNvPr id="22" name="Graphic 21" descr="Arrow circle">
            <a:extLst>
              <a:ext uri="{FF2B5EF4-FFF2-40B4-BE49-F238E27FC236}">
                <a16:creationId xmlns:a16="http://schemas.microsoft.com/office/drawing/2014/main" id="{34D8EA00-19E8-DA60-424A-DCD4C55C89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85259" y="2000880"/>
            <a:ext cx="504000" cy="504000"/>
          </a:xfrm>
          <a:prstGeom prst="rect">
            <a:avLst/>
          </a:prstGeom>
        </p:spPr>
      </p:pic>
      <p:pic>
        <p:nvPicPr>
          <p:cNvPr id="23" name="Graphic 22" descr="Tools">
            <a:extLst>
              <a:ext uri="{FF2B5EF4-FFF2-40B4-BE49-F238E27FC236}">
                <a16:creationId xmlns:a16="http://schemas.microsoft.com/office/drawing/2014/main" id="{17E6A427-9512-3981-84F8-011AB90020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07394" y="2919915"/>
            <a:ext cx="428393" cy="428393"/>
          </a:xfrm>
          <a:prstGeom prst="rect">
            <a:avLst/>
          </a:prstGeom>
        </p:spPr>
      </p:pic>
      <p:pic>
        <p:nvPicPr>
          <p:cNvPr id="24" name="Graphic 23" descr="Presentation with bar chart RTL">
            <a:extLst>
              <a:ext uri="{FF2B5EF4-FFF2-40B4-BE49-F238E27FC236}">
                <a16:creationId xmlns:a16="http://schemas.microsoft.com/office/drawing/2014/main" id="{F7A47BA1-E075-D68D-4F2C-C47D5888B8C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91770" y="4084610"/>
            <a:ext cx="432000" cy="432000"/>
          </a:xfrm>
          <a:prstGeom prst="rect">
            <a:avLst/>
          </a:prstGeom>
        </p:spPr>
      </p:pic>
      <p:pic>
        <p:nvPicPr>
          <p:cNvPr id="25" name="Graphic 24" descr="Checklist outline">
            <a:extLst>
              <a:ext uri="{FF2B5EF4-FFF2-40B4-BE49-F238E27FC236}">
                <a16:creationId xmlns:a16="http://schemas.microsoft.com/office/drawing/2014/main" id="{D0FB236E-BCC9-C3EC-1585-6DC53EEB24D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40648" y="4891011"/>
            <a:ext cx="619649" cy="619649"/>
          </a:xfrm>
          <a:prstGeom prst="rect">
            <a:avLst/>
          </a:prstGeom>
        </p:spPr>
      </p:pic>
      <p:pic>
        <p:nvPicPr>
          <p:cNvPr id="26" name="Graphic 25" descr="Teacher">
            <a:extLst>
              <a:ext uri="{FF2B5EF4-FFF2-40B4-BE49-F238E27FC236}">
                <a16:creationId xmlns:a16="http://schemas.microsoft.com/office/drawing/2014/main" id="{12F45C6E-4C43-1DF0-59A0-CB294B266E1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329899" y="5014155"/>
            <a:ext cx="432000" cy="432000"/>
          </a:xfrm>
          <a:prstGeom prst="rect">
            <a:avLst/>
          </a:prstGeom>
        </p:spPr>
      </p:pic>
      <p:pic>
        <p:nvPicPr>
          <p:cNvPr id="27" name="Graphic 26" descr="Podium">
            <a:extLst>
              <a:ext uri="{FF2B5EF4-FFF2-40B4-BE49-F238E27FC236}">
                <a16:creationId xmlns:a16="http://schemas.microsoft.com/office/drawing/2014/main" id="{343C6695-BCEA-2DB1-B0D5-1AB34ECAC54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84529" y="1926825"/>
            <a:ext cx="506995" cy="506995"/>
          </a:xfrm>
          <a:prstGeom prst="rect">
            <a:avLst/>
          </a:prstGeom>
        </p:spPr>
      </p:pic>
      <p:pic>
        <p:nvPicPr>
          <p:cNvPr id="28" name="Graphic 27" descr="Checklist with solid fill">
            <a:extLst>
              <a:ext uri="{FF2B5EF4-FFF2-40B4-BE49-F238E27FC236}">
                <a16:creationId xmlns:a16="http://schemas.microsoft.com/office/drawing/2014/main" id="{37843053-1691-A42E-9D0E-9422B514E28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440168" y="4950335"/>
            <a:ext cx="577961" cy="577961"/>
          </a:xfrm>
          <a:prstGeom prst="rect">
            <a:avLst/>
          </a:prstGeom>
        </p:spPr>
      </p:pic>
      <p:pic>
        <p:nvPicPr>
          <p:cNvPr id="29" name="Graphic 28" descr="Customer review with solid fill">
            <a:extLst>
              <a:ext uri="{FF2B5EF4-FFF2-40B4-BE49-F238E27FC236}">
                <a16:creationId xmlns:a16="http://schemas.microsoft.com/office/drawing/2014/main" id="{E5F3F312-B451-C726-D6D9-4A3F095517D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349304" y="2698426"/>
            <a:ext cx="486907" cy="486907"/>
          </a:xfrm>
          <a:prstGeom prst="rect">
            <a:avLst/>
          </a:prstGeom>
        </p:spPr>
      </p:pic>
      <p:grpSp>
        <p:nvGrpSpPr>
          <p:cNvPr id="30" name="Group 29">
            <a:extLst>
              <a:ext uri="{FF2B5EF4-FFF2-40B4-BE49-F238E27FC236}">
                <a16:creationId xmlns:a16="http://schemas.microsoft.com/office/drawing/2014/main" id="{C496E7FF-9945-3273-50E6-17EF753E712B}"/>
              </a:ext>
            </a:extLst>
          </p:cNvPr>
          <p:cNvGrpSpPr/>
          <p:nvPr/>
        </p:nvGrpSpPr>
        <p:grpSpPr>
          <a:xfrm>
            <a:off x="7312517" y="4165429"/>
            <a:ext cx="603238" cy="373065"/>
            <a:chOff x="579475" y="323541"/>
            <a:chExt cx="1528827" cy="945484"/>
          </a:xfrm>
        </p:grpSpPr>
        <p:sp>
          <p:nvSpPr>
            <p:cNvPr id="32" name="Rectangle 31">
              <a:extLst>
                <a:ext uri="{FF2B5EF4-FFF2-40B4-BE49-F238E27FC236}">
                  <a16:creationId xmlns:a16="http://schemas.microsoft.com/office/drawing/2014/main" id="{47CCFDBB-2D3B-B0F5-68EE-0C28E6014EA1}"/>
                </a:ext>
              </a:extLst>
            </p:cNvPr>
            <p:cNvSpPr/>
            <p:nvPr/>
          </p:nvSpPr>
          <p:spPr>
            <a:xfrm>
              <a:off x="579475" y="323541"/>
              <a:ext cx="1528827" cy="945484"/>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6216BCD9-040A-445C-E08B-46709711FE18}"/>
                </a:ext>
              </a:extLst>
            </p:cNvPr>
            <p:cNvSpPr/>
            <p:nvPr/>
          </p:nvSpPr>
          <p:spPr>
            <a:xfrm>
              <a:off x="709723" y="457072"/>
              <a:ext cx="1268330" cy="136763"/>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CA09AF66-0036-A674-16F2-8FD2D59C63BB}"/>
                </a:ext>
              </a:extLst>
            </p:cNvPr>
            <p:cNvSpPr/>
            <p:nvPr/>
          </p:nvSpPr>
          <p:spPr>
            <a:xfrm>
              <a:off x="70972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C3A4D6E0-839C-08DE-8965-B641EC7D9B3A}"/>
                </a:ext>
              </a:extLst>
            </p:cNvPr>
            <p:cNvSpPr/>
            <p:nvPr/>
          </p:nvSpPr>
          <p:spPr>
            <a:xfrm>
              <a:off x="142270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4" name="Ellipse 98">
            <a:extLst>
              <a:ext uri="{FF2B5EF4-FFF2-40B4-BE49-F238E27FC236}">
                <a16:creationId xmlns:a16="http://schemas.microsoft.com/office/drawing/2014/main" id="{B965BF39-D18E-0F74-B136-517A91280B76}"/>
              </a:ext>
            </a:extLst>
          </p:cNvPr>
          <p:cNvSpPr/>
          <p:nvPr>
            <p:custDataLst>
              <p:tags r:id="rId2"/>
            </p:custDataLst>
          </p:nvPr>
        </p:nvSpPr>
        <p:spPr bwMode="auto">
          <a:xfrm>
            <a:off x="4426415" y="6296211"/>
            <a:ext cx="3464141" cy="458619"/>
          </a:xfrm>
          <a:prstGeom prst="ellipse">
            <a:avLst/>
          </a:prstGeom>
          <a:gradFill flip="none" rotWithShape="1">
            <a:gsLst>
              <a:gs pos="100000">
                <a:srgbClr val="FFFFFF">
                  <a:alpha val="0"/>
                </a:srgbClr>
              </a:gs>
              <a:gs pos="0">
                <a:srgbClr val="E6E6E6">
                  <a:lumMod val="10000"/>
                  <a:alpha val="19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dirty="0">
              <a:solidFill>
                <a:srgbClr val="FFFFFF"/>
              </a:solidFill>
              <a:latin typeface="+mn-lt"/>
            </a:endParaRPr>
          </a:p>
        </p:txBody>
      </p:sp>
    </p:spTree>
    <p:extLst>
      <p:ext uri="{BB962C8B-B14F-4D97-AF65-F5344CB8AC3E}">
        <p14:creationId xmlns:p14="http://schemas.microsoft.com/office/powerpoint/2010/main" val="1203735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nt</a:t>
            </a:r>
            <a:br>
              <a:rPr lang="en-US" sz="2400" dirty="0"/>
            </a:br>
            <a:r>
              <a:rPr lang="en-GB" b="0" dirty="0"/>
              <a:t>The Toolkit includes 2 parts created by ex-Mckinsey, Deloitte and BCG management consultants</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31" name="Rectangle 30">
            <a:extLst>
              <a:ext uri="{FF2B5EF4-FFF2-40B4-BE49-F238E27FC236}">
                <a16:creationId xmlns:a16="http://schemas.microsoft.com/office/drawing/2014/main" id="{4963CA7C-AB93-EE05-4B3D-7813C2F624C1}"/>
              </a:ext>
            </a:extLst>
          </p:cNvPr>
          <p:cNvSpPr/>
          <p:nvPr/>
        </p:nvSpPr>
        <p:spPr>
          <a:xfrm>
            <a:off x="1254890" y="2475813"/>
            <a:ext cx="3945759"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 Change Management</a:t>
            </a:r>
          </a:p>
        </p:txBody>
      </p:sp>
      <p:sp>
        <p:nvSpPr>
          <p:cNvPr id="34" name="Rectangle 33">
            <a:extLst>
              <a:ext uri="{FF2B5EF4-FFF2-40B4-BE49-F238E27FC236}">
                <a16:creationId xmlns:a16="http://schemas.microsoft.com/office/drawing/2014/main" id="{DBCB0BB9-8BC5-3F31-71D1-09968B243E25}"/>
              </a:ext>
            </a:extLst>
          </p:cNvPr>
          <p:cNvSpPr/>
          <p:nvPr/>
        </p:nvSpPr>
        <p:spPr>
          <a:xfrm>
            <a:off x="6991351" y="2475813"/>
            <a:ext cx="3945759"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I. Project Management</a:t>
            </a:r>
          </a:p>
        </p:txBody>
      </p:sp>
    </p:spTree>
    <p:extLst>
      <p:ext uri="{BB962C8B-B14F-4D97-AF65-F5344CB8AC3E}">
        <p14:creationId xmlns:p14="http://schemas.microsoft.com/office/powerpoint/2010/main" val="3130013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96683CE-C2F6-4990-BA65-5E87ED73768C}"/>
              </a:ext>
            </a:extLst>
          </p:cNvPr>
          <p:cNvSpPr/>
          <p:nvPr/>
        </p:nvSpPr>
        <p:spPr bwMode="auto">
          <a:xfrm>
            <a:off x="614777" y="4568674"/>
            <a:ext cx="10993750" cy="1980000"/>
          </a:xfrm>
          <a:prstGeom prst="rect">
            <a:avLst/>
          </a:prstGeom>
          <a:no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 name="Rectangle 8">
            <a:extLst>
              <a:ext uri="{FF2B5EF4-FFF2-40B4-BE49-F238E27FC236}">
                <a16:creationId xmlns:a16="http://schemas.microsoft.com/office/drawing/2014/main" id="{12B01F11-E54D-4AB1-A9A7-59F137CC9151}"/>
              </a:ext>
            </a:extLst>
          </p:cNvPr>
          <p:cNvSpPr/>
          <p:nvPr/>
        </p:nvSpPr>
        <p:spPr bwMode="auto">
          <a:xfrm>
            <a:off x="614777" y="1651763"/>
            <a:ext cx="10993749" cy="2671832"/>
          </a:xfrm>
          <a:prstGeom prst="rect">
            <a:avLst/>
          </a:prstGeom>
          <a:no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5" name="Object 4" hidden="1">
            <a:extLst>
              <a:ext uri="{FF2B5EF4-FFF2-40B4-BE49-F238E27FC236}">
                <a16:creationId xmlns:a16="http://schemas.microsoft.com/office/drawing/2014/main" id="{AAC99EFF-354A-44CF-90A6-A74D5DB7C3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AAC99EFF-354A-44CF-90A6-A74D5DB7C3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4ADBF-C6BF-47E5-A610-498F4D8C2A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6" y="365126"/>
            <a:ext cx="11195073" cy="1091318"/>
          </a:xfrm>
        </p:spPr>
        <p:txBody>
          <a:bodyPr>
            <a:normAutofit/>
          </a:bodyPr>
          <a:lstStyle/>
          <a:p>
            <a:r>
              <a:rPr lang="en-US" sz="2300" kern="0" dirty="0"/>
              <a:t>The Change &amp; Project Management Toolkit includes frameworks, tools, templates, tutorials, real-life examples, best practices and video training to help you:</a:t>
            </a:r>
            <a:endParaRPr lang="en-US" sz="2300" b="0" kern="0" dirty="0"/>
          </a:p>
        </p:txBody>
      </p:sp>
      <p:sp>
        <p:nvSpPr>
          <p:cNvPr id="4" name="Slide Number Placeholder 3">
            <a:extLst>
              <a:ext uri="{FF2B5EF4-FFF2-40B4-BE49-F238E27FC236}">
                <a16:creationId xmlns:a16="http://schemas.microsoft.com/office/drawing/2014/main" id="{6F7AE37A-9246-4985-8F29-8D68449D9F2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45" name="Rectangle 44">
            <a:extLst>
              <a:ext uri="{FF2B5EF4-FFF2-40B4-BE49-F238E27FC236}">
                <a16:creationId xmlns:a16="http://schemas.microsoft.com/office/drawing/2014/main" id="{C40ABB58-A617-4C1D-B300-D06F0DBE43C3}"/>
              </a:ext>
            </a:extLst>
          </p:cNvPr>
          <p:cNvSpPr/>
          <p:nvPr/>
        </p:nvSpPr>
        <p:spPr>
          <a:xfrm>
            <a:off x="514114" y="1737481"/>
            <a:ext cx="11094412" cy="4514056"/>
          </a:xfrm>
          <a:prstGeom prst="rect">
            <a:avLst/>
          </a:prstGeom>
        </p:spPr>
        <p:txBody>
          <a:bodyPr wrap="square">
            <a:spAutoFit/>
          </a:bodyPr>
          <a:lstStyle/>
          <a:p>
            <a:pPr marL="174625" lvl="1" indent="-88900">
              <a:spcBef>
                <a:spcPts val="100"/>
              </a:spcBef>
              <a:spcAft>
                <a:spcPts val="100"/>
              </a:spcAft>
              <a:buFont typeface="Arial" panose="020B0604020202020204" pitchFamily="34" charset="0"/>
              <a:buChar char="•"/>
              <a:defRPr/>
            </a:pPr>
            <a:r>
              <a:rPr lang="en-GB" sz="1100" b="1" dirty="0"/>
              <a:t>Improve the change management capabilities of your organization with a simple and comprehensive 3-phase change management approach commonly used by Fortune 100 and global consulting firms: </a:t>
            </a:r>
            <a:r>
              <a:rPr lang="en-GB" sz="1100" dirty="0"/>
              <a:t>(I) Define the change management strategy, (II) Develop the Change Management Plans, (III) Implement, Track and Manage Progress</a:t>
            </a:r>
          </a:p>
          <a:p>
            <a:pPr marL="174625" lvl="1" indent="-88900">
              <a:spcBef>
                <a:spcPts val="100"/>
              </a:spcBef>
              <a:spcAft>
                <a:spcPts val="100"/>
              </a:spcAft>
              <a:buFont typeface="Arial" panose="020B0604020202020204" pitchFamily="34" charset="0"/>
              <a:buChar char="•"/>
              <a:defRPr/>
            </a:pPr>
            <a:r>
              <a:rPr lang="en-GB" sz="1100" b="1" dirty="0"/>
              <a:t>(I) Define your change management strategy: </a:t>
            </a:r>
            <a:r>
              <a:rPr lang="en-GB" sz="1100" dirty="0"/>
              <a:t>(1) Company strategy, (2) Required change to implement the strategy, (3) Business roadmap, (4) Company readiness for change, (5) Structure and size of the change management team, (6) Roles and responsibilities, (7) Guiding principles, (8) Lean change canvas, (9) Change impact assessment, (10) Change management objectives and levers (ADKAR Model)</a:t>
            </a:r>
          </a:p>
          <a:p>
            <a:pPr marL="174625" lvl="1" indent="-88900">
              <a:spcBef>
                <a:spcPts val="100"/>
              </a:spcBef>
              <a:spcAft>
                <a:spcPts val="100"/>
              </a:spcAft>
              <a:buFont typeface="Arial" panose="020B0604020202020204" pitchFamily="34" charset="0"/>
              <a:buChar char="•"/>
              <a:defRPr/>
            </a:pPr>
            <a:r>
              <a:rPr lang="en-GB" sz="1100" b="1" dirty="0"/>
              <a:t>(II) Develop your change management plans: </a:t>
            </a:r>
            <a:r>
              <a:rPr lang="en-GB" sz="1100" dirty="0"/>
              <a:t>(1) Overarching change management plan, (2) Communication plan, (3) Sponsorship plan, (4) Coaching plan, (5) Training plan, (6) Resistance management plan</a:t>
            </a:r>
          </a:p>
          <a:p>
            <a:pPr marL="174625" lvl="1" indent="-88900">
              <a:spcBef>
                <a:spcPts val="100"/>
              </a:spcBef>
              <a:spcAft>
                <a:spcPts val="100"/>
              </a:spcAft>
              <a:buFont typeface="Arial" panose="020B0604020202020204" pitchFamily="34" charset="0"/>
              <a:buChar char="•"/>
              <a:defRPr/>
            </a:pPr>
            <a:r>
              <a:rPr lang="en-GB" sz="1100" b="1" dirty="0"/>
              <a:t>(III) Implement, track and manage progress: </a:t>
            </a:r>
            <a:r>
              <a:rPr lang="en-GB" sz="1100" dirty="0"/>
              <a:t>(1) Governance, (2) Overarching change management plan status report, (3) Communication plan status report, (4) Sponsorship plan status report, (5) Coaching plan status report, (6) Training plan status report, (7) Resistance management plan status report, (8) Change reinforcement</a:t>
            </a:r>
          </a:p>
          <a:p>
            <a:pPr marL="174625" lvl="1" indent="-88900">
              <a:spcBef>
                <a:spcPts val="100"/>
              </a:spcBef>
              <a:spcAft>
                <a:spcPts val="100"/>
              </a:spcAft>
              <a:buFont typeface="Arial" panose="020B0604020202020204" pitchFamily="34" charset="0"/>
              <a:buChar char="•"/>
              <a:defRPr/>
            </a:pPr>
            <a:r>
              <a:rPr lang="en-GB" sz="1100" b="1" dirty="0"/>
              <a:t>Understand the top 12 change management frameworks and tools commonly used in most Fortune 500 companies: </a:t>
            </a:r>
            <a:r>
              <a:rPr lang="en-GB" sz="1100" dirty="0"/>
              <a:t>(1) Kotter’s 8 step Model of Change, (2) McKinsey 7S framework, (3) Burke-Litwin Change Model, (4) Prosci 3-phase process, (5) The Adkar Change Management Model, (6) Lewin's Change Management Model, (7) Change commitment curve, (8) Change personal transition curve, (9) Heart and mind human drivers, (10) Innovation adoption curve, (11) Maslow’s hierarchy of human needs, (12) Four stages of team development</a:t>
            </a:r>
          </a:p>
          <a:p>
            <a:pPr marL="174625" lvl="1" indent="-174625">
              <a:spcBef>
                <a:spcPts val="100"/>
              </a:spcBef>
              <a:spcAft>
                <a:spcPts val="100"/>
              </a:spcAft>
              <a:buFont typeface="Arial" panose="020B0604020202020204" pitchFamily="34" charset="0"/>
              <a:buChar char="•"/>
              <a:defRPr/>
            </a:pPr>
            <a:endParaRPr lang="en-GB" sz="1100" dirty="0"/>
          </a:p>
          <a:p>
            <a:pPr marL="174625" lvl="1" indent="-174625">
              <a:spcBef>
                <a:spcPts val="100"/>
              </a:spcBef>
              <a:spcAft>
                <a:spcPts val="100"/>
              </a:spcAft>
              <a:buFont typeface="Arial" panose="020B0604020202020204" pitchFamily="34" charset="0"/>
              <a:buChar char="•"/>
              <a:defRPr/>
            </a:pPr>
            <a:endParaRPr lang="en-GB" sz="1100" dirty="0"/>
          </a:p>
          <a:p>
            <a:pPr marL="174625" lvl="1" indent="-174625">
              <a:spcBef>
                <a:spcPts val="100"/>
              </a:spcBef>
              <a:spcAft>
                <a:spcPts val="100"/>
              </a:spcAft>
              <a:buFont typeface="Arial" panose="020B0604020202020204" pitchFamily="34" charset="0"/>
              <a:buChar char="•"/>
              <a:defRPr/>
            </a:pPr>
            <a:endParaRPr lang="en-GB" sz="1100" dirty="0"/>
          </a:p>
          <a:p>
            <a:pPr marL="174625" lvl="1" indent="-174625">
              <a:spcBef>
                <a:spcPts val="100"/>
              </a:spcBef>
              <a:spcAft>
                <a:spcPts val="100"/>
              </a:spcAft>
              <a:buFont typeface="Arial" panose="020B0604020202020204" pitchFamily="34" charset="0"/>
              <a:buChar char="•"/>
              <a:defRPr/>
            </a:pPr>
            <a:endParaRPr lang="en-GB" sz="1100" dirty="0"/>
          </a:p>
          <a:p>
            <a:pPr marL="174625" lvl="1" indent="-174625">
              <a:spcBef>
                <a:spcPts val="100"/>
              </a:spcBef>
              <a:spcAft>
                <a:spcPts val="100"/>
              </a:spcAft>
              <a:buFont typeface="Arial" panose="020B0604020202020204" pitchFamily="34" charset="0"/>
              <a:buChar char="•"/>
              <a:defRPr/>
            </a:pPr>
            <a:endParaRPr lang="en-GB" sz="1100" dirty="0"/>
          </a:p>
          <a:p>
            <a:pPr marL="174625" lvl="1" indent="-174625">
              <a:spcBef>
                <a:spcPts val="100"/>
              </a:spcBef>
              <a:spcAft>
                <a:spcPts val="100"/>
              </a:spcAft>
              <a:buFont typeface="Arial" panose="020B0604020202020204" pitchFamily="34" charset="0"/>
              <a:buChar char="•"/>
              <a:defRPr/>
            </a:pPr>
            <a:endParaRPr lang="en-GB" sz="1100" dirty="0"/>
          </a:p>
          <a:p>
            <a:pPr marL="174625" lvl="1" indent="-174625">
              <a:spcBef>
                <a:spcPts val="100"/>
              </a:spcBef>
              <a:spcAft>
                <a:spcPts val="100"/>
              </a:spcAft>
              <a:buFont typeface="Arial" panose="020B0604020202020204" pitchFamily="34" charset="0"/>
              <a:buChar char="•"/>
              <a:defRPr/>
            </a:pPr>
            <a:endParaRPr lang="en-GB" sz="1100" dirty="0"/>
          </a:p>
          <a:p>
            <a:pPr marL="174625" lvl="1" indent="-174625">
              <a:spcBef>
                <a:spcPts val="100"/>
              </a:spcBef>
              <a:spcAft>
                <a:spcPts val="100"/>
              </a:spcAft>
              <a:buFont typeface="Arial" panose="020B0604020202020204" pitchFamily="34" charset="0"/>
              <a:buChar char="•"/>
              <a:defRPr/>
            </a:pPr>
            <a:endParaRPr lang="en-GB" sz="1100" dirty="0"/>
          </a:p>
          <a:p>
            <a:pPr marL="174625" lvl="1" indent="-174625">
              <a:spcBef>
                <a:spcPts val="100"/>
              </a:spcBef>
              <a:spcAft>
                <a:spcPts val="100"/>
              </a:spcAft>
              <a:buFont typeface="Arial" panose="020B0604020202020204" pitchFamily="34" charset="0"/>
              <a:buChar char="•"/>
              <a:defRPr/>
            </a:pPr>
            <a:endParaRPr lang="en-GB" sz="1100" dirty="0"/>
          </a:p>
          <a:p>
            <a:pPr marL="174625" lvl="1" indent="-174625">
              <a:spcBef>
                <a:spcPts val="100"/>
              </a:spcBef>
              <a:spcAft>
                <a:spcPts val="100"/>
              </a:spcAft>
              <a:buFont typeface="Arial" panose="020B0604020202020204" pitchFamily="34" charset="0"/>
              <a:buChar char="•"/>
              <a:defRPr/>
            </a:pPr>
            <a:endParaRPr lang="en-US" sz="1100" dirty="0"/>
          </a:p>
        </p:txBody>
      </p:sp>
      <p:sp>
        <p:nvSpPr>
          <p:cNvPr id="8" name="Rectangle 7">
            <a:extLst>
              <a:ext uri="{FF2B5EF4-FFF2-40B4-BE49-F238E27FC236}">
                <a16:creationId xmlns:a16="http://schemas.microsoft.com/office/drawing/2014/main" id="{F601F365-36FE-43BA-A063-30AAF326381A}"/>
              </a:ext>
            </a:extLst>
          </p:cNvPr>
          <p:cNvSpPr/>
          <p:nvPr/>
        </p:nvSpPr>
        <p:spPr>
          <a:xfrm>
            <a:off x="514114" y="4658986"/>
            <a:ext cx="11094412" cy="1887696"/>
          </a:xfrm>
          <a:prstGeom prst="rect">
            <a:avLst/>
          </a:prstGeom>
        </p:spPr>
        <p:txBody>
          <a:bodyPr wrap="square">
            <a:spAutoFit/>
          </a:bodyPr>
          <a:lstStyle/>
          <a:p>
            <a:pPr marL="174625" lvl="1" indent="-88900">
              <a:spcBef>
                <a:spcPts val="100"/>
              </a:spcBef>
              <a:spcAft>
                <a:spcPts val="100"/>
              </a:spcAft>
              <a:buFont typeface="Arial" panose="020B0604020202020204" pitchFamily="34" charset="0"/>
              <a:buChar char="•"/>
              <a:defRPr/>
            </a:pPr>
            <a:r>
              <a:rPr lang="en-GB" sz="1100" b="1" dirty="0"/>
              <a:t>Improve the project management capabilities of your organization with a simple and comprehensive 3-phase project management approach commonly used by Fortune 100 and global consulting firms: </a:t>
            </a:r>
            <a:r>
              <a:rPr lang="en-GB" sz="1100" dirty="0"/>
              <a:t>(I) Build a business case and financial model, (II) Initiate the project, (III) Define and implement your project plan</a:t>
            </a:r>
          </a:p>
          <a:p>
            <a:pPr marL="174625" lvl="1" indent="-88900">
              <a:spcBef>
                <a:spcPts val="100"/>
              </a:spcBef>
              <a:spcAft>
                <a:spcPts val="100"/>
              </a:spcAft>
              <a:buFont typeface="Arial" panose="020B0604020202020204" pitchFamily="34" charset="0"/>
              <a:buChar char="•"/>
              <a:defRPr/>
            </a:pPr>
            <a:r>
              <a:rPr lang="en-GB" sz="1100" b="1" dirty="0"/>
              <a:t>(I) Build a business case and financial model to get your project approved by the executive committee: </a:t>
            </a:r>
            <a:r>
              <a:rPr lang="en-GB" sz="1100" dirty="0"/>
              <a:t>(1) Business opportunity &amp; suggested solution, (2) Project objectives and key performance indicators (KPIs), (3) Project scope, approach and high-level plan, (4) Deliverables, activities &amp; key success factors, (5) Strategic Alignment, (6) Value: project initial investment, project costs, additional revenue generated, cost savings, cash flows and net present value, (7) Ease of implementation </a:t>
            </a:r>
          </a:p>
          <a:p>
            <a:pPr marL="174625" lvl="1" indent="-88900">
              <a:spcBef>
                <a:spcPts val="100"/>
              </a:spcBef>
              <a:spcAft>
                <a:spcPts val="100"/>
              </a:spcAft>
              <a:buFont typeface="Arial" panose="020B0604020202020204" pitchFamily="34" charset="0"/>
              <a:buChar char="•"/>
              <a:defRPr/>
            </a:pPr>
            <a:r>
              <a:rPr lang="en-GB" sz="1100" b="1" dirty="0"/>
              <a:t>(II) Initiate your project: </a:t>
            </a:r>
            <a:r>
              <a:rPr lang="en-GB" sz="1100" dirty="0"/>
              <a:t>(1) Project charter, (2) Project challenges and key success factors, (3) RACI matrix, (4) Stakeholder analysis</a:t>
            </a:r>
          </a:p>
          <a:p>
            <a:pPr marL="174625" lvl="1" indent="-88900">
              <a:spcBef>
                <a:spcPts val="100"/>
              </a:spcBef>
              <a:spcAft>
                <a:spcPts val="100"/>
              </a:spcAft>
              <a:buFont typeface="Arial" panose="020B0604020202020204" pitchFamily="34" charset="0"/>
              <a:buChar char="•"/>
              <a:defRPr/>
            </a:pPr>
            <a:r>
              <a:rPr lang="en-GB" sz="1100" b="1" dirty="0"/>
              <a:t>(III) Define and implement your project plan: </a:t>
            </a:r>
            <a:r>
              <a:rPr lang="en-GB" sz="1100" dirty="0"/>
              <a:t>(1) High-level project plan, (2) Detailed project plan, (3) Project dashboard, (4) Parking lot, (5) Punch list, (6) Post-project evaluation report</a:t>
            </a:r>
          </a:p>
          <a:p>
            <a:pPr marL="174625" lvl="1" indent="-88900">
              <a:spcBef>
                <a:spcPts val="100"/>
              </a:spcBef>
              <a:spcAft>
                <a:spcPts val="100"/>
              </a:spcAft>
              <a:buFont typeface="Arial" panose="020B0604020202020204" pitchFamily="34" charset="0"/>
              <a:buChar char="•"/>
              <a:defRPr/>
            </a:pPr>
            <a:r>
              <a:rPr lang="en-GB" sz="1100" b="1" dirty="0"/>
              <a:t>Become a more agile organization with a 7-phase approach commonly used by Fortune 500 and global consulting firms: </a:t>
            </a:r>
            <a:r>
              <a:rPr lang="en-GB" sz="1100" dirty="0"/>
              <a:t>(1) Product Backlog, (2) Sprint Planning, (3) Sprint Backlog, (4) Sprint Execution, (5) Sprint Review, (6) Potentially Shippable Product Increment, (7) Retrospective</a:t>
            </a:r>
            <a:endParaRPr lang="en-GB" sz="1200" dirty="0"/>
          </a:p>
        </p:txBody>
      </p:sp>
      <p:sp>
        <p:nvSpPr>
          <p:cNvPr id="6" name="TextBox 5">
            <a:extLst>
              <a:ext uri="{FF2B5EF4-FFF2-40B4-BE49-F238E27FC236}">
                <a16:creationId xmlns:a16="http://schemas.microsoft.com/office/drawing/2014/main" id="{8C9E1E9F-B6D1-4C9B-89F6-850F0CD08945}"/>
              </a:ext>
            </a:extLst>
          </p:cNvPr>
          <p:cNvSpPr txBox="1"/>
          <p:nvPr/>
        </p:nvSpPr>
        <p:spPr>
          <a:xfrm>
            <a:off x="5171895" y="1506272"/>
            <a:ext cx="1948873" cy="276999"/>
          </a:xfrm>
          <a:prstGeom prst="rect">
            <a:avLst/>
          </a:prstGeom>
          <a:solidFill>
            <a:srgbClr val="F7F7F7"/>
          </a:solidFill>
        </p:spPr>
        <p:txBody>
          <a:bodyPr wrap="square" rtlCol="0">
            <a:spAutoFit/>
          </a:bodyPr>
          <a:lstStyle/>
          <a:p>
            <a:pPr algn="ctr"/>
            <a:r>
              <a:rPr lang="en-US" sz="1200" b="1" dirty="0"/>
              <a:t>Change Management</a:t>
            </a:r>
          </a:p>
        </p:txBody>
      </p:sp>
      <p:sp>
        <p:nvSpPr>
          <p:cNvPr id="12" name="TextBox 11">
            <a:extLst>
              <a:ext uri="{FF2B5EF4-FFF2-40B4-BE49-F238E27FC236}">
                <a16:creationId xmlns:a16="http://schemas.microsoft.com/office/drawing/2014/main" id="{81F2281D-E4F7-4810-BF24-5FBB0FC1DE84}"/>
              </a:ext>
            </a:extLst>
          </p:cNvPr>
          <p:cNvSpPr txBox="1"/>
          <p:nvPr/>
        </p:nvSpPr>
        <p:spPr>
          <a:xfrm>
            <a:off x="5171895" y="4426669"/>
            <a:ext cx="1948873" cy="276999"/>
          </a:xfrm>
          <a:prstGeom prst="rect">
            <a:avLst/>
          </a:prstGeom>
          <a:solidFill>
            <a:srgbClr val="F7F7F7"/>
          </a:solidFill>
        </p:spPr>
        <p:txBody>
          <a:bodyPr wrap="square" rtlCol="0">
            <a:spAutoFit/>
          </a:bodyPr>
          <a:lstStyle/>
          <a:p>
            <a:pPr algn="ctr"/>
            <a:r>
              <a:rPr lang="en-US" sz="1200" b="1" dirty="0"/>
              <a:t>Project Management</a:t>
            </a:r>
          </a:p>
        </p:txBody>
      </p:sp>
    </p:spTree>
    <p:extLst>
      <p:ext uri="{BB962C8B-B14F-4D97-AF65-F5344CB8AC3E}">
        <p14:creationId xmlns:p14="http://schemas.microsoft.com/office/powerpoint/2010/main" val="481449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 Change Management</a:t>
            </a:r>
            <a:br>
              <a:rPr lang="en-US" sz="2400" dirty="0"/>
            </a:br>
            <a:r>
              <a:rPr lang="en-US" sz="1800" b="0" dirty="0"/>
              <a:t>The first part of the Toolkit includes a summary of the </a:t>
            </a:r>
            <a:r>
              <a:rPr lang="en-GB" sz="1800" b="0" dirty="0"/>
              <a:t>top 12 change management frameworks and tools commonly used in most Fortune 500 companies, and </a:t>
            </a:r>
            <a:r>
              <a:rPr lang="en-US" sz="1800" b="0" dirty="0"/>
              <a:t>a condensed and practical Change Management 3-Phase Approach to help you undertake the organizational change of your organization.</a:t>
            </a:r>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8" name="Chevron 17">
            <a:extLst>
              <a:ext uri="{FF2B5EF4-FFF2-40B4-BE49-F238E27FC236}">
                <a16:creationId xmlns:a16="http://schemas.microsoft.com/office/drawing/2014/main" id="{44D82846-5412-4854-9CE9-6BD4A4D3F201}"/>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10" name="Rectangle 9">
            <a:extLst>
              <a:ext uri="{FF2B5EF4-FFF2-40B4-BE49-F238E27FC236}">
                <a16:creationId xmlns:a16="http://schemas.microsoft.com/office/drawing/2014/main" id="{F6F130AE-016B-49E7-B056-02422308B35C}"/>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1" name="Rectangle 10">
            <a:extLst>
              <a:ext uri="{FF2B5EF4-FFF2-40B4-BE49-F238E27FC236}">
                <a16:creationId xmlns:a16="http://schemas.microsoft.com/office/drawing/2014/main" id="{381FC75F-03AC-4E06-95A5-77AA464D139B}"/>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2" name="Rectangle 11">
            <a:extLst>
              <a:ext uri="{FF2B5EF4-FFF2-40B4-BE49-F238E27FC236}">
                <a16:creationId xmlns:a16="http://schemas.microsoft.com/office/drawing/2014/main" id="{F22BF9F2-93B5-4D57-85D0-BA4BB3074ECE}"/>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4" name="Straight Connector 13">
            <a:extLst>
              <a:ext uri="{FF2B5EF4-FFF2-40B4-BE49-F238E27FC236}">
                <a16:creationId xmlns:a16="http://schemas.microsoft.com/office/drawing/2014/main" id="{BD538E77-947C-4FAE-B4B2-3DD1EF8F7624}"/>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4" name="Chevron 17">
            <a:extLst>
              <a:ext uri="{FF2B5EF4-FFF2-40B4-BE49-F238E27FC236}">
                <a16:creationId xmlns:a16="http://schemas.microsoft.com/office/drawing/2014/main" id="{B37241D5-D790-45E8-BF55-A1BE78BE73CE}"/>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45" name="Straight Connector 44">
            <a:extLst>
              <a:ext uri="{FF2B5EF4-FFF2-40B4-BE49-F238E27FC236}">
                <a16:creationId xmlns:a16="http://schemas.microsoft.com/office/drawing/2014/main" id="{B4F81B7A-6305-4E8C-BB6C-F5EA082CC1F4}"/>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348A7EA7-3990-4563-9792-0C87DE3BBA5A}"/>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pic>
        <p:nvPicPr>
          <p:cNvPr id="36" name="Graphic 35" descr="Clipboard Partially Checked outline">
            <a:extLst>
              <a:ext uri="{FF2B5EF4-FFF2-40B4-BE49-F238E27FC236}">
                <a16:creationId xmlns:a16="http://schemas.microsoft.com/office/drawing/2014/main" id="{711CDEEF-7D23-103E-1E29-74E7377B76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3035" y="1472180"/>
            <a:ext cx="473281" cy="473281"/>
          </a:xfrm>
          <a:prstGeom prst="rect">
            <a:avLst/>
          </a:prstGeom>
        </p:spPr>
      </p:pic>
      <p:sp>
        <p:nvSpPr>
          <p:cNvPr id="54" name="Rectangle: Rounded Corners 53">
            <a:extLst>
              <a:ext uri="{FF2B5EF4-FFF2-40B4-BE49-F238E27FC236}">
                <a16:creationId xmlns:a16="http://schemas.microsoft.com/office/drawing/2014/main" id="{495ED347-7FDF-1C2A-EC03-CEDF01B3EDC4}"/>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55" name="Rectangle: Rounded Corners 54">
            <a:extLst>
              <a:ext uri="{FF2B5EF4-FFF2-40B4-BE49-F238E27FC236}">
                <a16:creationId xmlns:a16="http://schemas.microsoft.com/office/drawing/2014/main" id="{7A54ACF6-3479-C619-88A1-B047A502C94A}"/>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56" name="Rectangle: Rounded Corners 55">
            <a:extLst>
              <a:ext uri="{FF2B5EF4-FFF2-40B4-BE49-F238E27FC236}">
                <a16:creationId xmlns:a16="http://schemas.microsoft.com/office/drawing/2014/main" id="{5A66721C-EB86-49CF-0CC9-44F2ABE76409}"/>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57" name="Rectangle: Rounded Corners 56">
            <a:extLst>
              <a:ext uri="{FF2B5EF4-FFF2-40B4-BE49-F238E27FC236}">
                <a16:creationId xmlns:a16="http://schemas.microsoft.com/office/drawing/2014/main" id="{434E4DD4-DA40-F24D-A220-C6E3E9A473B0}"/>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Prosci 3-phase process</a:t>
            </a:r>
            <a:endParaRPr lang="en-US" sz="1000" b="1" dirty="0">
              <a:solidFill>
                <a:schemeClr val="tx1"/>
              </a:solidFill>
              <a:latin typeface="+mj-lt"/>
              <a:cs typeface="Helvetica"/>
            </a:endParaRPr>
          </a:p>
        </p:txBody>
      </p:sp>
      <p:sp>
        <p:nvSpPr>
          <p:cNvPr id="58" name="Rectangle: Rounded Corners 57">
            <a:extLst>
              <a:ext uri="{FF2B5EF4-FFF2-40B4-BE49-F238E27FC236}">
                <a16:creationId xmlns:a16="http://schemas.microsoft.com/office/drawing/2014/main" id="{C3DB1682-19A5-929F-4BBE-A3245A0A630F}"/>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dkar Change Management Model</a:t>
            </a:r>
            <a:endParaRPr lang="en-US" sz="1000" b="1" dirty="0">
              <a:solidFill>
                <a:schemeClr val="tx1"/>
              </a:solidFill>
              <a:latin typeface="+mj-lt"/>
              <a:cs typeface="Helvetica"/>
            </a:endParaRPr>
          </a:p>
        </p:txBody>
      </p:sp>
      <p:sp>
        <p:nvSpPr>
          <p:cNvPr id="59" name="Rectangle: Rounded Corners 58">
            <a:extLst>
              <a:ext uri="{FF2B5EF4-FFF2-40B4-BE49-F238E27FC236}">
                <a16:creationId xmlns:a16="http://schemas.microsoft.com/office/drawing/2014/main" id="{5CBE555C-77A8-529F-317A-362FFFF7B8B8}"/>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60" name="Rectangle: Rounded Corners 59">
            <a:extLst>
              <a:ext uri="{FF2B5EF4-FFF2-40B4-BE49-F238E27FC236}">
                <a16:creationId xmlns:a16="http://schemas.microsoft.com/office/drawing/2014/main" id="{6231A93B-867A-7B7F-6DE5-6B31BC24832D}"/>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61" name="Rectangle: Rounded Corners 60">
            <a:extLst>
              <a:ext uri="{FF2B5EF4-FFF2-40B4-BE49-F238E27FC236}">
                <a16:creationId xmlns:a16="http://schemas.microsoft.com/office/drawing/2014/main" id="{F7EB08D9-F554-B21F-3FFB-E8612D143E86}"/>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62" name="Rectangle: Rounded Corners 61">
            <a:extLst>
              <a:ext uri="{FF2B5EF4-FFF2-40B4-BE49-F238E27FC236}">
                <a16:creationId xmlns:a16="http://schemas.microsoft.com/office/drawing/2014/main" id="{DF6DDC82-9732-9F50-B9B8-3E96707E0E04}"/>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63" name="Rectangle: Rounded Corners 62">
            <a:extLst>
              <a:ext uri="{FF2B5EF4-FFF2-40B4-BE49-F238E27FC236}">
                <a16:creationId xmlns:a16="http://schemas.microsoft.com/office/drawing/2014/main" id="{FA44308B-6117-A74C-3885-04B05EC75A25}"/>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64" name="Rectangle: Rounded Corners 63">
            <a:extLst>
              <a:ext uri="{FF2B5EF4-FFF2-40B4-BE49-F238E27FC236}">
                <a16:creationId xmlns:a16="http://schemas.microsoft.com/office/drawing/2014/main" id="{D386557E-0D0F-8B4D-AEFC-BEE853D5EBE2}"/>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65" name="Rectangle: Rounded Corners 64">
            <a:extLst>
              <a:ext uri="{FF2B5EF4-FFF2-40B4-BE49-F238E27FC236}">
                <a16:creationId xmlns:a16="http://schemas.microsoft.com/office/drawing/2014/main" id="{0B1DF7C9-FB37-E7C0-8B84-1C68528E741F}"/>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78" name="Graphic 77" descr="Blueprint outline">
            <a:extLst>
              <a:ext uri="{FF2B5EF4-FFF2-40B4-BE49-F238E27FC236}">
                <a16:creationId xmlns:a16="http://schemas.microsoft.com/office/drawing/2014/main" id="{CEDA95BF-9572-1510-7BB4-DBDE2D974F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492789"/>
            <a:ext cx="432065" cy="432065"/>
          </a:xfrm>
          <a:prstGeom prst="rect">
            <a:avLst/>
          </a:prstGeom>
        </p:spPr>
      </p:pic>
      <p:pic>
        <p:nvPicPr>
          <p:cNvPr id="80" name="Graphic 79" descr="Target outline">
            <a:extLst>
              <a:ext uri="{FF2B5EF4-FFF2-40B4-BE49-F238E27FC236}">
                <a16:creationId xmlns:a16="http://schemas.microsoft.com/office/drawing/2014/main" id="{3EAB7A9D-4789-792C-AFEE-99D26A3748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497158"/>
            <a:ext cx="443594" cy="443594"/>
          </a:xfrm>
          <a:prstGeom prst="rect">
            <a:avLst/>
          </a:prstGeom>
        </p:spPr>
      </p:pic>
    </p:spTree>
    <p:extLst>
      <p:ext uri="{BB962C8B-B14F-4D97-AF65-F5344CB8AC3E}">
        <p14:creationId xmlns:p14="http://schemas.microsoft.com/office/powerpoint/2010/main" val="8438715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0CE43FF-6A6E-895B-69FB-40A1A56FD2AF}"/>
              </a:ext>
            </a:extLst>
          </p:cNvPr>
          <p:cNvSpPr/>
          <p:nvPr/>
        </p:nvSpPr>
        <p:spPr>
          <a:xfrm>
            <a:off x="597147" y="1783081"/>
            <a:ext cx="11073049" cy="3055694"/>
          </a:xfrm>
          <a:prstGeom prst="roundRect">
            <a:avLst>
              <a:gd name="adj" fmla="val 1343"/>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I. Project Management</a:t>
            </a:r>
            <a:br>
              <a:rPr lang="en-US" sz="2400" dirty="0"/>
            </a:br>
            <a:r>
              <a:rPr lang="en-US" sz="1800" b="0" dirty="0"/>
              <a:t>The second part of the Toolkit includes </a:t>
            </a:r>
            <a:r>
              <a:rPr lang="en-GB" sz="1800" b="0" dirty="0"/>
              <a:t>a traditional Project Management 3-Phase Approach and an Agile approach to help you define and implement your projects effectively and efficiently</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3" name="Chevron 17">
            <a:extLst>
              <a:ext uri="{FF2B5EF4-FFF2-40B4-BE49-F238E27FC236}">
                <a16:creationId xmlns:a16="http://schemas.microsoft.com/office/drawing/2014/main" id="{EA450401-54A0-7F29-864C-FB4D088FE8F3}"/>
              </a:ext>
            </a:extLst>
          </p:cNvPr>
          <p:cNvSpPr/>
          <p:nvPr/>
        </p:nvSpPr>
        <p:spPr bwMode="auto">
          <a:xfrm>
            <a:off x="665727"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Build a Business Case &amp; Financial Model</a:t>
            </a:r>
            <a:endParaRPr lang="en-US" sz="1300" b="1"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9B9FBDF8-9371-81CA-B78A-4CB64754C987}"/>
              </a:ext>
            </a:extLst>
          </p:cNvPr>
          <p:cNvSpPr/>
          <p:nvPr/>
        </p:nvSpPr>
        <p:spPr bwMode="auto">
          <a:xfrm>
            <a:off x="4356125"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a:t>
            </a:r>
            <a:r>
              <a:rPr lang="en-GB" sz="1300" b="1" dirty="0">
                <a:solidFill>
                  <a:schemeClr val="bg1"/>
                </a:solidFill>
                <a:cs typeface="Times New Roman" pitchFamily="18" charset="0"/>
              </a:rPr>
              <a:t>Initiate the Project</a:t>
            </a:r>
          </a:p>
        </p:txBody>
      </p:sp>
      <p:sp>
        <p:nvSpPr>
          <p:cNvPr id="9" name="Rectangle 8">
            <a:extLst>
              <a:ext uri="{FF2B5EF4-FFF2-40B4-BE49-F238E27FC236}">
                <a16:creationId xmlns:a16="http://schemas.microsoft.com/office/drawing/2014/main" id="{C184ECF8-D1D8-2F4F-A2D2-5C9BC2A88792}"/>
              </a:ext>
            </a:extLst>
          </p:cNvPr>
          <p:cNvSpPr/>
          <p:nvPr/>
        </p:nvSpPr>
        <p:spPr>
          <a:xfrm>
            <a:off x="720890" y="2812578"/>
            <a:ext cx="3690953" cy="202619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Project Descriptio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Business opportunity &amp; suggested solutio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Project objectives and key performance indicators</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Project scope, approach and high-level plan</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Deliverables, activities &amp; key success factors</a:t>
            </a:r>
          </a:p>
          <a:p>
            <a:pPr marL="169863" indent="-169863">
              <a:spcBef>
                <a:spcPts val="200"/>
              </a:spcBef>
              <a:spcAft>
                <a:spcPts val="200"/>
              </a:spcAft>
              <a:buFont typeface="+mj-lt"/>
              <a:buAutoNum type="arabicPeriod"/>
              <a:defRPr/>
            </a:pPr>
            <a:r>
              <a:rPr lang="en-GB" sz="1100" dirty="0">
                <a:solidFill>
                  <a:srgbClr val="002776"/>
                </a:solidFill>
              </a:rPr>
              <a:t>Project Assessment</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Strategic alignment</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Value (Revenue, Costs, Net present value, ROI, etc.)</a:t>
            </a:r>
          </a:p>
          <a:p>
            <a:pPr marL="263525" lvl="1" indent="-73025">
              <a:spcBef>
                <a:spcPts val="200"/>
              </a:spcBef>
              <a:spcAft>
                <a:spcPts val="200"/>
              </a:spcAft>
              <a:buFont typeface="Arial" panose="020B0604020202020204" pitchFamily="34" charset="0"/>
              <a:buChar char="•"/>
              <a:defRPr/>
            </a:pPr>
            <a:r>
              <a:rPr lang="en-GB" sz="1100" dirty="0">
                <a:solidFill>
                  <a:srgbClr val="002776"/>
                </a:solidFill>
              </a:rPr>
              <a:t>Ease of implementation</a:t>
            </a:r>
          </a:p>
        </p:txBody>
      </p:sp>
      <p:sp>
        <p:nvSpPr>
          <p:cNvPr id="15" name="Rectangle 14">
            <a:extLst>
              <a:ext uri="{FF2B5EF4-FFF2-40B4-BE49-F238E27FC236}">
                <a16:creationId xmlns:a16="http://schemas.microsoft.com/office/drawing/2014/main" id="{56B4B888-3570-F317-2A33-A8E979355DF5}"/>
              </a:ext>
            </a:extLst>
          </p:cNvPr>
          <p:cNvSpPr/>
          <p:nvPr/>
        </p:nvSpPr>
        <p:spPr>
          <a:xfrm>
            <a:off x="8046523" y="2812578"/>
            <a:ext cx="3447437"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High-level project plan</a:t>
            </a:r>
          </a:p>
          <a:p>
            <a:pPr marL="169863" indent="-169863">
              <a:spcBef>
                <a:spcPts val="200"/>
              </a:spcBef>
              <a:spcAft>
                <a:spcPts val="200"/>
              </a:spcAft>
              <a:buFont typeface="+mj-lt"/>
              <a:buAutoNum type="arabicPeriod"/>
              <a:defRPr/>
            </a:pPr>
            <a:r>
              <a:rPr lang="en-GB" sz="1100" dirty="0">
                <a:solidFill>
                  <a:srgbClr val="002776"/>
                </a:solidFill>
              </a:rPr>
              <a:t>Detailed project plan</a:t>
            </a:r>
          </a:p>
          <a:p>
            <a:pPr marL="169863" indent="-169863">
              <a:spcBef>
                <a:spcPts val="200"/>
              </a:spcBef>
              <a:spcAft>
                <a:spcPts val="200"/>
              </a:spcAft>
              <a:buFont typeface="+mj-lt"/>
              <a:buAutoNum type="arabicPeriod"/>
              <a:defRPr/>
            </a:pPr>
            <a:r>
              <a:rPr lang="en-GB" sz="1100" dirty="0">
                <a:solidFill>
                  <a:srgbClr val="002776"/>
                </a:solidFill>
              </a:rPr>
              <a:t>Project dashboard</a:t>
            </a:r>
          </a:p>
          <a:p>
            <a:pPr marL="169863" indent="-169863">
              <a:spcBef>
                <a:spcPts val="200"/>
              </a:spcBef>
              <a:spcAft>
                <a:spcPts val="200"/>
              </a:spcAft>
              <a:buFont typeface="+mj-lt"/>
              <a:buAutoNum type="arabicPeriod"/>
              <a:defRPr/>
            </a:pPr>
            <a:r>
              <a:rPr lang="en-GB" sz="1100" dirty="0">
                <a:solidFill>
                  <a:srgbClr val="002776"/>
                </a:solidFill>
              </a:rPr>
              <a:t>Parking lot</a:t>
            </a:r>
          </a:p>
          <a:p>
            <a:pPr marL="169863" indent="-169863">
              <a:spcBef>
                <a:spcPts val="200"/>
              </a:spcBef>
              <a:spcAft>
                <a:spcPts val="200"/>
              </a:spcAft>
              <a:buFont typeface="+mj-lt"/>
              <a:buAutoNum type="arabicPeriod"/>
              <a:defRPr/>
            </a:pPr>
            <a:r>
              <a:rPr lang="en-GB" sz="1100" dirty="0">
                <a:solidFill>
                  <a:srgbClr val="002776"/>
                </a:solidFill>
              </a:rPr>
              <a:t>Punch list</a:t>
            </a:r>
          </a:p>
          <a:p>
            <a:pPr marL="169863" indent="-169863">
              <a:spcBef>
                <a:spcPts val="200"/>
              </a:spcBef>
              <a:spcAft>
                <a:spcPts val="200"/>
              </a:spcAft>
              <a:buFont typeface="+mj-lt"/>
              <a:buAutoNum type="arabicPeriod"/>
              <a:defRPr/>
            </a:pPr>
            <a:r>
              <a:rPr lang="en-GB" sz="1100" dirty="0">
                <a:solidFill>
                  <a:srgbClr val="002776"/>
                </a:solidFill>
              </a:rPr>
              <a:t>Post-project evaluation report</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sp>
        <p:nvSpPr>
          <p:cNvPr id="17" name="Chevron 17">
            <a:extLst>
              <a:ext uri="{FF2B5EF4-FFF2-40B4-BE49-F238E27FC236}">
                <a16:creationId xmlns:a16="http://schemas.microsoft.com/office/drawing/2014/main" id="{8B6FB289-0775-989C-9510-556B672BEBE9}"/>
              </a:ext>
            </a:extLst>
          </p:cNvPr>
          <p:cNvSpPr/>
          <p:nvPr/>
        </p:nvSpPr>
        <p:spPr bwMode="auto">
          <a:xfrm>
            <a:off x="8046523" y="2363662"/>
            <a:ext cx="3604451" cy="432000"/>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Define and Implement your Project Plan</a:t>
            </a:r>
          </a:p>
        </p:txBody>
      </p:sp>
      <p:sp>
        <p:nvSpPr>
          <p:cNvPr id="19" name="Rectangle 18">
            <a:extLst>
              <a:ext uri="{FF2B5EF4-FFF2-40B4-BE49-F238E27FC236}">
                <a16:creationId xmlns:a16="http://schemas.microsoft.com/office/drawing/2014/main" id="{066B3D28-B8E5-3542-6B84-9DE7FC5DC58C}"/>
              </a:ext>
            </a:extLst>
          </p:cNvPr>
          <p:cNvSpPr/>
          <p:nvPr/>
        </p:nvSpPr>
        <p:spPr>
          <a:xfrm>
            <a:off x="4411844" y="2812578"/>
            <a:ext cx="3396807"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Project charter</a:t>
            </a:r>
          </a:p>
          <a:p>
            <a:pPr marL="169863" indent="-169863">
              <a:spcBef>
                <a:spcPts val="200"/>
              </a:spcBef>
              <a:spcAft>
                <a:spcPts val="200"/>
              </a:spcAft>
              <a:buFont typeface="+mj-lt"/>
              <a:buAutoNum type="arabicPeriod"/>
              <a:defRPr/>
            </a:pPr>
            <a:r>
              <a:rPr lang="en-GB" sz="1100" dirty="0">
                <a:solidFill>
                  <a:srgbClr val="002776"/>
                </a:solidFill>
              </a:rPr>
              <a:t>Project challenges and key success factors</a:t>
            </a:r>
          </a:p>
          <a:p>
            <a:pPr marL="169863" indent="-169863">
              <a:spcBef>
                <a:spcPts val="200"/>
              </a:spcBef>
              <a:spcAft>
                <a:spcPts val="200"/>
              </a:spcAft>
              <a:buFont typeface="+mj-lt"/>
              <a:buAutoNum type="arabicPeriod"/>
              <a:defRPr/>
            </a:pPr>
            <a:r>
              <a:rPr lang="nb-NO" sz="1100" dirty="0">
                <a:solidFill>
                  <a:srgbClr val="002776"/>
                </a:solidFill>
              </a:rPr>
              <a:t>RACI matrix</a:t>
            </a:r>
          </a:p>
          <a:p>
            <a:pPr marL="169863" indent="-169863">
              <a:spcBef>
                <a:spcPts val="200"/>
              </a:spcBef>
              <a:spcAft>
                <a:spcPts val="200"/>
              </a:spcAft>
              <a:buFont typeface="+mj-lt"/>
              <a:buAutoNum type="arabicPeriod"/>
              <a:defRPr/>
            </a:pPr>
            <a:r>
              <a:rPr lang="nb-NO" sz="1100" dirty="0">
                <a:solidFill>
                  <a:srgbClr val="002776"/>
                </a:solidFill>
              </a:rPr>
              <a:t>Stakeholder analysis</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p:txBody>
      </p:sp>
      <p:pic>
        <p:nvPicPr>
          <p:cNvPr id="27" name="Graphic 26" descr="Bar chart outline">
            <a:extLst>
              <a:ext uri="{FF2B5EF4-FFF2-40B4-BE49-F238E27FC236}">
                <a16:creationId xmlns:a16="http://schemas.microsoft.com/office/drawing/2014/main" id="{E56A2071-4F51-C148-1C35-30AB9525F3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01284" y="1882268"/>
            <a:ext cx="455456" cy="455456"/>
          </a:xfrm>
          <a:prstGeom prst="rect">
            <a:avLst/>
          </a:prstGeom>
        </p:spPr>
      </p:pic>
      <p:pic>
        <p:nvPicPr>
          <p:cNvPr id="29" name="Graphic 28" descr="Play outline">
            <a:extLst>
              <a:ext uri="{FF2B5EF4-FFF2-40B4-BE49-F238E27FC236}">
                <a16:creationId xmlns:a16="http://schemas.microsoft.com/office/drawing/2014/main" id="{EF7ADB60-CCDB-7DCA-2F02-0070B20E67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81647" y="1863930"/>
            <a:ext cx="457200" cy="457200"/>
          </a:xfrm>
          <a:prstGeom prst="rect">
            <a:avLst/>
          </a:prstGeom>
        </p:spPr>
      </p:pic>
      <p:pic>
        <p:nvPicPr>
          <p:cNvPr id="31" name="Graphic 30" descr="Checklist outline">
            <a:extLst>
              <a:ext uri="{FF2B5EF4-FFF2-40B4-BE49-F238E27FC236}">
                <a16:creationId xmlns:a16="http://schemas.microsoft.com/office/drawing/2014/main" id="{3A99DED6-2185-EF27-6E39-838C939FBE7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20148" y="1882268"/>
            <a:ext cx="457200" cy="457200"/>
          </a:xfrm>
          <a:prstGeom prst="rect">
            <a:avLst/>
          </a:prstGeom>
        </p:spPr>
      </p:pic>
      <p:sp>
        <p:nvSpPr>
          <p:cNvPr id="2" name="TextBox 1">
            <a:extLst>
              <a:ext uri="{FF2B5EF4-FFF2-40B4-BE49-F238E27FC236}">
                <a16:creationId xmlns:a16="http://schemas.microsoft.com/office/drawing/2014/main" id="{37C45936-8205-4EBD-981B-A2D169BC42A4}"/>
              </a:ext>
            </a:extLst>
          </p:cNvPr>
          <p:cNvSpPr txBox="1"/>
          <p:nvPr/>
        </p:nvSpPr>
        <p:spPr>
          <a:xfrm>
            <a:off x="4487751" y="1512544"/>
            <a:ext cx="3291840" cy="307777"/>
          </a:xfrm>
          <a:prstGeom prst="rect">
            <a:avLst/>
          </a:prstGeom>
          <a:noFill/>
        </p:spPr>
        <p:txBody>
          <a:bodyPr wrap="square" rtlCol="0">
            <a:spAutoFit/>
          </a:bodyPr>
          <a:lstStyle/>
          <a:p>
            <a:pPr algn="ctr"/>
            <a:r>
              <a:rPr lang="en-US" sz="1400" b="1" dirty="0"/>
              <a:t>Traditional Approach</a:t>
            </a:r>
          </a:p>
        </p:txBody>
      </p:sp>
      <p:sp>
        <p:nvSpPr>
          <p:cNvPr id="6" name="Rectangle: Rounded Corners 5">
            <a:extLst>
              <a:ext uri="{FF2B5EF4-FFF2-40B4-BE49-F238E27FC236}">
                <a16:creationId xmlns:a16="http://schemas.microsoft.com/office/drawing/2014/main" id="{4B038958-A2A8-6280-7307-C6A1E607AE7F}"/>
              </a:ext>
            </a:extLst>
          </p:cNvPr>
          <p:cNvSpPr/>
          <p:nvPr/>
        </p:nvSpPr>
        <p:spPr>
          <a:xfrm>
            <a:off x="597147" y="5338152"/>
            <a:ext cx="11073049" cy="1200442"/>
          </a:xfrm>
          <a:prstGeom prst="roundRect">
            <a:avLst>
              <a:gd name="adj" fmla="val 396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C8D8E6CA-BB88-6989-EE33-EDC8134F95A9}"/>
              </a:ext>
            </a:extLst>
          </p:cNvPr>
          <p:cNvSpPr txBox="1"/>
          <p:nvPr/>
        </p:nvSpPr>
        <p:spPr>
          <a:xfrm>
            <a:off x="4487751" y="5021895"/>
            <a:ext cx="3291840" cy="307777"/>
          </a:xfrm>
          <a:prstGeom prst="rect">
            <a:avLst/>
          </a:prstGeom>
          <a:noFill/>
        </p:spPr>
        <p:txBody>
          <a:bodyPr wrap="square" rtlCol="0">
            <a:spAutoFit/>
          </a:bodyPr>
          <a:lstStyle/>
          <a:p>
            <a:pPr algn="ctr"/>
            <a:r>
              <a:rPr lang="en-US" sz="1400" b="1" dirty="0"/>
              <a:t>Agile Approach</a:t>
            </a:r>
          </a:p>
        </p:txBody>
      </p:sp>
      <p:sp>
        <p:nvSpPr>
          <p:cNvPr id="10" name="Right Arrow 20">
            <a:extLst>
              <a:ext uri="{FF2B5EF4-FFF2-40B4-BE49-F238E27FC236}">
                <a16:creationId xmlns:a16="http://schemas.microsoft.com/office/drawing/2014/main" id="{A84D7B7B-5F92-F4A6-7DAE-FD2298354B68}"/>
              </a:ext>
            </a:extLst>
          </p:cNvPr>
          <p:cNvSpPr/>
          <p:nvPr/>
        </p:nvSpPr>
        <p:spPr>
          <a:xfrm>
            <a:off x="2343505" y="5588779"/>
            <a:ext cx="1336554" cy="59307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 name="Right Arrow 27">
            <a:extLst>
              <a:ext uri="{FF2B5EF4-FFF2-40B4-BE49-F238E27FC236}">
                <a16:creationId xmlns:a16="http://schemas.microsoft.com/office/drawing/2014/main" id="{EC1235CE-FAA8-FD31-FEF8-68B02890540A}"/>
              </a:ext>
            </a:extLst>
          </p:cNvPr>
          <p:cNvSpPr/>
          <p:nvPr/>
        </p:nvSpPr>
        <p:spPr>
          <a:xfrm>
            <a:off x="5520928" y="5588779"/>
            <a:ext cx="2419190" cy="59307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4" name="TextBox 13">
            <a:extLst>
              <a:ext uri="{FF2B5EF4-FFF2-40B4-BE49-F238E27FC236}">
                <a16:creationId xmlns:a16="http://schemas.microsoft.com/office/drawing/2014/main" id="{1E0D2E98-AF15-1F97-5ABD-894172E59E3E}"/>
              </a:ext>
            </a:extLst>
          </p:cNvPr>
          <p:cNvSpPr txBox="1"/>
          <p:nvPr/>
        </p:nvSpPr>
        <p:spPr>
          <a:xfrm>
            <a:off x="766157" y="6268879"/>
            <a:ext cx="1200970"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Product Backlog</a:t>
            </a:r>
          </a:p>
        </p:txBody>
      </p:sp>
      <p:sp>
        <p:nvSpPr>
          <p:cNvPr id="20" name="TextBox 19">
            <a:extLst>
              <a:ext uri="{FF2B5EF4-FFF2-40B4-BE49-F238E27FC236}">
                <a16:creationId xmlns:a16="http://schemas.microsoft.com/office/drawing/2014/main" id="{1E3BC9B5-3A1B-B69A-1BA4-6C0727BAA167}"/>
              </a:ext>
            </a:extLst>
          </p:cNvPr>
          <p:cNvSpPr txBox="1"/>
          <p:nvPr/>
        </p:nvSpPr>
        <p:spPr>
          <a:xfrm>
            <a:off x="3981660" y="6268879"/>
            <a:ext cx="1087157"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Backlog</a:t>
            </a:r>
          </a:p>
        </p:txBody>
      </p:sp>
      <p:sp>
        <p:nvSpPr>
          <p:cNvPr id="21" name="TextBox 20">
            <a:extLst>
              <a:ext uri="{FF2B5EF4-FFF2-40B4-BE49-F238E27FC236}">
                <a16:creationId xmlns:a16="http://schemas.microsoft.com/office/drawing/2014/main" id="{81780AF8-0CF3-9271-63AB-6D7233F0ABDC}"/>
              </a:ext>
            </a:extLst>
          </p:cNvPr>
          <p:cNvSpPr txBox="1"/>
          <p:nvPr/>
        </p:nvSpPr>
        <p:spPr>
          <a:xfrm>
            <a:off x="6072891" y="6268879"/>
            <a:ext cx="1200970"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Execution</a:t>
            </a:r>
          </a:p>
        </p:txBody>
      </p:sp>
      <p:sp>
        <p:nvSpPr>
          <p:cNvPr id="22" name="TextBox 21">
            <a:extLst>
              <a:ext uri="{FF2B5EF4-FFF2-40B4-BE49-F238E27FC236}">
                <a16:creationId xmlns:a16="http://schemas.microsoft.com/office/drawing/2014/main" id="{5CAF78C5-3FDB-55BA-8E5E-928CC096F261}"/>
              </a:ext>
            </a:extLst>
          </p:cNvPr>
          <p:cNvSpPr txBox="1"/>
          <p:nvPr/>
        </p:nvSpPr>
        <p:spPr>
          <a:xfrm>
            <a:off x="8553456" y="6152054"/>
            <a:ext cx="2103114" cy="400110"/>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Potentially Shippable Product Increment</a:t>
            </a:r>
          </a:p>
        </p:txBody>
      </p:sp>
      <p:sp>
        <p:nvSpPr>
          <p:cNvPr id="24" name="TextBox 23">
            <a:extLst>
              <a:ext uri="{FF2B5EF4-FFF2-40B4-BE49-F238E27FC236}">
                <a16:creationId xmlns:a16="http://schemas.microsoft.com/office/drawing/2014/main" id="{276F0C7B-2D2C-B079-2CA6-256011679C5E}"/>
              </a:ext>
            </a:extLst>
          </p:cNvPr>
          <p:cNvSpPr txBox="1"/>
          <p:nvPr/>
        </p:nvSpPr>
        <p:spPr>
          <a:xfrm>
            <a:off x="2392642" y="6301264"/>
            <a:ext cx="1130438" cy="246221"/>
          </a:xfrm>
          <a:prstGeom prst="rect">
            <a:avLst/>
          </a:prstGeom>
          <a:noFill/>
        </p:spPr>
        <p:txBody>
          <a:bodyPr wrap="none" rtlCol="0" anchor="b" anchorCtr="0">
            <a:spAutoFit/>
          </a:bodyPr>
          <a:lstStyle/>
          <a:p>
            <a:pPr algn="ctr"/>
            <a:r>
              <a:rPr lang="en-US" sz="1000" b="1" dirty="0">
                <a:solidFill>
                  <a:schemeClr val="tx2"/>
                </a:solidFill>
                <a:ea typeface="League Spartan" charset="0"/>
                <a:cs typeface="Poppins" pitchFamily="2" charset="77"/>
              </a:rPr>
              <a:t>Sprint Planning</a:t>
            </a:r>
          </a:p>
        </p:txBody>
      </p:sp>
      <p:sp>
        <p:nvSpPr>
          <p:cNvPr id="25" name="TextBox 24">
            <a:extLst>
              <a:ext uri="{FF2B5EF4-FFF2-40B4-BE49-F238E27FC236}">
                <a16:creationId xmlns:a16="http://schemas.microsoft.com/office/drawing/2014/main" id="{919CCB0D-0BDC-A477-A1BA-213659826114}"/>
              </a:ext>
            </a:extLst>
          </p:cNvPr>
          <p:cNvSpPr txBox="1"/>
          <p:nvPr/>
        </p:nvSpPr>
        <p:spPr>
          <a:xfrm>
            <a:off x="7961625" y="6184439"/>
            <a:ext cx="795117" cy="400110"/>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Sprint Review</a:t>
            </a:r>
          </a:p>
        </p:txBody>
      </p:sp>
      <p:sp>
        <p:nvSpPr>
          <p:cNvPr id="30" name="Rectangle 29">
            <a:extLst>
              <a:ext uri="{FF2B5EF4-FFF2-40B4-BE49-F238E27FC236}">
                <a16:creationId xmlns:a16="http://schemas.microsoft.com/office/drawing/2014/main" id="{E2C4C1B1-9371-1DC9-C09D-6C3B363824CC}"/>
              </a:ext>
            </a:extLst>
          </p:cNvPr>
          <p:cNvSpPr/>
          <p:nvPr/>
        </p:nvSpPr>
        <p:spPr>
          <a:xfrm>
            <a:off x="863959"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36" name="Rectangle 35">
            <a:extLst>
              <a:ext uri="{FF2B5EF4-FFF2-40B4-BE49-F238E27FC236}">
                <a16:creationId xmlns:a16="http://schemas.microsoft.com/office/drawing/2014/main" id="{F6844F40-1F0A-01BA-4DD6-036005152350}"/>
              </a:ext>
            </a:extLst>
          </p:cNvPr>
          <p:cNvSpPr/>
          <p:nvPr/>
        </p:nvSpPr>
        <p:spPr>
          <a:xfrm>
            <a:off x="1248938"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0" name="Rectangle 39">
            <a:extLst>
              <a:ext uri="{FF2B5EF4-FFF2-40B4-BE49-F238E27FC236}">
                <a16:creationId xmlns:a16="http://schemas.microsoft.com/office/drawing/2014/main" id="{057BFD13-5871-D223-FEEF-E402E64BDD28}"/>
              </a:ext>
            </a:extLst>
          </p:cNvPr>
          <p:cNvSpPr/>
          <p:nvPr/>
        </p:nvSpPr>
        <p:spPr>
          <a:xfrm>
            <a:off x="1633916" y="5630345"/>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5" name="Freeform 948">
            <a:extLst>
              <a:ext uri="{FF2B5EF4-FFF2-40B4-BE49-F238E27FC236}">
                <a16:creationId xmlns:a16="http://schemas.microsoft.com/office/drawing/2014/main" id="{190A3E05-8B7D-5E96-9FDD-B05FAEA1BF9C}"/>
              </a:ext>
            </a:extLst>
          </p:cNvPr>
          <p:cNvSpPr>
            <a:spLocks noChangeAspect="1" noChangeArrowheads="1"/>
          </p:cNvSpPr>
          <p:nvPr/>
        </p:nvSpPr>
        <p:spPr bwMode="auto">
          <a:xfrm>
            <a:off x="9173090" y="5406454"/>
            <a:ext cx="855900" cy="754006"/>
          </a:xfrm>
          <a:custGeom>
            <a:avLst/>
            <a:gdLst>
              <a:gd name="T0" fmla="*/ 27610722 w 293328"/>
              <a:gd name="T1" fmla="*/ 27453834 h 258401"/>
              <a:gd name="T2" fmla="*/ 9154902 w 293328"/>
              <a:gd name="T3" fmla="*/ 26352054 h 258401"/>
              <a:gd name="T4" fmla="*/ 8582692 w 293328"/>
              <a:gd name="T5" fmla="*/ 26925015 h 258401"/>
              <a:gd name="T6" fmla="*/ 24560222 w 293328"/>
              <a:gd name="T7" fmla="*/ 27001841 h 258401"/>
              <a:gd name="T8" fmla="*/ 27587035 w 293328"/>
              <a:gd name="T9" fmla="*/ 23963042 h 258401"/>
              <a:gd name="T10" fmla="*/ 9080349 w 293328"/>
              <a:gd name="T11" fmla="*/ 30040687 h 258401"/>
              <a:gd name="T12" fmla="*/ 1038012 w 293328"/>
              <a:gd name="T13" fmla="*/ 21097906 h 258401"/>
              <a:gd name="T14" fmla="*/ 5015691 w 293328"/>
              <a:gd name="T15" fmla="*/ 26437412 h 258401"/>
              <a:gd name="T16" fmla="*/ 19933601 w 293328"/>
              <a:gd name="T17" fmla="*/ 26437412 h 258401"/>
              <a:gd name="T18" fmla="*/ 24016198 w 293328"/>
              <a:gd name="T19" fmla="*/ 19859556 h 258401"/>
              <a:gd name="T20" fmla="*/ 26673362 w 293328"/>
              <a:gd name="T21" fmla="*/ 20961094 h 258401"/>
              <a:gd name="T22" fmla="*/ 24016198 w 293328"/>
              <a:gd name="T23" fmla="*/ 19859556 h 258401"/>
              <a:gd name="T24" fmla="*/ 15307077 w 293328"/>
              <a:gd name="T25" fmla="*/ 13587724 h 258401"/>
              <a:gd name="T26" fmla="*/ 16733736 w 293328"/>
              <a:gd name="T27" fmla="*/ 11069930 h 258401"/>
              <a:gd name="T28" fmla="*/ 11026240 w 293328"/>
              <a:gd name="T29" fmla="*/ 20012605 h 258401"/>
              <a:gd name="T30" fmla="*/ 17814730 w 293328"/>
              <a:gd name="T31" fmla="*/ 11069930 h 258401"/>
              <a:gd name="T32" fmla="*/ 17079772 w 293328"/>
              <a:gd name="T33" fmla="*/ 15324063 h 258401"/>
              <a:gd name="T34" fmla="*/ 13706857 w 293328"/>
              <a:gd name="T35" fmla="*/ 15367655 h 258401"/>
              <a:gd name="T36" fmla="*/ 13144847 w 293328"/>
              <a:gd name="T37" fmla="*/ 11069930 h 258401"/>
              <a:gd name="T38" fmla="*/ 4237276 w 293328"/>
              <a:gd name="T39" fmla="*/ 14021773 h 258401"/>
              <a:gd name="T40" fmla="*/ 5707359 w 293328"/>
              <a:gd name="T41" fmla="*/ 13587724 h 258401"/>
              <a:gd name="T42" fmla="*/ 4237276 w 293328"/>
              <a:gd name="T43" fmla="*/ 11069930 h 258401"/>
              <a:gd name="T44" fmla="*/ 9945373 w 293328"/>
              <a:gd name="T45" fmla="*/ 20012605 h 258401"/>
              <a:gd name="T46" fmla="*/ 7826377 w 293328"/>
              <a:gd name="T47" fmla="*/ 14803100 h 258401"/>
              <a:gd name="T48" fmla="*/ 7091399 w 293328"/>
              <a:gd name="T49" fmla="*/ 15324063 h 258401"/>
              <a:gd name="T50" fmla="*/ 3415964 w 293328"/>
              <a:gd name="T51" fmla="*/ 15237161 h 258401"/>
              <a:gd name="T52" fmla="*/ 1038012 w 293328"/>
              <a:gd name="T53" fmla="*/ 11069930 h 258401"/>
              <a:gd name="T54" fmla="*/ 26722298 w 293328"/>
              <a:gd name="T55" fmla="*/ 16409461 h 258401"/>
              <a:gd name="T56" fmla="*/ 25252179 w 293328"/>
              <a:gd name="T57" fmla="*/ 7466708 h 258401"/>
              <a:gd name="T58" fmla="*/ 21014519 w 293328"/>
              <a:gd name="T59" fmla="*/ 26437412 h 258401"/>
              <a:gd name="T60" fmla="*/ 31651633 w 293328"/>
              <a:gd name="T61" fmla="*/ 26437412 h 258401"/>
              <a:gd name="T62" fmla="*/ 34202613 w 293328"/>
              <a:gd name="T63" fmla="*/ 23963042 h 258401"/>
              <a:gd name="T64" fmla="*/ 32343327 w 293328"/>
              <a:gd name="T65" fmla="*/ 22877815 h 258401"/>
              <a:gd name="T66" fmla="*/ 32343327 w 293328"/>
              <a:gd name="T67" fmla="*/ 20967830 h 258401"/>
              <a:gd name="T68" fmla="*/ 34202613 w 293328"/>
              <a:gd name="T69" fmla="*/ 19882456 h 258401"/>
              <a:gd name="T70" fmla="*/ 26722298 w 293328"/>
              <a:gd name="T71" fmla="*/ 17494806 h 258401"/>
              <a:gd name="T72" fmla="*/ 21014519 w 293328"/>
              <a:gd name="T73" fmla="*/ 7466708 h 258401"/>
              <a:gd name="T74" fmla="*/ 10290941 w 293328"/>
              <a:gd name="T75" fmla="*/ 3559590 h 258401"/>
              <a:gd name="T76" fmla="*/ 11718072 w 293328"/>
              <a:gd name="T77" fmla="*/ 1041754 h 258401"/>
              <a:gd name="T78" fmla="*/ 6053678 w 293328"/>
              <a:gd name="T79" fmla="*/ 9984609 h 258401"/>
              <a:gd name="T80" fmla="*/ 12799067 w 293328"/>
              <a:gd name="T81" fmla="*/ 1041754 h 258401"/>
              <a:gd name="T82" fmla="*/ 12280200 w 293328"/>
              <a:gd name="T83" fmla="*/ 5339544 h 258401"/>
              <a:gd name="T84" fmla="*/ 8907366 w 293328"/>
              <a:gd name="T85" fmla="*/ 5296325 h 258401"/>
              <a:gd name="T86" fmla="*/ 8172406 w 293328"/>
              <a:gd name="T87" fmla="*/ 1041754 h 258401"/>
              <a:gd name="T88" fmla="*/ 15479727 w 293328"/>
              <a:gd name="T89" fmla="*/ 0 h 258401"/>
              <a:gd name="T90" fmla="*/ 19933601 w 293328"/>
              <a:gd name="T91" fmla="*/ 9984609 h 258401"/>
              <a:gd name="T92" fmla="*/ 25252179 w 293328"/>
              <a:gd name="T93" fmla="*/ 6381406 h 258401"/>
              <a:gd name="T94" fmla="*/ 35240414 w 293328"/>
              <a:gd name="T95" fmla="*/ 19838874 h 258401"/>
              <a:gd name="T96" fmla="*/ 31651633 w 293328"/>
              <a:gd name="T97" fmla="*/ 27522882 h 258401"/>
              <a:gd name="T98" fmla="*/ 13144847 w 293328"/>
              <a:gd name="T99" fmla="*/ 27522882 h 258401"/>
              <a:gd name="T100" fmla="*/ 1945877 w 293328"/>
              <a:gd name="T101" fmla="*/ 27522882 h 258401"/>
              <a:gd name="T102" fmla="*/ 0 w 293328"/>
              <a:gd name="T103" fmla="*/ 10549040 h 258401"/>
              <a:gd name="T104" fmla="*/ 4972696 w 293328"/>
              <a:gd name="T105" fmla="*/ 520909 h 2584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3328" h="258401">
                <a:moveTo>
                  <a:pt x="229821" y="219075"/>
                </a:moveTo>
                <a:cubicBezTo>
                  <a:pt x="232386" y="219075"/>
                  <a:pt x="234584" y="220907"/>
                  <a:pt x="234584" y="223838"/>
                </a:cubicBezTo>
                <a:cubicBezTo>
                  <a:pt x="234584" y="226402"/>
                  <a:pt x="232386" y="228234"/>
                  <a:pt x="229821" y="228234"/>
                </a:cubicBezTo>
                <a:cubicBezTo>
                  <a:pt x="227257" y="228234"/>
                  <a:pt x="225425" y="226402"/>
                  <a:pt x="225425" y="223838"/>
                </a:cubicBezTo>
                <a:cubicBezTo>
                  <a:pt x="225425" y="220907"/>
                  <a:pt x="227257" y="219075"/>
                  <a:pt x="229821" y="219075"/>
                </a:cubicBezTo>
                <a:close/>
                <a:moveTo>
                  <a:pt x="76200" y="219075"/>
                </a:moveTo>
                <a:cubicBezTo>
                  <a:pt x="78398" y="219075"/>
                  <a:pt x="80597" y="220907"/>
                  <a:pt x="80597" y="223838"/>
                </a:cubicBezTo>
                <a:cubicBezTo>
                  <a:pt x="80597" y="226402"/>
                  <a:pt x="78398" y="228234"/>
                  <a:pt x="76200" y="228234"/>
                </a:cubicBezTo>
                <a:cubicBezTo>
                  <a:pt x="73636" y="228234"/>
                  <a:pt x="71438" y="226402"/>
                  <a:pt x="71438" y="223838"/>
                </a:cubicBezTo>
                <a:cubicBezTo>
                  <a:pt x="71438" y="220907"/>
                  <a:pt x="73636" y="219075"/>
                  <a:pt x="76200" y="219075"/>
                </a:cubicBezTo>
                <a:close/>
                <a:moveTo>
                  <a:pt x="229624" y="199214"/>
                </a:moveTo>
                <a:cubicBezTo>
                  <a:pt x="215947" y="199214"/>
                  <a:pt x="204430" y="210402"/>
                  <a:pt x="204430" y="224477"/>
                </a:cubicBezTo>
                <a:cubicBezTo>
                  <a:pt x="204430" y="238191"/>
                  <a:pt x="215947" y="249740"/>
                  <a:pt x="229624" y="249740"/>
                </a:cubicBezTo>
                <a:cubicBezTo>
                  <a:pt x="243660" y="249740"/>
                  <a:pt x="254818" y="238191"/>
                  <a:pt x="254818" y="224477"/>
                </a:cubicBezTo>
                <a:cubicBezTo>
                  <a:pt x="254818" y="210402"/>
                  <a:pt x="243660" y="199214"/>
                  <a:pt x="229624" y="199214"/>
                </a:cubicBezTo>
                <a:close/>
                <a:moveTo>
                  <a:pt x="75581" y="199214"/>
                </a:moveTo>
                <a:cubicBezTo>
                  <a:pt x="61545" y="199214"/>
                  <a:pt x="50388" y="210402"/>
                  <a:pt x="50388" y="224477"/>
                </a:cubicBezTo>
                <a:cubicBezTo>
                  <a:pt x="50388" y="238191"/>
                  <a:pt x="61545" y="249740"/>
                  <a:pt x="75581" y="249740"/>
                </a:cubicBezTo>
                <a:cubicBezTo>
                  <a:pt x="89258" y="249740"/>
                  <a:pt x="100415" y="238191"/>
                  <a:pt x="100415" y="224477"/>
                </a:cubicBezTo>
                <a:cubicBezTo>
                  <a:pt x="100415" y="210402"/>
                  <a:pt x="89258" y="199214"/>
                  <a:pt x="75581" y="199214"/>
                </a:cubicBezTo>
                <a:close/>
                <a:moveTo>
                  <a:pt x="8638" y="175395"/>
                </a:moveTo>
                <a:lnTo>
                  <a:pt x="8638" y="212568"/>
                </a:lnTo>
                <a:cubicBezTo>
                  <a:pt x="8638" y="216537"/>
                  <a:pt x="11877" y="219785"/>
                  <a:pt x="16196" y="219785"/>
                </a:cubicBezTo>
                <a:lnTo>
                  <a:pt x="41750" y="219785"/>
                </a:lnTo>
                <a:cubicBezTo>
                  <a:pt x="43909" y="203184"/>
                  <a:pt x="58306" y="190192"/>
                  <a:pt x="75581" y="190192"/>
                </a:cubicBezTo>
                <a:cubicBezTo>
                  <a:pt x="92857" y="190192"/>
                  <a:pt x="106894" y="203184"/>
                  <a:pt x="109413" y="219785"/>
                </a:cubicBezTo>
                <a:lnTo>
                  <a:pt x="165919" y="219785"/>
                </a:lnTo>
                <a:lnTo>
                  <a:pt x="165919" y="175395"/>
                </a:lnTo>
                <a:lnTo>
                  <a:pt x="8638" y="175395"/>
                </a:lnTo>
                <a:close/>
                <a:moveTo>
                  <a:pt x="199901" y="165100"/>
                </a:moveTo>
                <a:lnTo>
                  <a:pt x="222019" y="165100"/>
                </a:lnTo>
                <a:cubicBezTo>
                  <a:pt x="224873" y="165100"/>
                  <a:pt x="226656" y="166932"/>
                  <a:pt x="226656" y="169863"/>
                </a:cubicBezTo>
                <a:cubicBezTo>
                  <a:pt x="226656" y="172061"/>
                  <a:pt x="224873" y="174259"/>
                  <a:pt x="222019" y="174259"/>
                </a:cubicBezTo>
                <a:lnTo>
                  <a:pt x="199901" y="174259"/>
                </a:lnTo>
                <a:cubicBezTo>
                  <a:pt x="197404" y="174259"/>
                  <a:pt x="195263" y="172061"/>
                  <a:pt x="195263" y="169863"/>
                </a:cubicBezTo>
                <a:cubicBezTo>
                  <a:pt x="195263" y="166932"/>
                  <a:pt x="197404" y="165100"/>
                  <a:pt x="199901" y="165100"/>
                </a:cubicBezTo>
                <a:close/>
                <a:moveTo>
                  <a:pt x="118411" y="92028"/>
                </a:moveTo>
                <a:lnTo>
                  <a:pt x="118411" y="116569"/>
                </a:lnTo>
                <a:lnTo>
                  <a:pt x="127409" y="112960"/>
                </a:lnTo>
                <a:cubicBezTo>
                  <a:pt x="128128" y="112599"/>
                  <a:pt x="129208" y="112599"/>
                  <a:pt x="130288" y="112960"/>
                </a:cubicBezTo>
                <a:lnTo>
                  <a:pt x="139286" y="116569"/>
                </a:lnTo>
                <a:lnTo>
                  <a:pt x="139286" y="92028"/>
                </a:lnTo>
                <a:lnTo>
                  <a:pt x="118411" y="92028"/>
                </a:lnTo>
                <a:close/>
                <a:moveTo>
                  <a:pt x="91777" y="92028"/>
                </a:moveTo>
                <a:lnTo>
                  <a:pt x="91777" y="166373"/>
                </a:lnTo>
                <a:lnTo>
                  <a:pt x="165919" y="166373"/>
                </a:lnTo>
                <a:lnTo>
                  <a:pt x="165919" y="92028"/>
                </a:lnTo>
                <a:lnTo>
                  <a:pt x="148284" y="92028"/>
                </a:lnTo>
                <a:lnTo>
                  <a:pt x="148284" y="123065"/>
                </a:lnTo>
                <a:cubicBezTo>
                  <a:pt x="148284" y="124870"/>
                  <a:pt x="147204" y="125952"/>
                  <a:pt x="146124" y="126674"/>
                </a:cubicBezTo>
                <a:cubicBezTo>
                  <a:pt x="145044" y="127757"/>
                  <a:pt x="143245" y="127757"/>
                  <a:pt x="142165" y="127396"/>
                </a:cubicBezTo>
                <a:lnTo>
                  <a:pt x="128848" y="121983"/>
                </a:lnTo>
                <a:lnTo>
                  <a:pt x="115532" y="127396"/>
                </a:lnTo>
                <a:cubicBezTo>
                  <a:pt x="115172" y="127757"/>
                  <a:pt x="114452" y="127757"/>
                  <a:pt x="114092" y="127757"/>
                </a:cubicBezTo>
                <a:cubicBezTo>
                  <a:pt x="113012" y="127757"/>
                  <a:pt x="112292" y="127396"/>
                  <a:pt x="111573" y="126674"/>
                </a:cubicBezTo>
                <a:cubicBezTo>
                  <a:pt x="110493" y="125952"/>
                  <a:pt x="109413" y="124870"/>
                  <a:pt x="109413" y="123065"/>
                </a:cubicBezTo>
                <a:lnTo>
                  <a:pt x="109413" y="92028"/>
                </a:lnTo>
                <a:lnTo>
                  <a:pt x="91777" y="92028"/>
                </a:lnTo>
                <a:close/>
                <a:moveTo>
                  <a:pt x="35271" y="92028"/>
                </a:moveTo>
                <a:lnTo>
                  <a:pt x="35271" y="116569"/>
                </a:lnTo>
                <a:lnTo>
                  <a:pt x="44269" y="112960"/>
                </a:lnTo>
                <a:cubicBezTo>
                  <a:pt x="44629" y="112960"/>
                  <a:pt x="45349" y="112960"/>
                  <a:pt x="45709" y="112960"/>
                </a:cubicBezTo>
                <a:cubicBezTo>
                  <a:pt x="46428" y="112960"/>
                  <a:pt x="46788" y="112960"/>
                  <a:pt x="47508" y="112960"/>
                </a:cubicBezTo>
                <a:lnTo>
                  <a:pt x="56146" y="116569"/>
                </a:lnTo>
                <a:lnTo>
                  <a:pt x="56146" y="92028"/>
                </a:lnTo>
                <a:lnTo>
                  <a:pt x="35271" y="92028"/>
                </a:lnTo>
                <a:close/>
                <a:moveTo>
                  <a:pt x="8638" y="92028"/>
                </a:moveTo>
                <a:lnTo>
                  <a:pt x="8638" y="166373"/>
                </a:lnTo>
                <a:lnTo>
                  <a:pt x="82780" y="166373"/>
                </a:lnTo>
                <a:lnTo>
                  <a:pt x="82780" y="92028"/>
                </a:lnTo>
                <a:lnTo>
                  <a:pt x="65144" y="92028"/>
                </a:lnTo>
                <a:lnTo>
                  <a:pt x="65144" y="123065"/>
                </a:lnTo>
                <a:cubicBezTo>
                  <a:pt x="65144" y="124870"/>
                  <a:pt x="64064" y="125952"/>
                  <a:pt x="63344" y="126674"/>
                </a:cubicBezTo>
                <a:cubicBezTo>
                  <a:pt x="62265" y="127396"/>
                  <a:pt x="61545" y="127757"/>
                  <a:pt x="60825" y="127757"/>
                </a:cubicBezTo>
                <a:cubicBezTo>
                  <a:pt x="60105" y="127757"/>
                  <a:pt x="59385" y="127757"/>
                  <a:pt x="59025" y="127396"/>
                </a:cubicBezTo>
                <a:lnTo>
                  <a:pt x="45709" y="121983"/>
                </a:lnTo>
                <a:lnTo>
                  <a:pt x="32752" y="127396"/>
                </a:lnTo>
                <a:cubicBezTo>
                  <a:pt x="31312" y="127757"/>
                  <a:pt x="29513" y="127757"/>
                  <a:pt x="28433" y="126674"/>
                </a:cubicBezTo>
                <a:cubicBezTo>
                  <a:pt x="27353" y="125952"/>
                  <a:pt x="26273" y="124870"/>
                  <a:pt x="26273" y="123065"/>
                </a:cubicBezTo>
                <a:lnTo>
                  <a:pt x="26273" y="92028"/>
                </a:lnTo>
                <a:lnTo>
                  <a:pt x="8638" y="92028"/>
                </a:lnTo>
                <a:close/>
                <a:moveTo>
                  <a:pt x="204430" y="62074"/>
                </a:moveTo>
                <a:lnTo>
                  <a:pt x="204430" y="118374"/>
                </a:lnTo>
                <a:cubicBezTo>
                  <a:pt x="204430" y="128479"/>
                  <a:pt x="212708" y="136418"/>
                  <a:pt x="222426" y="136418"/>
                </a:cubicBezTo>
                <a:lnTo>
                  <a:pt x="258417" y="136418"/>
                </a:lnTo>
                <a:lnTo>
                  <a:pt x="233223" y="77592"/>
                </a:lnTo>
                <a:cubicBezTo>
                  <a:pt x="229264" y="68209"/>
                  <a:pt x="220266" y="62074"/>
                  <a:pt x="210189" y="62074"/>
                </a:cubicBezTo>
                <a:lnTo>
                  <a:pt x="204430" y="62074"/>
                </a:lnTo>
                <a:close/>
                <a:moveTo>
                  <a:pt x="174917" y="62074"/>
                </a:moveTo>
                <a:lnTo>
                  <a:pt x="174917" y="219785"/>
                </a:lnTo>
                <a:lnTo>
                  <a:pt x="195792" y="219785"/>
                </a:lnTo>
                <a:cubicBezTo>
                  <a:pt x="197952" y="203184"/>
                  <a:pt x="212348" y="190192"/>
                  <a:pt x="229624" y="190192"/>
                </a:cubicBezTo>
                <a:cubicBezTo>
                  <a:pt x="246900" y="190192"/>
                  <a:pt x="261296" y="203184"/>
                  <a:pt x="263456" y="219785"/>
                </a:cubicBezTo>
                <a:lnTo>
                  <a:pt x="277132" y="219785"/>
                </a:lnTo>
                <a:cubicBezTo>
                  <a:pt x="281091" y="219785"/>
                  <a:pt x="284690" y="216537"/>
                  <a:pt x="284690" y="212568"/>
                </a:cubicBezTo>
                <a:lnTo>
                  <a:pt x="284690" y="199214"/>
                </a:lnTo>
                <a:lnTo>
                  <a:pt x="269214" y="199214"/>
                </a:lnTo>
                <a:cubicBezTo>
                  <a:pt x="267055" y="199214"/>
                  <a:pt x="264895" y="197049"/>
                  <a:pt x="264895" y="194523"/>
                </a:cubicBezTo>
                <a:cubicBezTo>
                  <a:pt x="264895" y="191996"/>
                  <a:pt x="267055" y="190192"/>
                  <a:pt x="269214" y="190192"/>
                </a:cubicBezTo>
                <a:lnTo>
                  <a:pt x="284690" y="190192"/>
                </a:lnTo>
                <a:lnTo>
                  <a:pt x="284690" y="174313"/>
                </a:lnTo>
                <a:lnTo>
                  <a:pt x="269214" y="174313"/>
                </a:lnTo>
                <a:cubicBezTo>
                  <a:pt x="267055" y="174313"/>
                  <a:pt x="264895" y="172147"/>
                  <a:pt x="264895" y="169982"/>
                </a:cubicBezTo>
                <a:cubicBezTo>
                  <a:pt x="264895" y="167095"/>
                  <a:pt x="267055" y="165290"/>
                  <a:pt x="269214" y="165290"/>
                </a:cubicBezTo>
                <a:lnTo>
                  <a:pt x="284690" y="165290"/>
                </a:lnTo>
                <a:lnTo>
                  <a:pt x="284690" y="164929"/>
                </a:lnTo>
                <a:cubicBezTo>
                  <a:pt x="284690" y="154102"/>
                  <a:pt x="275693" y="145441"/>
                  <a:pt x="265255" y="145441"/>
                </a:cubicBezTo>
                <a:lnTo>
                  <a:pt x="222426" y="145441"/>
                </a:lnTo>
                <a:cubicBezTo>
                  <a:pt x="207669" y="145441"/>
                  <a:pt x="195432" y="133531"/>
                  <a:pt x="195432" y="118374"/>
                </a:cubicBezTo>
                <a:lnTo>
                  <a:pt x="195432" y="62074"/>
                </a:lnTo>
                <a:lnTo>
                  <a:pt x="174917" y="62074"/>
                </a:lnTo>
                <a:close/>
                <a:moveTo>
                  <a:pt x="77021" y="8661"/>
                </a:moveTo>
                <a:lnTo>
                  <a:pt x="77021" y="33202"/>
                </a:lnTo>
                <a:lnTo>
                  <a:pt x="85659" y="29593"/>
                </a:lnTo>
                <a:cubicBezTo>
                  <a:pt x="86739" y="29232"/>
                  <a:pt x="87818" y="29232"/>
                  <a:pt x="88898" y="29593"/>
                </a:cubicBezTo>
                <a:lnTo>
                  <a:pt x="97536" y="33202"/>
                </a:lnTo>
                <a:lnTo>
                  <a:pt x="97536" y="8661"/>
                </a:lnTo>
                <a:lnTo>
                  <a:pt x="77021" y="8661"/>
                </a:lnTo>
                <a:close/>
                <a:moveTo>
                  <a:pt x="50388" y="8661"/>
                </a:moveTo>
                <a:lnTo>
                  <a:pt x="50388" y="83006"/>
                </a:lnTo>
                <a:lnTo>
                  <a:pt x="124169" y="83006"/>
                </a:lnTo>
                <a:lnTo>
                  <a:pt x="124169" y="8661"/>
                </a:lnTo>
                <a:lnTo>
                  <a:pt x="106534" y="8661"/>
                </a:lnTo>
                <a:lnTo>
                  <a:pt x="106534" y="40059"/>
                </a:lnTo>
                <a:cubicBezTo>
                  <a:pt x="106534" y="41503"/>
                  <a:pt x="105814" y="42946"/>
                  <a:pt x="104734" y="43307"/>
                </a:cubicBezTo>
                <a:cubicBezTo>
                  <a:pt x="104014" y="44029"/>
                  <a:pt x="102935" y="44390"/>
                  <a:pt x="102215" y="44390"/>
                </a:cubicBezTo>
                <a:cubicBezTo>
                  <a:pt x="101855" y="44390"/>
                  <a:pt x="101135" y="44390"/>
                  <a:pt x="100415" y="44029"/>
                </a:cubicBezTo>
                <a:lnTo>
                  <a:pt x="87458" y="38977"/>
                </a:lnTo>
                <a:lnTo>
                  <a:pt x="74142" y="44029"/>
                </a:lnTo>
                <a:cubicBezTo>
                  <a:pt x="72702" y="44751"/>
                  <a:pt x="71262" y="44390"/>
                  <a:pt x="69823" y="43307"/>
                </a:cubicBezTo>
                <a:cubicBezTo>
                  <a:pt x="68743" y="42946"/>
                  <a:pt x="68023" y="41503"/>
                  <a:pt x="68023" y="40059"/>
                </a:cubicBezTo>
                <a:lnTo>
                  <a:pt x="68023" y="8661"/>
                </a:lnTo>
                <a:lnTo>
                  <a:pt x="50388" y="8661"/>
                </a:lnTo>
                <a:close/>
                <a:moveTo>
                  <a:pt x="45709" y="0"/>
                </a:moveTo>
                <a:lnTo>
                  <a:pt x="128848" y="0"/>
                </a:lnTo>
                <a:cubicBezTo>
                  <a:pt x="131368" y="0"/>
                  <a:pt x="133527" y="1804"/>
                  <a:pt x="133527" y="4331"/>
                </a:cubicBezTo>
                <a:lnTo>
                  <a:pt x="133527" y="83006"/>
                </a:lnTo>
                <a:lnTo>
                  <a:pt x="165919" y="83006"/>
                </a:lnTo>
                <a:lnTo>
                  <a:pt x="165919" y="57743"/>
                </a:lnTo>
                <a:cubicBezTo>
                  <a:pt x="165919" y="55578"/>
                  <a:pt x="167719" y="53051"/>
                  <a:pt x="170238" y="53051"/>
                </a:cubicBezTo>
                <a:lnTo>
                  <a:pt x="210189" y="53051"/>
                </a:lnTo>
                <a:cubicBezTo>
                  <a:pt x="223865" y="53051"/>
                  <a:pt x="236102" y="61352"/>
                  <a:pt x="241501" y="73983"/>
                </a:cubicBezTo>
                <a:lnTo>
                  <a:pt x="268134" y="136779"/>
                </a:lnTo>
                <a:cubicBezTo>
                  <a:pt x="282531" y="138223"/>
                  <a:pt x="293328" y="150493"/>
                  <a:pt x="293328" y="164929"/>
                </a:cubicBezTo>
                <a:lnTo>
                  <a:pt x="293328" y="212568"/>
                </a:lnTo>
                <a:cubicBezTo>
                  <a:pt x="293328" y="221590"/>
                  <a:pt x="286130" y="228808"/>
                  <a:pt x="277132" y="228808"/>
                </a:cubicBezTo>
                <a:lnTo>
                  <a:pt x="263456" y="228808"/>
                </a:lnTo>
                <a:cubicBezTo>
                  <a:pt x="261296" y="245409"/>
                  <a:pt x="246900" y="258401"/>
                  <a:pt x="229624" y="258401"/>
                </a:cubicBezTo>
                <a:cubicBezTo>
                  <a:pt x="212348" y="258401"/>
                  <a:pt x="197952" y="245409"/>
                  <a:pt x="195792" y="228808"/>
                </a:cubicBezTo>
                <a:lnTo>
                  <a:pt x="109413" y="228808"/>
                </a:lnTo>
                <a:cubicBezTo>
                  <a:pt x="106894" y="245409"/>
                  <a:pt x="92857" y="258401"/>
                  <a:pt x="75581" y="258401"/>
                </a:cubicBezTo>
                <a:cubicBezTo>
                  <a:pt x="58306" y="258401"/>
                  <a:pt x="43909" y="245409"/>
                  <a:pt x="41750" y="228808"/>
                </a:cubicBezTo>
                <a:lnTo>
                  <a:pt x="16196" y="228808"/>
                </a:lnTo>
                <a:cubicBezTo>
                  <a:pt x="7198" y="228808"/>
                  <a:pt x="0" y="221590"/>
                  <a:pt x="0" y="212568"/>
                </a:cubicBezTo>
                <a:lnTo>
                  <a:pt x="0" y="170704"/>
                </a:lnTo>
                <a:lnTo>
                  <a:pt x="0" y="87697"/>
                </a:lnTo>
                <a:cubicBezTo>
                  <a:pt x="0" y="85171"/>
                  <a:pt x="1799" y="83006"/>
                  <a:pt x="4319" y="83006"/>
                </a:cubicBezTo>
                <a:lnTo>
                  <a:pt x="41390" y="83006"/>
                </a:lnTo>
                <a:lnTo>
                  <a:pt x="41390" y="4331"/>
                </a:lnTo>
                <a:cubicBezTo>
                  <a:pt x="41390" y="1804"/>
                  <a:pt x="43549" y="0"/>
                  <a:pt x="45709" y="0"/>
                </a:cubicBezTo>
                <a:close/>
              </a:path>
            </a:pathLst>
          </a:custGeom>
          <a:solidFill>
            <a:schemeClr val="tx2"/>
          </a:solidFill>
          <a:ln>
            <a:noFill/>
          </a:ln>
          <a:effectLst/>
        </p:spPr>
        <p:txBody>
          <a:bodyPr anchor="ctr"/>
          <a:lstStyle/>
          <a:p>
            <a:endParaRPr lang="en-US" dirty="0">
              <a:latin typeface="Lato Light" panose="020F0502020204030203" pitchFamily="34" charset="0"/>
            </a:endParaRPr>
          </a:p>
        </p:txBody>
      </p:sp>
      <p:pic>
        <p:nvPicPr>
          <p:cNvPr id="46" name="Graphic 45" descr="Magnifying glass with solid fill">
            <a:extLst>
              <a:ext uri="{FF2B5EF4-FFF2-40B4-BE49-F238E27FC236}">
                <a16:creationId xmlns:a16="http://schemas.microsoft.com/office/drawing/2014/main" id="{BC70BB0D-9830-0DD2-54E1-D9FFBE6303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70162" y="5579759"/>
            <a:ext cx="581573" cy="581573"/>
          </a:xfrm>
          <a:prstGeom prst="rect">
            <a:avLst/>
          </a:prstGeom>
        </p:spPr>
      </p:pic>
      <p:sp>
        <p:nvSpPr>
          <p:cNvPr id="47" name="TextBox 46">
            <a:extLst>
              <a:ext uri="{FF2B5EF4-FFF2-40B4-BE49-F238E27FC236}">
                <a16:creationId xmlns:a16="http://schemas.microsoft.com/office/drawing/2014/main" id="{3D6FAF98-B7CE-94EA-CC40-D2BDC7AEF049}"/>
              </a:ext>
            </a:extLst>
          </p:cNvPr>
          <p:cNvSpPr txBox="1"/>
          <p:nvPr/>
        </p:nvSpPr>
        <p:spPr>
          <a:xfrm>
            <a:off x="10368915" y="6230159"/>
            <a:ext cx="1514475" cy="246221"/>
          </a:xfrm>
          <a:prstGeom prst="rect">
            <a:avLst/>
          </a:prstGeom>
          <a:noFill/>
        </p:spPr>
        <p:txBody>
          <a:bodyPr wrap="square" rtlCol="0" anchor="t" anchorCtr="0">
            <a:spAutoFit/>
          </a:bodyPr>
          <a:lstStyle/>
          <a:p>
            <a:pPr algn="ctr"/>
            <a:r>
              <a:rPr lang="en-US" sz="1000" b="1" dirty="0">
                <a:solidFill>
                  <a:schemeClr val="tx2"/>
                </a:solidFill>
                <a:ea typeface="League Spartan" charset="0"/>
                <a:cs typeface="Poppins" pitchFamily="2" charset="77"/>
              </a:rPr>
              <a:t>Retrospective</a:t>
            </a:r>
          </a:p>
        </p:txBody>
      </p:sp>
      <p:pic>
        <p:nvPicPr>
          <p:cNvPr id="48" name="Graphic 47" descr="Checklist with solid fill">
            <a:extLst>
              <a:ext uri="{FF2B5EF4-FFF2-40B4-BE49-F238E27FC236}">
                <a16:creationId xmlns:a16="http://schemas.microsoft.com/office/drawing/2014/main" id="{543F17AA-1138-87E8-89A2-70476B9A47F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994089" y="5521177"/>
            <a:ext cx="682961" cy="682961"/>
          </a:xfrm>
          <a:prstGeom prst="rect">
            <a:avLst/>
          </a:prstGeom>
        </p:spPr>
      </p:pic>
      <p:sp>
        <p:nvSpPr>
          <p:cNvPr id="49" name="Rectangle 48">
            <a:extLst>
              <a:ext uri="{FF2B5EF4-FFF2-40B4-BE49-F238E27FC236}">
                <a16:creationId xmlns:a16="http://schemas.microsoft.com/office/drawing/2014/main" id="{C4E8C5CA-49E1-6C03-9A77-3F8628BC9916}"/>
              </a:ext>
            </a:extLst>
          </p:cNvPr>
          <p:cNvSpPr/>
          <p:nvPr/>
        </p:nvSpPr>
        <p:spPr>
          <a:xfrm>
            <a:off x="863959"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0" name="Rectangle 49">
            <a:extLst>
              <a:ext uri="{FF2B5EF4-FFF2-40B4-BE49-F238E27FC236}">
                <a16:creationId xmlns:a16="http://schemas.microsoft.com/office/drawing/2014/main" id="{B3E96768-D5B4-FD5B-BDA0-B31EA846B89A}"/>
              </a:ext>
            </a:extLst>
          </p:cNvPr>
          <p:cNvSpPr/>
          <p:nvPr/>
        </p:nvSpPr>
        <p:spPr>
          <a:xfrm>
            <a:off x="1248938"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1" name="Rectangle 50">
            <a:extLst>
              <a:ext uri="{FF2B5EF4-FFF2-40B4-BE49-F238E27FC236}">
                <a16:creationId xmlns:a16="http://schemas.microsoft.com/office/drawing/2014/main" id="{DEEDE451-3383-C30D-B56C-C1E8156024CA}"/>
              </a:ext>
            </a:extLst>
          </p:cNvPr>
          <p:cNvSpPr/>
          <p:nvPr/>
        </p:nvSpPr>
        <p:spPr>
          <a:xfrm>
            <a:off x="1633916" y="5949309"/>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2" name="Rectangle 51">
            <a:extLst>
              <a:ext uri="{FF2B5EF4-FFF2-40B4-BE49-F238E27FC236}">
                <a16:creationId xmlns:a16="http://schemas.microsoft.com/office/drawing/2014/main" id="{21F322CF-6F73-C3D2-57C5-6F0933790687}"/>
              </a:ext>
            </a:extLst>
          </p:cNvPr>
          <p:cNvSpPr/>
          <p:nvPr/>
        </p:nvSpPr>
        <p:spPr>
          <a:xfrm>
            <a:off x="3947719"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3" name="Rectangle 52">
            <a:extLst>
              <a:ext uri="{FF2B5EF4-FFF2-40B4-BE49-F238E27FC236}">
                <a16:creationId xmlns:a16="http://schemas.microsoft.com/office/drawing/2014/main" id="{691F9F03-396B-95A6-5A05-63CAB1C7B63A}"/>
              </a:ext>
            </a:extLst>
          </p:cNvPr>
          <p:cNvSpPr/>
          <p:nvPr/>
        </p:nvSpPr>
        <p:spPr>
          <a:xfrm>
            <a:off x="4332698"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4" name="Rectangle 53">
            <a:extLst>
              <a:ext uri="{FF2B5EF4-FFF2-40B4-BE49-F238E27FC236}">
                <a16:creationId xmlns:a16="http://schemas.microsoft.com/office/drawing/2014/main" id="{64A55DF2-1663-FB82-1796-EE85AEB159E0}"/>
              </a:ext>
            </a:extLst>
          </p:cNvPr>
          <p:cNvSpPr/>
          <p:nvPr/>
        </p:nvSpPr>
        <p:spPr>
          <a:xfrm>
            <a:off x="4717676" y="5765513"/>
            <a:ext cx="313868" cy="2414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Tree>
    <p:extLst>
      <p:ext uri="{BB962C8B-B14F-4D97-AF65-F5344CB8AC3E}">
        <p14:creationId xmlns:p14="http://schemas.microsoft.com/office/powerpoint/2010/main" val="34302910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ASDiLhOlJ.aZPUKJ_JI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wxLOCPV1M0yDVVtpiKAYG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1B3whRzF.kF3DXO1apkEo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wxLOCPV1M0yDVVtpiKAYG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9YUL.U2G4U2NkrEvaTArK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SoXP1LSJmKysQgoJBj3Qh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b6OshOgcz1ZkcHGw0AtB7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12.xml><?xml version="1.0" encoding="utf-8"?>
<a:theme xmlns:a="http://schemas.openxmlformats.org/drawingml/2006/main" name="9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0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purl.org/dc/elements/1.1/"/>
    <ds:schemaRef ds:uri="http://purl.org/dc/terms/"/>
    <ds:schemaRef ds:uri="http://purl.org/dc/dcmitype/"/>
    <ds:schemaRef ds:uri="http://schemas.microsoft.com/office/2006/metadata/properties"/>
    <ds:schemaRef ds:uri="http://schemas.microsoft.com/office/infopath/2007/PartnerControls"/>
    <ds:schemaRef ds:uri="http://schemas.microsoft.com/office/2006/documentManagement/types"/>
    <ds:schemaRef ds:uri="71af3243-3dd4-4a8d-8c0d-dd76da1f02a5"/>
    <ds:schemaRef ds:uri="http://schemas.openxmlformats.org/package/2006/metadata/core-properties"/>
    <ds:schemaRef ds:uri="16c05727-aa75-4e4a-9b5f-8a80a1165891"/>
    <ds:schemaRef ds:uri="http://www.w3.org/XML/1998/namespace"/>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845</TotalTime>
  <Words>6432</Words>
  <Application>Microsoft Office PowerPoint</Application>
  <PresentationFormat>Widescreen</PresentationFormat>
  <Paragraphs>997</Paragraphs>
  <Slides>48</Slides>
  <Notes>28</Notes>
  <HiddenSlides>0</HiddenSlides>
  <MMClips>0</MMClips>
  <ScaleCrop>false</ScaleCrop>
  <HeadingPairs>
    <vt:vector size="8" baseType="variant">
      <vt:variant>
        <vt:lpstr>Fonts Used</vt:lpstr>
      </vt:variant>
      <vt:variant>
        <vt:i4>8</vt:i4>
      </vt:variant>
      <vt:variant>
        <vt:lpstr>Theme</vt:lpstr>
      </vt:variant>
      <vt:variant>
        <vt:i4>19</vt:i4>
      </vt:variant>
      <vt:variant>
        <vt:lpstr>Embedded OLE Servers</vt:lpstr>
      </vt:variant>
      <vt:variant>
        <vt:i4>1</vt:i4>
      </vt:variant>
      <vt:variant>
        <vt:lpstr>Slide Titles</vt:lpstr>
      </vt:variant>
      <vt:variant>
        <vt:i4>48</vt:i4>
      </vt:variant>
    </vt:vector>
  </HeadingPairs>
  <TitlesOfParts>
    <vt:vector size="76" baseType="lpstr">
      <vt:lpstr>Arial</vt:lpstr>
      <vt:lpstr>Arial (Body)</vt:lpstr>
      <vt:lpstr>Calibri</vt:lpstr>
      <vt:lpstr>Helvetica</vt:lpstr>
      <vt:lpstr>Helvetica Neue</vt:lpstr>
      <vt:lpstr>Lato Light</vt:lpstr>
      <vt:lpstr>Wingdings</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2007_Screen_Small_27-94x21-59_18Nov08</vt:lpstr>
      <vt:lpstr>Theme3</vt:lpstr>
      <vt:lpstr>9_Custom Design</vt:lpstr>
      <vt:lpstr>10_Custom Design</vt:lpstr>
      <vt:lpstr>11_Custom Design</vt:lpstr>
      <vt:lpstr>12_Custom Design</vt:lpstr>
      <vt:lpstr>13_Custom Design</vt:lpstr>
      <vt:lpstr>14_Custom Design</vt:lpstr>
      <vt:lpstr>15_Custom Design</vt:lpstr>
      <vt:lpstr>16_Custom Design</vt:lpstr>
      <vt:lpstr>think-cell Slide</vt:lpstr>
      <vt:lpstr>Change and Project Management Toolkit Overview and Approach</vt:lpstr>
      <vt:lpstr>Introduction</vt:lpstr>
      <vt:lpstr>Definition What is the main difference between Project Management and Change Management?</vt:lpstr>
      <vt:lpstr>Problem Projects are the lifeblood or organizations, but many projects fall short of expectations</vt:lpstr>
      <vt:lpstr>Our Solution Our management consulting firm decided to create a Change &amp; Project Management Toolkit that will help you increase the change and project management capabilities of your organization (or your client if you are a management consultant).</vt:lpstr>
      <vt:lpstr>Content The Toolkit includes 2 parts created by ex-Mckinsey, Deloitte and BCG management consultants</vt:lpstr>
      <vt:lpstr>The Change &amp; Project Management Toolkit includes frameworks, tools, templates, tutorials, real-life examples, best practices and video training to help you:</vt:lpstr>
      <vt:lpstr>I. Change Management The first part of the Toolkit includes a summary of the top 12 change management frameworks and tools commonly used in most Fortune 500 companies, and a condensed and practical Change Management 3-Phase Approach to help you undertake the organizational change of your organization.</vt:lpstr>
      <vt:lpstr>II. Project Management The second part of the Toolkit includes a traditional Project Management 3-Phase Approach and an Agile approach to help you define and implement your projects effectively and efficiently</vt:lpstr>
      <vt:lpstr>In the next slides, you’ll see a small preview of Phase I of our change management 3-phase approach</vt:lpstr>
      <vt:lpstr>Executive Summary - Change Lean Canvas</vt:lpstr>
      <vt:lpstr>Change Impact Assessment Scale</vt:lpstr>
      <vt:lpstr>In the next slides, you’ll see a small preview of Phase II of our change management 3-phase approach</vt:lpstr>
      <vt:lpstr>Overarching Change Management Plan Open the Excel document “Overarching Change Management Plan” for more details</vt:lpstr>
      <vt:lpstr>Communication channel matrix The Channel Matrix below will give us a comprehensive list of the key communication channels to consider, from face-to-face meetings to newsletters.</vt:lpstr>
      <vt:lpstr>In the next slides, you’ll see a small preview of Phase III of our change management 3-phase approach</vt:lpstr>
      <vt:lpstr>Overarching Change Management Plan - Status Report One-page summary</vt:lpstr>
      <vt:lpstr>Communication Plan - Status Report Open the Excel document “Communication Plan” for more details</vt:lpstr>
      <vt:lpstr>In the next slides, you’ll see a small preview of some change management frameworks and tools commonly used in most Fortune 500 companies</vt:lpstr>
      <vt:lpstr>Terms and Definitions according to Kotter</vt:lpstr>
      <vt:lpstr>Description of the Kotter’s 8 step Model of Change</vt:lpstr>
      <vt:lpstr>The Model walks you through the process of initiating, managing, and  sustaining change in eight steps</vt:lpstr>
      <vt:lpstr>Step 1: Create Urgency</vt:lpstr>
      <vt:lpstr>McKinsey Seven-S Purpose</vt:lpstr>
      <vt:lpstr>McKinsey Seven-S Description (1/2)</vt:lpstr>
      <vt:lpstr>ADKAR Model Purpose</vt:lpstr>
      <vt:lpstr>ADKAR Model Description</vt:lpstr>
      <vt:lpstr>ADKAR Model Each one of the ADKAR Model 5 elements represents a particular objective that the Change Manager will try to achieve.</vt:lpstr>
      <vt:lpstr>In the next slides, you’ll see a small preview of Phase I of our traditional project management 3-phase approach</vt:lpstr>
      <vt:lpstr>Lean Business Case Project name: Project description:</vt:lpstr>
      <vt:lpstr>Project Business Case Framework</vt:lpstr>
      <vt:lpstr>In the next slides, you’ll see a small preview of Phase II of our traditional project management 3-phase approach</vt:lpstr>
      <vt:lpstr>Project Charter (Template #1) Project name: Sponsor:</vt:lpstr>
      <vt:lpstr>See below 2 additional screenshots</vt:lpstr>
      <vt:lpstr>In the next slides, you’ll see a small preview of Phase III of our traditional project management 3-phase approach</vt:lpstr>
      <vt:lpstr>Project Dashboard (Template #2) Project Name: Insert your own text Project Manager: Insert your own text</vt:lpstr>
      <vt:lpstr>Parking Lot Description</vt:lpstr>
      <vt:lpstr>In the next slides, you’ll see a small preview of the Agile approach</vt:lpstr>
      <vt:lpstr>What is Agile?</vt:lpstr>
      <vt:lpstr>Scrum methodology</vt:lpstr>
      <vt:lpstr>Product backlog template</vt:lpstr>
      <vt:lpstr>Structure of the Toolkit The Project &amp; Change Management Toolkit includes 400 Powerpoint slides, 21 Excel sheets and 7 minutes of Video training categorized into multiple folders that you can download on your device immediately after your purchase.</vt:lpstr>
      <vt:lpstr>Key Benefits of our Management Consulting Toolkits</vt:lpstr>
      <vt:lpstr>What our clients say about our Toolkits Reviews imported from Facebooks, Amazon and Klaviyo</vt:lpstr>
      <vt:lpstr>Join the 200,000+ Executives, Consultants &amp; Entrepreneurs already leveraging our Business &amp; Consulting Toolkits to improve the performance of their organization and boost their own career. </vt:lpstr>
      <vt:lpstr>Interested in more than 1 Toolkit?  Access all our Toolkits for half the price with our Gold Access</vt:lpstr>
      <vt:lpstr>Need additional help on top of our Management Consulting Toolkits?  Send us a brief and we’ll find you the right talent from our network of 500 tier-1 Management Consultants (the average daily rate is $3k)</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7</cp:revision>
  <dcterms:created xsi:type="dcterms:W3CDTF">2020-07-08T04:44:55Z</dcterms:created>
  <dcterms:modified xsi:type="dcterms:W3CDTF">2023-05-22T03:52:2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